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3"/>
  </p:notesMasterIdLst>
  <p:handoutMasterIdLst>
    <p:handoutMasterId r:id="rId14"/>
  </p:handoutMasterIdLst>
  <p:sldIdLst>
    <p:sldId id="256" r:id="rId2"/>
    <p:sldId id="269" r:id="rId3"/>
    <p:sldId id="258" r:id="rId4"/>
    <p:sldId id="273" r:id="rId5"/>
    <p:sldId id="271" r:id="rId6"/>
    <p:sldId id="272" r:id="rId7"/>
    <p:sldId id="277" r:id="rId8"/>
    <p:sldId id="274" r:id="rId9"/>
    <p:sldId id="275" r:id="rId10"/>
    <p:sldId id="276" r:id="rId11"/>
    <p:sldId id="261" r:id="rId12"/>
  </p:sldIdLst>
  <p:sldSz cx="12192000" cy="6858000"/>
  <p:notesSz cx="6858000" cy="91440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754B"/>
    <a:srgbClr val="AA8A52"/>
    <a:srgbClr val="1B1E2D"/>
    <a:srgbClr val="263183"/>
    <a:srgbClr val="4A41DA"/>
    <a:srgbClr val="4A42DA"/>
    <a:srgbClr val="6973EE"/>
    <a:srgbClr val="505BE8"/>
    <a:srgbClr val="A20000"/>
    <a:srgbClr val="A4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89" d="100"/>
          <a:sy n="89" d="100"/>
        </p:scale>
        <p:origin x="269" y="67"/>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5/10/31</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5/10/3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7427BA92-0309-42C5-9BBF-FB0CD08B320B}"/>
              </a:ext>
            </a:extLst>
          </p:cNvPr>
          <p:cNvSpPr/>
          <p:nvPr userDrawn="1"/>
        </p:nvSpPr>
        <p:spPr>
          <a:xfrm>
            <a:off x="0" y="0"/>
            <a:ext cx="12192000" cy="6858000"/>
          </a:xfrm>
          <a:prstGeom prst="rect">
            <a:avLst/>
          </a:prstGeom>
          <a:solidFill>
            <a:srgbClr val="1B1E2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A5F9DE4-5B49-42F3-B523-CEE5137AFEE6}"/>
              </a:ext>
            </a:extLst>
          </p:cNvPr>
          <p:cNvGrpSpPr>
            <a:grpSpLocks noChangeAspect="1"/>
          </p:cNvGrpSpPr>
          <p:nvPr userDrawn="1">
            <p:custDataLst>
              <p:tags r:id="rId1"/>
            </p:custDataLst>
          </p:nvPr>
        </p:nvGrpSpPr>
        <p:grpSpPr>
          <a:xfrm>
            <a:off x="744008" y="964939"/>
            <a:ext cx="10223944" cy="4922092"/>
            <a:chOff x="1071716" y="1247323"/>
            <a:chExt cx="10048568" cy="4837661"/>
          </a:xfrm>
          <a:solidFill>
            <a:schemeClr val="tx1">
              <a:lumMod val="50000"/>
              <a:lumOff val="50000"/>
              <a:alpha val="6000"/>
            </a:schemeClr>
          </a:solidFill>
        </p:grpSpPr>
        <p:sp>
          <p:nvSpPr>
            <p:cNvPr id="8" name="任意多边形: 形状 7">
              <a:extLst>
                <a:ext uri="{FF2B5EF4-FFF2-40B4-BE49-F238E27FC236}">
                  <a16:creationId xmlns:a16="http://schemas.microsoft.com/office/drawing/2014/main" id="{2D409DE7-B27F-409A-B7C2-830264FC5971}"/>
                </a:ext>
              </a:extLst>
            </p:cNvPr>
            <p:cNvSpPr/>
            <p:nvPr/>
          </p:nvSpPr>
          <p:spPr>
            <a:xfrm>
              <a:off x="1071716" y="1560254"/>
              <a:ext cx="2892665" cy="2241492"/>
            </a:xfrm>
            <a:custGeom>
              <a:avLst/>
              <a:gdLst/>
              <a:ahLst/>
              <a:cxnLst>
                <a:cxn ang="0">
                  <a:pos x="wd2" y="hd2"/>
                </a:cxn>
                <a:cxn ang="5400000">
                  <a:pos x="wd2" y="hd2"/>
                </a:cxn>
                <a:cxn ang="10800000">
                  <a:pos x="wd2" y="hd2"/>
                </a:cxn>
                <a:cxn ang="16200000">
                  <a:pos x="wd2" y="hd2"/>
                </a:cxn>
              </a:cxnLst>
              <a:rect l="0" t="0" r="r" b="b"/>
              <a:pathLst>
                <a:path w="21600" h="21600" extrusionOk="0">
                  <a:moveTo>
                    <a:pt x="3471" y="862"/>
                  </a:moveTo>
                  <a:lnTo>
                    <a:pt x="3355" y="857"/>
                  </a:lnTo>
                  <a:lnTo>
                    <a:pt x="3271" y="882"/>
                  </a:lnTo>
                  <a:lnTo>
                    <a:pt x="3183" y="953"/>
                  </a:lnTo>
                  <a:lnTo>
                    <a:pt x="3184" y="1042"/>
                  </a:lnTo>
                  <a:lnTo>
                    <a:pt x="3333" y="1224"/>
                  </a:lnTo>
                  <a:lnTo>
                    <a:pt x="3405" y="1341"/>
                  </a:lnTo>
                  <a:lnTo>
                    <a:pt x="3390" y="1464"/>
                  </a:lnTo>
                  <a:lnTo>
                    <a:pt x="3242" y="1537"/>
                  </a:lnTo>
                  <a:lnTo>
                    <a:pt x="3142" y="1593"/>
                  </a:lnTo>
                  <a:lnTo>
                    <a:pt x="3051" y="1629"/>
                  </a:lnTo>
                  <a:lnTo>
                    <a:pt x="2932" y="1629"/>
                  </a:lnTo>
                  <a:lnTo>
                    <a:pt x="2859" y="1585"/>
                  </a:lnTo>
                  <a:lnTo>
                    <a:pt x="2789" y="1563"/>
                  </a:lnTo>
                  <a:lnTo>
                    <a:pt x="2709" y="1563"/>
                  </a:lnTo>
                  <a:lnTo>
                    <a:pt x="2538" y="1534"/>
                  </a:lnTo>
                  <a:lnTo>
                    <a:pt x="2466" y="1563"/>
                  </a:lnTo>
                  <a:lnTo>
                    <a:pt x="2365" y="1607"/>
                  </a:lnTo>
                  <a:lnTo>
                    <a:pt x="2298" y="1641"/>
                  </a:lnTo>
                  <a:lnTo>
                    <a:pt x="2170" y="1699"/>
                  </a:lnTo>
                  <a:lnTo>
                    <a:pt x="2067" y="1750"/>
                  </a:lnTo>
                  <a:lnTo>
                    <a:pt x="1990" y="1821"/>
                  </a:lnTo>
                  <a:lnTo>
                    <a:pt x="1951" y="1874"/>
                  </a:lnTo>
                  <a:lnTo>
                    <a:pt x="1983" y="1939"/>
                  </a:lnTo>
                  <a:lnTo>
                    <a:pt x="2111" y="2002"/>
                  </a:lnTo>
                  <a:lnTo>
                    <a:pt x="2233" y="2014"/>
                  </a:lnTo>
                  <a:lnTo>
                    <a:pt x="2276" y="2084"/>
                  </a:lnTo>
                  <a:lnTo>
                    <a:pt x="2346" y="2091"/>
                  </a:lnTo>
                  <a:lnTo>
                    <a:pt x="2437" y="2062"/>
                  </a:lnTo>
                  <a:lnTo>
                    <a:pt x="2540" y="1999"/>
                  </a:lnTo>
                  <a:lnTo>
                    <a:pt x="2612" y="1957"/>
                  </a:lnTo>
                  <a:lnTo>
                    <a:pt x="2743" y="1921"/>
                  </a:lnTo>
                  <a:lnTo>
                    <a:pt x="2857" y="1964"/>
                  </a:lnTo>
                  <a:lnTo>
                    <a:pt x="2857" y="2077"/>
                  </a:lnTo>
                  <a:lnTo>
                    <a:pt x="2787" y="2146"/>
                  </a:lnTo>
                  <a:lnTo>
                    <a:pt x="2684" y="2233"/>
                  </a:lnTo>
                  <a:lnTo>
                    <a:pt x="2588" y="2379"/>
                  </a:lnTo>
                  <a:lnTo>
                    <a:pt x="2406" y="2517"/>
                  </a:lnTo>
                  <a:lnTo>
                    <a:pt x="2207" y="2539"/>
                  </a:lnTo>
                  <a:lnTo>
                    <a:pt x="1909" y="2568"/>
                  </a:lnTo>
                  <a:lnTo>
                    <a:pt x="1651" y="2627"/>
                  </a:lnTo>
                  <a:lnTo>
                    <a:pt x="1469" y="2721"/>
                  </a:lnTo>
                  <a:lnTo>
                    <a:pt x="1322" y="2843"/>
                  </a:lnTo>
                  <a:lnTo>
                    <a:pt x="1251" y="2882"/>
                  </a:lnTo>
                  <a:lnTo>
                    <a:pt x="1186" y="3000"/>
                  </a:lnTo>
                  <a:lnTo>
                    <a:pt x="1231" y="3090"/>
                  </a:lnTo>
                  <a:lnTo>
                    <a:pt x="1253" y="3243"/>
                  </a:lnTo>
                  <a:lnTo>
                    <a:pt x="1206" y="3386"/>
                  </a:lnTo>
                  <a:lnTo>
                    <a:pt x="1138" y="3503"/>
                  </a:lnTo>
                  <a:lnTo>
                    <a:pt x="1047" y="3568"/>
                  </a:lnTo>
                  <a:lnTo>
                    <a:pt x="990" y="3598"/>
                  </a:lnTo>
                  <a:lnTo>
                    <a:pt x="895" y="3671"/>
                  </a:lnTo>
                  <a:lnTo>
                    <a:pt x="846" y="3748"/>
                  </a:lnTo>
                  <a:lnTo>
                    <a:pt x="900" y="3817"/>
                  </a:lnTo>
                  <a:lnTo>
                    <a:pt x="1049" y="3874"/>
                  </a:lnTo>
                  <a:lnTo>
                    <a:pt x="1159" y="3952"/>
                  </a:lnTo>
                  <a:lnTo>
                    <a:pt x="1272" y="3905"/>
                  </a:lnTo>
                  <a:lnTo>
                    <a:pt x="1375" y="3811"/>
                  </a:lnTo>
                  <a:lnTo>
                    <a:pt x="1500" y="3789"/>
                  </a:lnTo>
                  <a:lnTo>
                    <a:pt x="1562" y="3898"/>
                  </a:lnTo>
                  <a:lnTo>
                    <a:pt x="1479" y="4034"/>
                  </a:lnTo>
                  <a:lnTo>
                    <a:pt x="1276" y="4180"/>
                  </a:lnTo>
                  <a:lnTo>
                    <a:pt x="967" y="4357"/>
                  </a:lnTo>
                  <a:lnTo>
                    <a:pt x="603" y="4579"/>
                  </a:lnTo>
                  <a:lnTo>
                    <a:pt x="227" y="4739"/>
                  </a:lnTo>
                  <a:lnTo>
                    <a:pt x="77" y="4776"/>
                  </a:lnTo>
                  <a:lnTo>
                    <a:pt x="0" y="4852"/>
                  </a:lnTo>
                  <a:lnTo>
                    <a:pt x="90" y="4896"/>
                  </a:lnTo>
                  <a:lnTo>
                    <a:pt x="253" y="4896"/>
                  </a:lnTo>
                  <a:lnTo>
                    <a:pt x="574" y="4762"/>
                  </a:lnTo>
                  <a:lnTo>
                    <a:pt x="1090" y="4512"/>
                  </a:lnTo>
                  <a:lnTo>
                    <a:pt x="1721" y="4146"/>
                  </a:lnTo>
                  <a:lnTo>
                    <a:pt x="1947" y="4061"/>
                  </a:lnTo>
                  <a:lnTo>
                    <a:pt x="2151" y="4010"/>
                  </a:lnTo>
                  <a:lnTo>
                    <a:pt x="2424" y="3876"/>
                  </a:lnTo>
                  <a:lnTo>
                    <a:pt x="2669" y="3694"/>
                  </a:lnTo>
                  <a:lnTo>
                    <a:pt x="2845" y="3589"/>
                  </a:lnTo>
                  <a:lnTo>
                    <a:pt x="3007" y="3485"/>
                  </a:lnTo>
                  <a:lnTo>
                    <a:pt x="3144" y="3448"/>
                  </a:lnTo>
                  <a:lnTo>
                    <a:pt x="3223" y="3477"/>
                  </a:lnTo>
                  <a:lnTo>
                    <a:pt x="3316" y="3526"/>
                  </a:lnTo>
                  <a:lnTo>
                    <a:pt x="3468" y="3467"/>
                  </a:lnTo>
                  <a:lnTo>
                    <a:pt x="3802" y="3365"/>
                  </a:lnTo>
                  <a:lnTo>
                    <a:pt x="3944" y="3233"/>
                  </a:lnTo>
                  <a:lnTo>
                    <a:pt x="4086" y="3138"/>
                  </a:lnTo>
                  <a:lnTo>
                    <a:pt x="4204" y="3181"/>
                  </a:lnTo>
                  <a:lnTo>
                    <a:pt x="4397" y="3244"/>
                  </a:lnTo>
                  <a:lnTo>
                    <a:pt x="4521" y="3281"/>
                  </a:lnTo>
                  <a:lnTo>
                    <a:pt x="4639" y="3339"/>
                  </a:lnTo>
                  <a:lnTo>
                    <a:pt x="4775" y="3368"/>
                  </a:lnTo>
                  <a:lnTo>
                    <a:pt x="4854" y="3425"/>
                  </a:lnTo>
                  <a:lnTo>
                    <a:pt x="5019" y="3462"/>
                  </a:lnTo>
                  <a:lnTo>
                    <a:pt x="5175" y="3517"/>
                  </a:lnTo>
                  <a:lnTo>
                    <a:pt x="5355" y="3539"/>
                  </a:lnTo>
                  <a:lnTo>
                    <a:pt x="5417" y="3626"/>
                  </a:lnTo>
                  <a:lnTo>
                    <a:pt x="5565" y="3719"/>
                  </a:lnTo>
                  <a:lnTo>
                    <a:pt x="5597" y="3852"/>
                  </a:lnTo>
                  <a:lnTo>
                    <a:pt x="5745" y="3981"/>
                  </a:lnTo>
                  <a:lnTo>
                    <a:pt x="5908" y="3981"/>
                  </a:lnTo>
                  <a:lnTo>
                    <a:pt x="6085" y="4147"/>
                  </a:lnTo>
                  <a:lnTo>
                    <a:pt x="6174" y="4375"/>
                  </a:lnTo>
                  <a:lnTo>
                    <a:pt x="6176" y="4532"/>
                  </a:lnTo>
                  <a:lnTo>
                    <a:pt x="6104" y="4646"/>
                  </a:lnTo>
                  <a:lnTo>
                    <a:pt x="6105" y="4760"/>
                  </a:lnTo>
                  <a:lnTo>
                    <a:pt x="6133" y="4859"/>
                  </a:lnTo>
                  <a:lnTo>
                    <a:pt x="6182" y="4992"/>
                  </a:lnTo>
                  <a:lnTo>
                    <a:pt x="6142" y="5132"/>
                  </a:lnTo>
                  <a:lnTo>
                    <a:pt x="6087" y="5256"/>
                  </a:lnTo>
                  <a:lnTo>
                    <a:pt x="6047" y="5423"/>
                  </a:lnTo>
                  <a:lnTo>
                    <a:pt x="5980" y="5547"/>
                  </a:lnTo>
                  <a:lnTo>
                    <a:pt x="5974" y="5648"/>
                  </a:lnTo>
                  <a:lnTo>
                    <a:pt x="5991" y="5729"/>
                  </a:lnTo>
                  <a:lnTo>
                    <a:pt x="6063" y="5807"/>
                  </a:lnTo>
                  <a:lnTo>
                    <a:pt x="6052" y="5953"/>
                  </a:lnTo>
                  <a:lnTo>
                    <a:pt x="5940" y="6067"/>
                  </a:lnTo>
                  <a:lnTo>
                    <a:pt x="5904" y="6154"/>
                  </a:lnTo>
                  <a:lnTo>
                    <a:pt x="5939" y="6241"/>
                  </a:lnTo>
                  <a:lnTo>
                    <a:pt x="6058" y="6365"/>
                  </a:lnTo>
                  <a:lnTo>
                    <a:pt x="6223" y="6556"/>
                  </a:lnTo>
                  <a:lnTo>
                    <a:pt x="6343" y="6699"/>
                  </a:lnTo>
                  <a:lnTo>
                    <a:pt x="6434" y="6845"/>
                  </a:lnTo>
                  <a:lnTo>
                    <a:pt x="6500" y="7107"/>
                  </a:lnTo>
                  <a:lnTo>
                    <a:pt x="6489" y="7297"/>
                  </a:lnTo>
                  <a:lnTo>
                    <a:pt x="6460" y="7435"/>
                  </a:lnTo>
                  <a:lnTo>
                    <a:pt x="6404" y="7536"/>
                  </a:lnTo>
                  <a:lnTo>
                    <a:pt x="6347" y="7646"/>
                  </a:lnTo>
                  <a:lnTo>
                    <a:pt x="6233" y="7774"/>
                  </a:lnTo>
                  <a:lnTo>
                    <a:pt x="6155" y="7825"/>
                  </a:lnTo>
                  <a:lnTo>
                    <a:pt x="6116" y="7774"/>
                  </a:lnTo>
                  <a:lnTo>
                    <a:pt x="6099" y="7686"/>
                  </a:lnTo>
                  <a:lnTo>
                    <a:pt x="6184" y="7556"/>
                  </a:lnTo>
                  <a:lnTo>
                    <a:pt x="6118" y="7534"/>
                  </a:lnTo>
                  <a:lnTo>
                    <a:pt x="5937" y="7519"/>
                  </a:lnTo>
                  <a:lnTo>
                    <a:pt x="5869" y="7534"/>
                  </a:lnTo>
                  <a:lnTo>
                    <a:pt x="5847" y="7626"/>
                  </a:lnTo>
                  <a:lnTo>
                    <a:pt x="5773" y="7891"/>
                  </a:lnTo>
                  <a:lnTo>
                    <a:pt x="5640" y="8226"/>
                  </a:lnTo>
                  <a:lnTo>
                    <a:pt x="5551" y="8409"/>
                  </a:lnTo>
                  <a:lnTo>
                    <a:pt x="5477" y="8496"/>
                  </a:lnTo>
                  <a:lnTo>
                    <a:pt x="5437" y="8605"/>
                  </a:lnTo>
                  <a:lnTo>
                    <a:pt x="5358" y="8684"/>
                  </a:lnTo>
                  <a:lnTo>
                    <a:pt x="5286" y="8789"/>
                  </a:lnTo>
                  <a:lnTo>
                    <a:pt x="5207" y="8896"/>
                  </a:lnTo>
                  <a:lnTo>
                    <a:pt x="5129" y="8983"/>
                  </a:lnTo>
                  <a:lnTo>
                    <a:pt x="5067" y="9121"/>
                  </a:lnTo>
                  <a:lnTo>
                    <a:pt x="4998" y="9301"/>
                  </a:lnTo>
                  <a:lnTo>
                    <a:pt x="4938" y="9544"/>
                  </a:lnTo>
                  <a:lnTo>
                    <a:pt x="4887" y="9705"/>
                  </a:lnTo>
                  <a:lnTo>
                    <a:pt x="4728" y="9947"/>
                  </a:lnTo>
                  <a:lnTo>
                    <a:pt x="4614" y="10032"/>
                  </a:lnTo>
                  <a:lnTo>
                    <a:pt x="4588" y="10124"/>
                  </a:lnTo>
                  <a:lnTo>
                    <a:pt x="4607" y="10221"/>
                  </a:lnTo>
                  <a:lnTo>
                    <a:pt x="4667" y="10298"/>
                  </a:lnTo>
                  <a:lnTo>
                    <a:pt x="4646" y="10400"/>
                  </a:lnTo>
                  <a:lnTo>
                    <a:pt x="4578" y="10466"/>
                  </a:lnTo>
                  <a:lnTo>
                    <a:pt x="4533" y="10596"/>
                  </a:lnTo>
                  <a:lnTo>
                    <a:pt x="4533" y="10730"/>
                  </a:lnTo>
                  <a:lnTo>
                    <a:pt x="4564" y="10866"/>
                  </a:lnTo>
                  <a:lnTo>
                    <a:pt x="4615" y="10975"/>
                  </a:lnTo>
                  <a:lnTo>
                    <a:pt x="4687" y="11050"/>
                  </a:lnTo>
                  <a:lnTo>
                    <a:pt x="4672" y="11124"/>
                  </a:lnTo>
                  <a:lnTo>
                    <a:pt x="4602" y="11167"/>
                  </a:lnTo>
                  <a:lnTo>
                    <a:pt x="4575" y="11232"/>
                  </a:lnTo>
                  <a:lnTo>
                    <a:pt x="4638" y="11310"/>
                  </a:lnTo>
                  <a:lnTo>
                    <a:pt x="4658" y="11489"/>
                  </a:lnTo>
                  <a:lnTo>
                    <a:pt x="4708" y="11732"/>
                  </a:lnTo>
                  <a:lnTo>
                    <a:pt x="4757" y="12031"/>
                  </a:lnTo>
                  <a:lnTo>
                    <a:pt x="4809" y="12198"/>
                  </a:lnTo>
                  <a:lnTo>
                    <a:pt x="4889" y="12242"/>
                  </a:lnTo>
                  <a:lnTo>
                    <a:pt x="4983" y="12307"/>
                  </a:lnTo>
                  <a:lnTo>
                    <a:pt x="5074" y="12365"/>
                  </a:lnTo>
                  <a:lnTo>
                    <a:pt x="5182" y="12551"/>
                  </a:lnTo>
                  <a:lnTo>
                    <a:pt x="5257" y="12784"/>
                  </a:lnTo>
                  <a:lnTo>
                    <a:pt x="5291" y="13051"/>
                  </a:lnTo>
                  <a:lnTo>
                    <a:pt x="5251" y="13252"/>
                  </a:lnTo>
                  <a:lnTo>
                    <a:pt x="5228" y="13427"/>
                  </a:lnTo>
                  <a:lnTo>
                    <a:pt x="5243" y="13556"/>
                  </a:lnTo>
                  <a:lnTo>
                    <a:pt x="5361" y="13731"/>
                  </a:lnTo>
                  <a:lnTo>
                    <a:pt x="5475" y="14018"/>
                  </a:lnTo>
                  <a:lnTo>
                    <a:pt x="5549" y="14237"/>
                  </a:lnTo>
                  <a:lnTo>
                    <a:pt x="5534" y="14380"/>
                  </a:lnTo>
                  <a:lnTo>
                    <a:pt x="5455" y="14489"/>
                  </a:lnTo>
                  <a:lnTo>
                    <a:pt x="5444" y="14620"/>
                  </a:lnTo>
                  <a:lnTo>
                    <a:pt x="5538" y="14705"/>
                  </a:lnTo>
                  <a:lnTo>
                    <a:pt x="5553" y="14790"/>
                  </a:lnTo>
                  <a:lnTo>
                    <a:pt x="5597" y="14873"/>
                  </a:lnTo>
                  <a:lnTo>
                    <a:pt x="5705" y="14957"/>
                  </a:lnTo>
                  <a:lnTo>
                    <a:pt x="5832" y="15137"/>
                  </a:lnTo>
                  <a:lnTo>
                    <a:pt x="5849" y="15280"/>
                  </a:lnTo>
                  <a:lnTo>
                    <a:pt x="5806" y="15409"/>
                  </a:lnTo>
                  <a:lnTo>
                    <a:pt x="5785" y="15479"/>
                  </a:lnTo>
                  <a:lnTo>
                    <a:pt x="5785" y="15568"/>
                  </a:lnTo>
                  <a:lnTo>
                    <a:pt x="5876" y="15690"/>
                  </a:lnTo>
                  <a:lnTo>
                    <a:pt x="5983" y="15842"/>
                  </a:lnTo>
                  <a:lnTo>
                    <a:pt x="6074" y="15973"/>
                  </a:lnTo>
                  <a:lnTo>
                    <a:pt x="6165" y="16095"/>
                  </a:lnTo>
                  <a:lnTo>
                    <a:pt x="6241" y="16141"/>
                  </a:lnTo>
                  <a:lnTo>
                    <a:pt x="6223" y="16045"/>
                  </a:lnTo>
                  <a:lnTo>
                    <a:pt x="6167" y="15916"/>
                  </a:lnTo>
                  <a:lnTo>
                    <a:pt x="6083" y="15746"/>
                  </a:lnTo>
                  <a:lnTo>
                    <a:pt x="6049" y="15645"/>
                  </a:lnTo>
                  <a:lnTo>
                    <a:pt x="6033" y="15535"/>
                  </a:lnTo>
                  <a:lnTo>
                    <a:pt x="6033" y="15389"/>
                  </a:lnTo>
                  <a:lnTo>
                    <a:pt x="6006" y="15260"/>
                  </a:lnTo>
                  <a:lnTo>
                    <a:pt x="5944" y="15173"/>
                  </a:lnTo>
                  <a:lnTo>
                    <a:pt x="5928" y="15052"/>
                  </a:lnTo>
                  <a:lnTo>
                    <a:pt x="5923" y="14877"/>
                  </a:lnTo>
                  <a:lnTo>
                    <a:pt x="5917" y="14782"/>
                  </a:lnTo>
                  <a:lnTo>
                    <a:pt x="5826" y="14534"/>
                  </a:lnTo>
                  <a:lnTo>
                    <a:pt x="5720" y="14254"/>
                  </a:lnTo>
                  <a:lnTo>
                    <a:pt x="5646" y="13909"/>
                  </a:lnTo>
                  <a:lnTo>
                    <a:pt x="5549" y="13654"/>
                  </a:lnTo>
                  <a:lnTo>
                    <a:pt x="5538" y="13489"/>
                  </a:lnTo>
                  <a:lnTo>
                    <a:pt x="5583" y="13314"/>
                  </a:lnTo>
                  <a:lnTo>
                    <a:pt x="5657" y="13214"/>
                  </a:lnTo>
                  <a:lnTo>
                    <a:pt x="5739" y="13178"/>
                  </a:lnTo>
                  <a:lnTo>
                    <a:pt x="5837" y="13204"/>
                  </a:lnTo>
                  <a:lnTo>
                    <a:pt x="6002" y="13298"/>
                  </a:lnTo>
                  <a:lnTo>
                    <a:pt x="6041" y="13466"/>
                  </a:lnTo>
                  <a:lnTo>
                    <a:pt x="6021" y="13669"/>
                  </a:lnTo>
                  <a:lnTo>
                    <a:pt x="6083" y="13842"/>
                  </a:lnTo>
                  <a:lnTo>
                    <a:pt x="6123" y="14044"/>
                  </a:lnTo>
                  <a:lnTo>
                    <a:pt x="6214" y="14248"/>
                  </a:lnTo>
                  <a:lnTo>
                    <a:pt x="6284" y="14430"/>
                  </a:lnTo>
                  <a:lnTo>
                    <a:pt x="6364" y="14595"/>
                  </a:lnTo>
                  <a:lnTo>
                    <a:pt x="6436" y="14724"/>
                  </a:lnTo>
                  <a:lnTo>
                    <a:pt x="6560" y="14862"/>
                  </a:lnTo>
                  <a:lnTo>
                    <a:pt x="6578" y="15043"/>
                  </a:lnTo>
                  <a:lnTo>
                    <a:pt x="6534" y="15102"/>
                  </a:lnTo>
                  <a:lnTo>
                    <a:pt x="6506" y="15225"/>
                  </a:lnTo>
                  <a:lnTo>
                    <a:pt x="6626" y="15313"/>
                  </a:lnTo>
                  <a:lnTo>
                    <a:pt x="6758" y="15490"/>
                  </a:lnTo>
                  <a:lnTo>
                    <a:pt x="6832" y="15660"/>
                  </a:lnTo>
                  <a:lnTo>
                    <a:pt x="6946" y="15755"/>
                  </a:lnTo>
                  <a:lnTo>
                    <a:pt x="7001" y="15932"/>
                  </a:lnTo>
                  <a:lnTo>
                    <a:pt x="7069" y="16078"/>
                  </a:lnTo>
                  <a:lnTo>
                    <a:pt x="7141" y="16216"/>
                  </a:lnTo>
                  <a:lnTo>
                    <a:pt x="7193" y="16447"/>
                  </a:lnTo>
                  <a:lnTo>
                    <a:pt x="7230" y="16668"/>
                  </a:lnTo>
                  <a:lnTo>
                    <a:pt x="7224" y="16870"/>
                  </a:lnTo>
                  <a:lnTo>
                    <a:pt x="7174" y="17029"/>
                  </a:lnTo>
                  <a:lnTo>
                    <a:pt x="7125" y="17173"/>
                  </a:lnTo>
                  <a:lnTo>
                    <a:pt x="7142" y="17291"/>
                  </a:lnTo>
                  <a:lnTo>
                    <a:pt x="7204" y="17363"/>
                  </a:lnTo>
                  <a:lnTo>
                    <a:pt x="7292" y="17443"/>
                  </a:lnTo>
                  <a:lnTo>
                    <a:pt x="7417" y="17611"/>
                  </a:lnTo>
                  <a:lnTo>
                    <a:pt x="7500" y="17756"/>
                  </a:lnTo>
                  <a:lnTo>
                    <a:pt x="7591" y="17820"/>
                  </a:lnTo>
                  <a:lnTo>
                    <a:pt x="7800" y="17893"/>
                  </a:lnTo>
                  <a:lnTo>
                    <a:pt x="7925" y="18009"/>
                  </a:lnTo>
                  <a:lnTo>
                    <a:pt x="8090" y="18111"/>
                  </a:lnTo>
                  <a:lnTo>
                    <a:pt x="8241" y="18220"/>
                  </a:lnTo>
                  <a:lnTo>
                    <a:pt x="8372" y="18315"/>
                  </a:lnTo>
                  <a:lnTo>
                    <a:pt x="8507" y="18400"/>
                  </a:lnTo>
                  <a:lnTo>
                    <a:pt x="8706" y="18516"/>
                  </a:lnTo>
                  <a:lnTo>
                    <a:pt x="8842" y="18596"/>
                  </a:lnTo>
                  <a:lnTo>
                    <a:pt x="8943" y="18660"/>
                  </a:lnTo>
                  <a:lnTo>
                    <a:pt x="9047" y="18713"/>
                  </a:lnTo>
                  <a:lnTo>
                    <a:pt x="9142" y="18769"/>
                  </a:lnTo>
                  <a:lnTo>
                    <a:pt x="9212" y="18725"/>
                  </a:lnTo>
                  <a:lnTo>
                    <a:pt x="9284" y="18698"/>
                  </a:lnTo>
                  <a:lnTo>
                    <a:pt x="9443" y="18618"/>
                  </a:lnTo>
                  <a:lnTo>
                    <a:pt x="9551" y="18567"/>
                  </a:lnTo>
                  <a:lnTo>
                    <a:pt x="9694" y="18567"/>
                  </a:lnTo>
                  <a:lnTo>
                    <a:pt x="9830" y="18670"/>
                  </a:lnTo>
                  <a:lnTo>
                    <a:pt x="10001" y="18799"/>
                  </a:lnTo>
                  <a:lnTo>
                    <a:pt x="10103" y="18897"/>
                  </a:lnTo>
                  <a:lnTo>
                    <a:pt x="10183" y="19065"/>
                  </a:lnTo>
                  <a:lnTo>
                    <a:pt x="10280" y="19194"/>
                  </a:lnTo>
                  <a:lnTo>
                    <a:pt x="10399" y="19279"/>
                  </a:lnTo>
                  <a:lnTo>
                    <a:pt x="10524" y="19345"/>
                  </a:lnTo>
                  <a:lnTo>
                    <a:pt x="10621" y="19420"/>
                  </a:lnTo>
                  <a:lnTo>
                    <a:pt x="10755" y="19493"/>
                  </a:lnTo>
                  <a:lnTo>
                    <a:pt x="10877" y="19578"/>
                  </a:lnTo>
                  <a:lnTo>
                    <a:pt x="11002" y="19607"/>
                  </a:lnTo>
                  <a:lnTo>
                    <a:pt x="11156" y="19612"/>
                  </a:lnTo>
                  <a:lnTo>
                    <a:pt x="11241" y="19532"/>
                  </a:lnTo>
                  <a:lnTo>
                    <a:pt x="11335" y="19547"/>
                  </a:lnTo>
                  <a:lnTo>
                    <a:pt x="11364" y="19707"/>
                  </a:lnTo>
                  <a:lnTo>
                    <a:pt x="11392" y="19855"/>
                  </a:lnTo>
                  <a:lnTo>
                    <a:pt x="11426" y="19991"/>
                  </a:lnTo>
                  <a:lnTo>
                    <a:pt x="11500" y="20114"/>
                  </a:lnTo>
                  <a:lnTo>
                    <a:pt x="11589" y="20243"/>
                  </a:lnTo>
                  <a:lnTo>
                    <a:pt x="11653" y="20382"/>
                  </a:lnTo>
                  <a:lnTo>
                    <a:pt x="11664" y="20506"/>
                  </a:lnTo>
                  <a:lnTo>
                    <a:pt x="11682" y="20676"/>
                  </a:lnTo>
                  <a:lnTo>
                    <a:pt x="11772" y="20819"/>
                  </a:lnTo>
                  <a:lnTo>
                    <a:pt x="11902" y="20848"/>
                  </a:lnTo>
                  <a:lnTo>
                    <a:pt x="12025" y="20953"/>
                  </a:lnTo>
                  <a:lnTo>
                    <a:pt x="12094" y="21084"/>
                  </a:lnTo>
                  <a:lnTo>
                    <a:pt x="12179" y="21177"/>
                  </a:lnTo>
                  <a:lnTo>
                    <a:pt x="12295" y="21296"/>
                  </a:lnTo>
                  <a:lnTo>
                    <a:pt x="12435" y="21310"/>
                  </a:lnTo>
                  <a:lnTo>
                    <a:pt x="12549" y="21391"/>
                  </a:lnTo>
                  <a:lnTo>
                    <a:pt x="12667" y="21461"/>
                  </a:lnTo>
                  <a:lnTo>
                    <a:pt x="12729" y="21510"/>
                  </a:lnTo>
                  <a:lnTo>
                    <a:pt x="12864" y="21571"/>
                  </a:lnTo>
                  <a:lnTo>
                    <a:pt x="12989" y="21600"/>
                  </a:lnTo>
                  <a:lnTo>
                    <a:pt x="13033" y="21529"/>
                  </a:lnTo>
                  <a:lnTo>
                    <a:pt x="12995" y="21406"/>
                  </a:lnTo>
                  <a:lnTo>
                    <a:pt x="13103" y="21304"/>
                  </a:lnTo>
                  <a:lnTo>
                    <a:pt x="13183" y="21223"/>
                  </a:lnTo>
                  <a:lnTo>
                    <a:pt x="13268" y="21158"/>
                  </a:lnTo>
                  <a:lnTo>
                    <a:pt x="13213" y="21056"/>
                  </a:lnTo>
                  <a:lnTo>
                    <a:pt x="13081" y="21093"/>
                  </a:lnTo>
                  <a:lnTo>
                    <a:pt x="12971" y="21149"/>
                  </a:lnTo>
                  <a:lnTo>
                    <a:pt x="12887" y="21241"/>
                  </a:lnTo>
                  <a:lnTo>
                    <a:pt x="12803" y="21285"/>
                  </a:lnTo>
                  <a:lnTo>
                    <a:pt x="12762" y="21202"/>
                  </a:lnTo>
                  <a:lnTo>
                    <a:pt x="12656" y="21154"/>
                  </a:lnTo>
                  <a:lnTo>
                    <a:pt x="12537" y="21095"/>
                  </a:lnTo>
                  <a:lnTo>
                    <a:pt x="12412" y="20986"/>
                  </a:lnTo>
                  <a:lnTo>
                    <a:pt x="12350" y="20797"/>
                  </a:lnTo>
                  <a:lnTo>
                    <a:pt x="12262" y="20656"/>
                  </a:lnTo>
                  <a:lnTo>
                    <a:pt x="12209" y="20570"/>
                  </a:lnTo>
                  <a:lnTo>
                    <a:pt x="12187" y="20410"/>
                  </a:lnTo>
                  <a:lnTo>
                    <a:pt x="12198" y="20249"/>
                  </a:lnTo>
                  <a:lnTo>
                    <a:pt x="12225" y="20028"/>
                  </a:lnTo>
                  <a:lnTo>
                    <a:pt x="12236" y="19853"/>
                  </a:lnTo>
                  <a:lnTo>
                    <a:pt x="12264" y="19692"/>
                  </a:lnTo>
                  <a:lnTo>
                    <a:pt x="12287" y="19534"/>
                  </a:lnTo>
                  <a:lnTo>
                    <a:pt x="12302" y="19376"/>
                  </a:lnTo>
                  <a:lnTo>
                    <a:pt x="12330" y="19230"/>
                  </a:lnTo>
                  <a:lnTo>
                    <a:pt x="12364" y="19073"/>
                  </a:lnTo>
                  <a:lnTo>
                    <a:pt x="12324" y="18924"/>
                  </a:lnTo>
                  <a:lnTo>
                    <a:pt x="12279" y="18783"/>
                  </a:lnTo>
                  <a:lnTo>
                    <a:pt x="12107" y="18728"/>
                  </a:lnTo>
                  <a:lnTo>
                    <a:pt x="11924" y="18714"/>
                  </a:lnTo>
                  <a:lnTo>
                    <a:pt x="11751" y="18714"/>
                  </a:lnTo>
                  <a:lnTo>
                    <a:pt x="11628" y="18765"/>
                  </a:lnTo>
                  <a:lnTo>
                    <a:pt x="11406" y="18816"/>
                  </a:lnTo>
                  <a:lnTo>
                    <a:pt x="11165" y="18816"/>
                  </a:lnTo>
                  <a:lnTo>
                    <a:pt x="11133" y="18658"/>
                  </a:lnTo>
                  <a:lnTo>
                    <a:pt x="11154" y="18467"/>
                  </a:lnTo>
                  <a:lnTo>
                    <a:pt x="11237" y="18145"/>
                  </a:lnTo>
                  <a:lnTo>
                    <a:pt x="11347" y="17912"/>
                  </a:lnTo>
                  <a:lnTo>
                    <a:pt x="11460" y="17663"/>
                  </a:lnTo>
                  <a:lnTo>
                    <a:pt x="11505" y="17483"/>
                  </a:lnTo>
                  <a:lnTo>
                    <a:pt x="11604" y="17196"/>
                  </a:lnTo>
                  <a:lnTo>
                    <a:pt x="11683" y="17024"/>
                  </a:lnTo>
                  <a:lnTo>
                    <a:pt x="11689" y="16887"/>
                  </a:lnTo>
                  <a:lnTo>
                    <a:pt x="11632" y="16817"/>
                  </a:lnTo>
                  <a:lnTo>
                    <a:pt x="11551" y="16802"/>
                  </a:lnTo>
                  <a:lnTo>
                    <a:pt x="11477" y="16780"/>
                  </a:lnTo>
                  <a:lnTo>
                    <a:pt x="11365" y="16780"/>
                  </a:lnTo>
                  <a:lnTo>
                    <a:pt x="11234" y="16802"/>
                  </a:lnTo>
                  <a:lnTo>
                    <a:pt x="11104" y="16839"/>
                  </a:lnTo>
                  <a:lnTo>
                    <a:pt x="11028" y="16887"/>
                  </a:lnTo>
                  <a:lnTo>
                    <a:pt x="10924" y="16956"/>
                  </a:lnTo>
                  <a:lnTo>
                    <a:pt x="10890" y="17029"/>
                  </a:lnTo>
                  <a:lnTo>
                    <a:pt x="10884" y="17157"/>
                  </a:lnTo>
                  <a:lnTo>
                    <a:pt x="10833" y="17347"/>
                  </a:lnTo>
                  <a:lnTo>
                    <a:pt x="10751" y="17509"/>
                  </a:lnTo>
                  <a:lnTo>
                    <a:pt x="10649" y="17596"/>
                  </a:lnTo>
                  <a:lnTo>
                    <a:pt x="10454" y="17759"/>
                  </a:lnTo>
                  <a:lnTo>
                    <a:pt x="10312" y="17818"/>
                  </a:lnTo>
                  <a:lnTo>
                    <a:pt x="10135" y="17898"/>
                  </a:lnTo>
                  <a:lnTo>
                    <a:pt x="9999" y="17898"/>
                  </a:lnTo>
                  <a:lnTo>
                    <a:pt x="9792" y="17879"/>
                  </a:lnTo>
                  <a:lnTo>
                    <a:pt x="9606" y="17831"/>
                  </a:lnTo>
                  <a:lnTo>
                    <a:pt x="9447" y="17654"/>
                  </a:lnTo>
                  <a:lnTo>
                    <a:pt x="9334" y="17487"/>
                  </a:lnTo>
                  <a:lnTo>
                    <a:pt x="9279" y="17285"/>
                  </a:lnTo>
                  <a:lnTo>
                    <a:pt x="9196" y="16914"/>
                  </a:lnTo>
                  <a:lnTo>
                    <a:pt x="9146" y="16624"/>
                  </a:lnTo>
                  <a:lnTo>
                    <a:pt x="9129" y="16345"/>
                  </a:lnTo>
                  <a:lnTo>
                    <a:pt x="9167" y="16032"/>
                  </a:lnTo>
                  <a:lnTo>
                    <a:pt x="9286" y="15655"/>
                  </a:lnTo>
                  <a:lnTo>
                    <a:pt x="9383" y="15401"/>
                  </a:lnTo>
                  <a:lnTo>
                    <a:pt x="9400" y="15183"/>
                  </a:lnTo>
                  <a:lnTo>
                    <a:pt x="9406" y="14977"/>
                  </a:lnTo>
                  <a:lnTo>
                    <a:pt x="9444" y="14790"/>
                  </a:lnTo>
                  <a:lnTo>
                    <a:pt x="9506" y="14595"/>
                  </a:lnTo>
                  <a:lnTo>
                    <a:pt x="9635" y="14457"/>
                  </a:lnTo>
                  <a:lnTo>
                    <a:pt x="9806" y="14284"/>
                  </a:lnTo>
                  <a:lnTo>
                    <a:pt x="10189" y="14050"/>
                  </a:lnTo>
                  <a:lnTo>
                    <a:pt x="10354" y="13911"/>
                  </a:lnTo>
                  <a:lnTo>
                    <a:pt x="10480" y="13836"/>
                  </a:lnTo>
                  <a:lnTo>
                    <a:pt x="10603" y="13720"/>
                  </a:lnTo>
                  <a:lnTo>
                    <a:pt x="10739" y="13684"/>
                  </a:lnTo>
                  <a:lnTo>
                    <a:pt x="10870" y="13684"/>
                  </a:lnTo>
                  <a:lnTo>
                    <a:pt x="10993" y="13742"/>
                  </a:lnTo>
                  <a:lnTo>
                    <a:pt x="11150" y="13886"/>
                  </a:lnTo>
                  <a:lnTo>
                    <a:pt x="11296" y="13993"/>
                  </a:lnTo>
                  <a:lnTo>
                    <a:pt x="11413" y="14043"/>
                  </a:lnTo>
                  <a:lnTo>
                    <a:pt x="11504" y="14043"/>
                  </a:lnTo>
                  <a:lnTo>
                    <a:pt x="11606" y="13970"/>
                  </a:lnTo>
                  <a:lnTo>
                    <a:pt x="11711" y="13735"/>
                  </a:lnTo>
                  <a:lnTo>
                    <a:pt x="11875" y="13611"/>
                  </a:lnTo>
                  <a:lnTo>
                    <a:pt x="12014" y="13548"/>
                  </a:lnTo>
                  <a:lnTo>
                    <a:pt x="12178" y="13504"/>
                  </a:lnTo>
                  <a:lnTo>
                    <a:pt x="12297" y="13548"/>
                  </a:lnTo>
                  <a:lnTo>
                    <a:pt x="12373" y="13646"/>
                  </a:lnTo>
                  <a:lnTo>
                    <a:pt x="12497" y="13704"/>
                  </a:lnTo>
                  <a:lnTo>
                    <a:pt x="12604" y="13781"/>
                  </a:lnTo>
                  <a:lnTo>
                    <a:pt x="12701" y="13812"/>
                  </a:lnTo>
                  <a:lnTo>
                    <a:pt x="12778" y="13740"/>
                  </a:lnTo>
                  <a:lnTo>
                    <a:pt x="12875" y="13710"/>
                  </a:lnTo>
                  <a:lnTo>
                    <a:pt x="12998" y="13746"/>
                  </a:lnTo>
                  <a:lnTo>
                    <a:pt x="13081" y="13890"/>
                  </a:lnTo>
                  <a:lnTo>
                    <a:pt x="13168" y="13996"/>
                  </a:lnTo>
                  <a:lnTo>
                    <a:pt x="13228" y="14124"/>
                  </a:lnTo>
                  <a:lnTo>
                    <a:pt x="13245" y="14260"/>
                  </a:lnTo>
                  <a:lnTo>
                    <a:pt x="13188" y="14382"/>
                  </a:lnTo>
                  <a:lnTo>
                    <a:pt x="13150" y="14515"/>
                  </a:lnTo>
                  <a:lnTo>
                    <a:pt x="13150" y="14661"/>
                  </a:lnTo>
                  <a:lnTo>
                    <a:pt x="13213" y="14744"/>
                  </a:lnTo>
                  <a:lnTo>
                    <a:pt x="13265" y="14853"/>
                  </a:lnTo>
                  <a:lnTo>
                    <a:pt x="13283" y="15108"/>
                  </a:lnTo>
                  <a:lnTo>
                    <a:pt x="13334" y="15290"/>
                  </a:lnTo>
                  <a:lnTo>
                    <a:pt x="13452" y="15424"/>
                  </a:lnTo>
                  <a:lnTo>
                    <a:pt x="13548" y="15365"/>
                  </a:lnTo>
                  <a:lnTo>
                    <a:pt x="13603" y="15222"/>
                  </a:lnTo>
                  <a:lnTo>
                    <a:pt x="13654" y="15037"/>
                  </a:lnTo>
                  <a:lnTo>
                    <a:pt x="13654" y="14814"/>
                  </a:lnTo>
                  <a:lnTo>
                    <a:pt x="13681" y="14602"/>
                  </a:lnTo>
                  <a:lnTo>
                    <a:pt x="13650" y="14293"/>
                  </a:lnTo>
                  <a:lnTo>
                    <a:pt x="13616" y="14170"/>
                  </a:lnTo>
                  <a:lnTo>
                    <a:pt x="13599" y="13973"/>
                  </a:lnTo>
                  <a:lnTo>
                    <a:pt x="13582" y="13688"/>
                  </a:lnTo>
                  <a:lnTo>
                    <a:pt x="13593" y="13506"/>
                  </a:lnTo>
                  <a:lnTo>
                    <a:pt x="13658" y="13353"/>
                  </a:lnTo>
                  <a:lnTo>
                    <a:pt x="13728" y="13200"/>
                  </a:lnTo>
                  <a:lnTo>
                    <a:pt x="13825" y="13091"/>
                  </a:lnTo>
                  <a:lnTo>
                    <a:pt x="13927" y="12967"/>
                  </a:lnTo>
                  <a:lnTo>
                    <a:pt x="14218" y="12701"/>
                  </a:lnTo>
                  <a:lnTo>
                    <a:pt x="14326" y="12563"/>
                  </a:lnTo>
                  <a:lnTo>
                    <a:pt x="14453" y="12468"/>
                  </a:lnTo>
                  <a:lnTo>
                    <a:pt x="14577" y="12404"/>
                  </a:lnTo>
                  <a:lnTo>
                    <a:pt x="14723" y="12341"/>
                  </a:lnTo>
                  <a:lnTo>
                    <a:pt x="14852" y="12246"/>
                  </a:lnTo>
                  <a:lnTo>
                    <a:pt x="14935" y="12127"/>
                  </a:lnTo>
                  <a:lnTo>
                    <a:pt x="15055" y="12032"/>
                  </a:lnTo>
                  <a:lnTo>
                    <a:pt x="15152" y="11945"/>
                  </a:lnTo>
                  <a:lnTo>
                    <a:pt x="15263" y="11753"/>
                  </a:lnTo>
                  <a:lnTo>
                    <a:pt x="15280" y="11595"/>
                  </a:lnTo>
                  <a:lnTo>
                    <a:pt x="15303" y="11434"/>
                  </a:lnTo>
                  <a:lnTo>
                    <a:pt x="15281" y="11276"/>
                  </a:lnTo>
                  <a:lnTo>
                    <a:pt x="15281" y="11116"/>
                  </a:lnTo>
                  <a:lnTo>
                    <a:pt x="15303" y="10934"/>
                  </a:lnTo>
                  <a:lnTo>
                    <a:pt x="15389" y="10761"/>
                  </a:lnTo>
                  <a:lnTo>
                    <a:pt x="15482" y="10761"/>
                  </a:lnTo>
                  <a:lnTo>
                    <a:pt x="15499" y="10880"/>
                  </a:lnTo>
                  <a:lnTo>
                    <a:pt x="15546" y="11021"/>
                  </a:lnTo>
                  <a:lnTo>
                    <a:pt x="15614" y="10967"/>
                  </a:lnTo>
                  <a:lnTo>
                    <a:pt x="15535" y="10727"/>
                  </a:lnTo>
                  <a:lnTo>
                    <a:pt x="15650" y="10569"/>
                  </a:lnTo>
                  <a:lnTo>
                    <a:pt x="15762" y="10432"/>
                  </a:lnTo>
                  <a:lnTo>
                    <a:pt x="16024" y="10381"/>
                  </a:lnTo>
                  <a:lnTo>
                    <a:pt x="16117" y="10289"/>
                  </a:lnTo>
                  <a:lnTo>
                    <a:pt x="16183" y="10120"/>
                  </a:lnTo>
                  <a:lnTo>
                    <a:pt x="16253" y="10035"/>
                  </a:lnTo>
                  <a:lnTo>
                    <a:pt x="16440" y="9841"/>
                  </a:lnTo>
                  <a:lnTo>
                    <a:pt x="16600" y="9797"/>
                  </a:lnTo>
                  <a:lnTo>
                    <a:pt x="16827" y="9761"/>
                  </a:lnTo>
                  <a:lnTo>
                    <a:pt x="16975" y="9680"/>
                  </a:lnTo>
                  <a:lnTo>
                    <a:pt x="17100" y="9613"/>
                  </a:lnTo>
                  <a:lnTo>
                    <a:pt x="17191" y="9547"/>
                  </a:lnTo>
                  <a:lnTo>
                    <a:pt x="17242" y="9250"/>
                  </a:lnTo>
                  <a:lnTo>
                    <a:pt x="17356" y="9134"/>
                  </a:lnTo>
                  <a:lnTo>
                    <a:pt x="17482" y="9045"/>
                  </a:lnTo>
                  <a:lnTo>
                    <a:pt x="17579" y="8965"/>
                  </a:lnTo>
                  <a:lnTo>
                    <a:pt x="17788" y="8827"/>
                  </a:lnTo>
                  <a:lnTo>
                    <a:pt x="17966" y="8684"/>
                  </a:lnTo>
                  <a:lnTo>
                    <a:pt x="18192" y="8613"/>
                  </a:lnTo>
                  <a:lnTo>
                    <a:pt x="18339" y="8516"/>
                  </a:lnTo>
                  <a:lnTo>
                    <a:pt x="18489" y="8428"/>
                  </a:lnTo>
                  <a:lnTo>
                    <a:pt x="18633" y="8365"/>
                  </a:lnTo>
                  <a:lnTo>
                    <a:pt x="18762" y="8309"/>
                  </a:lnTo>
                  <a:lnTo>
                    <a:pt x="18913" y="8309"/>
                  </a:lnTo>
                  <a:lnTo>
                    <a:pt x="19010" y="8350"/>
                  </a:lnTo>
                  <a:lnTo>
                    <a:pt x="19016" y="8472"/>
                  </a:lnTo>
                  <a:lnTo>
                    <a:pt x="18873" y="8513"/>
                  </a:lnTo>
                  <a:lnTo>
                    <a:pt x="18706" y="8635"/>
                  </a:lnTo>
                  <a:lnTo>
                    <a:pt x="18595" y="8691"/>
                  </a:lnTo>
                  <a:lnTo>
                    <a:pt x="18495" y="8751"/>
                  </a:lnTo>
                  <a:lnTo>
                    <a:pt x="18450" y="8839"/>
                  </a:lnTo>
                  <a:lnTo>
                    <a:pt x="18511" y="8931"/>
                  </a:lnTo>
                  <a:lnTo>
                    <a:pt x="18611" y="8931"/>
                  </a:lnTo>
                  <a:lnTo>
                    <a:pt x="18791" y="8827"/>
                  </a:lnTo>
                  <a:lnTo>
                    <a:pt x="18930" y="8727"/>
                  </a:lnTo>
                  <a:lnTo>
                    <a:pt x="19074" y="8650"/>
                  </a:lnTo>
                  <a:lnTo>
                    <a:pt x="19244" y="8635"/>
                  </a:lnTo>
                  <a:cubicBezTo>
                    <a:pt x="19290" y="8619"/>
                    <a:pt x="19335" y="8600"/>
                    <a:pt x="19379" y="8579"/>
                  </a:cubicBezTo>
                  <a:cubicBezTo>
                    <a:pt x="19434" y="8553"/>
                    <a:pt x="19488" y="8523"/>
                    <a:pt x="19541" y="8489"/>
                  </a:cubicBezTo>
                  <a:lnTo>
                    <a:pt x="19653" y="8409"/>
                  </a:lnTo>
                  <a:lnTo>
                    <a:pt x="19869" y="8294"/>
                  </a:lnTo>
                  <a:lnTo>
                    <a:pt x="19833" y="8195"/>
                  </a:lnTo>
                  <a:lnTo>
                    <a:pt x="19698" y="8202"/>
                  </a:lnTo>
                  <a:lnTo>
                    <a:pt x="19554" y="8292"/>
                  </a:lnTo>
                  <a:lnTo>
                    <a:pt x="19488" y="8314"/>
                  </a:lnTo>
                  <a:lnTo>
                    <a:pt x="19341" y="8314"/>
                  </a:lnTo>
                  <a:lnTo>
                    <a:pt x="19174" y="8207"/>
                  </a:lnTo>
                  <a:lnTo>
                    <a:pt x="18993" y="8112"/>
                  </a:lnTo>
                  <a:lnTo>
                    <a:pt x="18933" y="7978"/>
                  </a:lnTo>
                  <a:lnTo>
                    <a:pt x="18938" y="7840"/>
                  </a:lnTo>
                  <a:lnTo>
                    <a:pt x="18944" y="7690"/>
                  </a:lnTo>
                  <a:lnTo>
                    <a:pt x="19006" y="7610"/>
                  </a:lnTo>
                  <a:lnTo>
                    <a:pt x="19140" y="7428"/>
                  </a:lnTo>
                  <a:lnTo>
                    <a:pt x="19187" y="7345"/>
                  </a:lnTo>
                  <a:lnTo>
                    <a:pt x="19237" y="7180"/>
                  </a:lnTo>
                  <a:lnTo>
                    <a:pt x="19106" y="7144"/>
                  </a:lnTo>
                  <a:lnTo>
                    <a:pt x="18892" y="7163"/>
                  </a:lnTo>
                  <a:lnTo>
                    <a:pt x="18659" y="7228"/>
                  </a:lnTo>
                  <a:lnTo>
                    <a:pt x="18407" y="7344"/>
                  </a:lnTo>
                  <a:lnTo>
                    <a:pt x="18286" y="7459"/>
                  </a:lnTo>
                  <a:lnTo>
                    <a:pt x="18115" y="7495"/>
                  </a:lnTo>
                  <a:lnTo>
                    <a:pt x="18053" y="7522"/>
                  </a:lnTo>
                  <a:lnTo>
                    <a:pt x="17997" y="7406"/>
                  </a:lnTo>
                  <a:lnTo>
                    <a:pt x="18048" y="7304"/>
                  </a:lnTo>
                  <a:lnTo>
                    <a:pt x="18150" y="7238"/>
                  </a:lnTo>
                  <a:lnTo>
                    <a:pt x="18577" y="7007"/>
                  </a:lnTo>
                  <a:lnTo>
                    <a:pt x="18765" y="6862"/>
                  </a:lnTo>
                  <a:cubicBezTo>
                    <a:pt x="18809" y="6831"/>
                    <a:pt x="18854" y="6805"/>
                    <a:pt x="18901" y="6781"/>
                  </a:cubicBezTo>
                  <a:cubicBezTo>
                    <a:pt x="18965" y="6749"/>
                    <a:pt x="19031" y="6724"/>
                    <a:pt x="19098" y="6706"/>
                  </a:cubicBezTo>
                  <a:lnTo>
                    <a:pt x="19233" y="6665"/>
                  </a:lnTo>
                  <a:lnTo>
                    <a:pt x="19413" y="6636"/>
                  </a:lnTo>
                  <a:lnTo>
                    <a:pt x="19652" y="6658"/>
                  </a:lnTo>
                  <a:lnTo>
                    <a:pt x="19921" y="6687"/>
                  </a:lnTo>
                  <a:lnTo>
                    <a:pt x="20075" y="6660"/>
                  </a:lnTo>
                  <a:lnTo>
                    <a:pt x="20242" y="6618"/>
                  </a:lnTo>
                  <a:lnTo>
                    <a:pt x="20490" y="6615"/>
                  </a:lnTo>
                  <a:lnTo>
                    <a:pt x="20803" y="6477"/>
                  </a:lnTo>
                  <a:lnTo>
                    <a:pt x="20930" y="6409"/>
                  </a:lnTo>
                  <a:cubicBezTo>
                    <a:pt x="20988" y="6390"/>
                    <a:pt x="21045" y="6366"/>
                    <a:pt x="21099" y="6336"/>
                  </a:cubicBezTo>
                  <a:cubicBezTo>
                    <a:pt x="21140" y="6313"/>
                    <a:pt x="21179" y="6288"/>
                    <a:pt x="21217" y="6260"/>
                  </a:cubicBezTo>
                  <a:lnTo>
                    <a:pt x="21276" y="6209"/>
                  </a:lnTo>
                  <a:lnTo>
                    <a:pt x="21373" y="6131"/>
                  </a:lnTo>
                  <a:cubicBezTo>
                    <a:pt x="21397" y="6115"/>
                    <a:pt x="21420" y="6096"/>
                    <a:pt x="21441" y="6073"/>
                  </a:cubicBezTo>
                  <a:cubicBezTo>
                    <a:pt x="21471" y="6042"/>
                    <a:pt x="21497" y="6005"/>
                    <a:pt x="21518" y="5964"/>
                  </a:cubicBezTo>
                  <a:lnTo>
                    <a:pt x="21583" y="5842"/>
                  </a:lnTo>
                  <a:lnTo>
                    <a:pt x="21600" y="5716"/>
                  </a:lnTo>
                  <a:lnTo>
                    <a:pt x="21594" y="5645"/>
                  </a:lnTo>
                  <a:lnTo>
                    <a:pt x="21471" y="5526"/>
                  </a:lnTo>
                  <a:lnTo>
                    <a:pt x="21403" y="5467"/>
                  </a:lnTo>
                  <a:lnTo>
                    <a:pt x="21327" y="5446"/>
                  </a:lnTo>
                  <a:lnTo>
                    <a:pt x="21196" y="5446"/>
                  </a:lnTo>
                  <a:lnTo>
                    <a:pt x="21091" y="5453"/>
                  </a:lnTo>
                  <a:lnTo>
                    <a:pt x="20995" y="5547"/>
                  </a:lnTo>
                  <a:lnTo>
                    <a:pt x="20900" y="5567"/>
                  </a:lnTo>
                  <a:lnTo>
                    <a:pt x="20828" y="5523"/>
                  </a:lnTo>
                  <a:lnTo>
                    <a:pt x="20828" y="5416"/>
                  </a:lnTo>
                  <a:cubicBezTo>
                    <a:pt x="20860" y="5376"/>
                    <a:pt x="20896" y="5339"/>
                    <a:pt x="20934" y="5307"/>
                  </a:cubicBezTo>
                  <a:cubicBezTo>
                    <a:pt x="20959" y="5286"/>
                    <a:pt x="20985" y="5266"/>
                    <a:pt x="21011" y="5249"/>
                  </a:cubicBezTo>
                  <a:lnTo>
                    <a:pt x="20920" y="5120"/>
                  </a:lnTo>
                  <a:lnTo>
                    <a:pt x="20871" y="4942"/>
                  </a:lnTo>
                  <a:lnTo>
                    <a:pt x="20814" y="4814"/>
                  </a:lnTo>
                  <a:lnTo>
                    <a:pt x="20734" y="4712"/>
                  </a:lnTo>
                  <a:lnTo>
                    <a:pt x="20746" y="4563"/>
                  </a:lnTo>
                  <a:lnTo>
                    <a:pt x="20846" y="4476"/>
                  </a:lnTo>
                  <a:lnTo>
                    <a:pt x="20856" y="4345"/>
                  </a:lnTo>
                  <a:lnTo>
                    <a:pt x="20833" y="4183"/>
                  </a:lnTo>
                  <a:lnTo>
                    <a:pt x="20762" y="4113"/>
                  </a:lnTo>
                  <a:lnTo>
                    <a:pt x="20722" y="4001"/>
                  </a:lnTo>
                  <a:cubicBezTo>
                    <a:pt x="20752" y="3980"/>
                    <a:pt x="20776" y="3947"/>
                    <a:pt x="20790" y="3907"/>
                  </a:cubicBezTo>
                  <a:cubicBezTo>
                    <a:pt x="20808" y="3857"/>
                    <a:pt x="20810" y="3800"/>
                    <a:pt x="20796" y="3749"/>
                  </a:cubicBezTo>
                  <a:lnTo>
                    <a:pt x="20745" y="3647"/>
                  </a:lnTo>
                  <a:lnTo>
                    <a:pt x="20720" y="3537"/>
                  </a:lnTo>
                  <a:lnTo>
                    <a:pt x="20625" y="3493"/>
                  </a:lnTo>
                  <a:lnTo>
                    <a:pt x="20528" y="3632"/>
                  </a:lnTo>
                  <a:lnTo>
                    <a:pt x="20392" y="3756"/>
                  </a:lnTo>
                  <a:lnTo>
                    <a:pt x="20250" y="3892"/>
                  </a:lnTo>
                  <a:lnTo>
                    <a:pt x="20115" y="4018"/>
                  </a:lnTo>
                  <a:lnTo>
                    <a:pt x="19946" y="4098"/>
                  </a:lnTo>
                  <a:lnTo>
                    <a:pt x="19822" y="4091"/>
                  </a:lnTo>
                  <a:lnTo>
                    <a:pt x="19744" y="4074"/>
                  </a:lnTo>
                  <a:lnTo>
                    <a:pt x="19649" y="3952"/>
                  </a:lnTo>
                  <a:lnTo>
                    <a:pt x="19564" y="3858"/>
                  </a:lnTo>
                  <a:lnTo>
                    <a:pt x="19617" y="3705"/>
                  </a:lnTo>
                  <a:lnTo>
                    <a:pt x="19691" y="3562"/>
                  </a:lnTo>
                  <a:lnTo>
                    <a:pt x="19670" y="3362"/>
                  </a:lnTo>
                  <a:lnTo>
                    <a:pt x="19615" y="3265"/>
                  </a:lnTo>
                  <a:lnTo>
                    <a:pt x="19484" y="3118"/>
                  </a:lnTo>
                  <a:lnTo>
                    <a:pt x="19382" y="3053"/>
                  </a:lnTo>
                  <a:lnTo>
                    <a:pt x="19268" y="2958"/>
                  </a:lnTo>
                  <a:lnTo>
                    <a:pt x="19145" y="2912"/>
                  </a:lnTo>
                  <a:lnTo>
                    <a:pt x="19014" y="2919"/>
                  </a:lnTo>
                  <a:lnTo>
                    <a:pt x="18924" y="2834"/>
                  </a:lnTo>
                  <a:lnTo>
                    <a:pt x="18793" y="2819"/>
                  </a:lnTo>
                  <a:lnTo>
                    <a:pt x="18658" y="2819"/>
                  </a:lnTo>
                  <a:lnTo>
                    <a:pt x="18524" y="2863"/>
                  </a:lnTo>
                  <a:lnTo>
                    <a:pt x="18416" y="2934"/>
                  </a:lnTo>
                  <a:lnTo>
                    <a:pt x="18334" y="2997"/>
                  </a:lnTo>
                  <a:lnTo>
                    <a:pt x="18277" y="3133"/>
                  </a:lnTo>
                  <a:lnTo>
                    <a:pt x="18228" y="3344"/>
                  </a:lnTo>
                  <a:lnTo>
                    <a:pt x="18114" y="3556"/>
                  </a:lnTo>
                  <a:lnTo>
                    <a:pt x="18057" y="3665"/>
                  </a:lnTo>
                  <a:lnTo>
                    <a:pt x="17966" y="3765"/>
                  </a:lnTo>
                  <a:lnTo>
                    <a:pt x="17864" y="3806"/>
                  </a:lnTo>
                  <a:lnTo>
                    <a:pt x="17813" y="3908"/>
                  </a:lnTo>
                  <a:lnTo>
                    <a:pt x="17790" y="3988"/>
                  </a:lnTo>
                  <a:lnTo>
                    <a:pt x="17790" y="4105"/>
                  </a:lnTo>
                  <a:lnTo>
                    <a:pt x="17807" y="4220"/>
                  </a:lnTo>
                  <a:lnTo>
                    <a:pt x="17813" y="4330"/>
                  </a:lnTo>
                  <a:lnTo>
                    <a:pt x="17807" y="4419"/>
                  </a:lnTo>
                  <a:lnTo>
                    <a:pt x="17727" y="4570"/>
                  </a:lnTo>
                  <a:lnTo>
                    <a:pt x="17608" y="4723"/>
                  </a:lnTo>
                  <a:lnTo>
                    <a:pt x="17570" y="4807"/>
                  </a:lnTo>
                  <a:lnTo>
                    <a:pt x="17479" y="4941"/>
                  </a:lnTo>
                  <a:lnTo>
                    <a:pt x="17394" y="5028"/>
                  </a:lnTo>
                  <a:lnTo>
                    <a:pt x="17345" y="5072"/>
                  </a:lnTo>
                  <a:lnTo>
                    <a:pt x="17172" y="5175"/>
                  </a:lnTo>
                  <a:lnTo>
                    <a:pt x="17093" y="5197"/>
                  </a:lnTo>
                  <a:lnTo>
                    <a:pt x="16951" y="5269"/>
                  </a:lnTo>
                  <a:lnTo>
                    <a:pt x="16873" y="5378"/>
                  </a:lnTo>
                  <a:lnTo>
                    <a:pt x="16811" y="5487"/>
                  </a:lnTo>
                  <a:lnTo>
                    <a:pt x="16771" y="5592"/>
                  </a:lnTo>
                  <a:lnTo>
                    <a:pt x="16743" y="5750"/>
                  </a:lnTo>
                  <a:lnTo>
                    <a:pt x="16726" y="5871"/>
                  </a:lnTo>
                  <a:lnTo>
                    <a:pt x="16709" y="5944"/>
                  </a:lnTo>
                  <a:lnTo>
                    <a:pt x="16652" y="6076"/>
                  </a:lnTo>
                  <a:lnTo>
                    <a:pt x="16601" y="6191"/>
                  </a:lnTo>
                  <a:lnTo>
                    <a:pt x="16482" y="6279"/>
                  </a:lnTo>
                  <a:lnTo>
                    <a:pt x="16345" y="6351"/>
                  </a:lnTo>
                  <a:lnTo>
                    <a:pt x="16220" y="6410"/>
                  </a:lnTo>
                  <a:lnTo>
                    <a:pt x="16108" y="6417"/>
                  </a:lnTo>
                  <a:lnTo>
                    <a:pt x="16026" y="6249"/>
                  </a:lnTo>
                  <a:lnTo>
                    <a:pt x="15965" y="6129"/>
                  </a:lnTo>
                  <a:lnTo>
                    <a:pt x="15948" y="6014"/>
                  </a:lnTo>
                  <a:lnTo>
                    <a:pt x="15982" y="5833"/>
                  </a:lnTo>
                  <a:lnTo>
                    <a:pt x="16056" y="5667"/>
                  </a:lnTo>
                  <a:lnTo>
                    <a:pt x="16079" y="5551"/>
                  </a:lnTo>
                  <a:lnTo>
                    <a:pt x="16130" y="5398"/>
                  </a:lnTo>
                  <a:lnTo>
                    <a:pt x="16168" y="5299"/>
                  </a:lnTo>
                  <a:lnTo>
                    <a:pt x="16158" y="5212"/>
                  </a:lnTo>
                  <a:lnTo>
                    <a:pt x="16120" y="5149"/>
                  </a:lnTo>
                  <a:lnTo>
                    <a:pt x="16044" y="5134"/>
                  </a:lnTo>
                  <a:lnTo>
                    <a:pt x="15842" y="5066"/>
                  </a:lnTo>
                  <a:lnTo>
                    <a:pt x="15649" y="5016"/>
                  </a:lnTo>
                  <a:lnTo>
                    <a:pt x="15519" y="4899"/>
                  </a:lnTo>
                  <a:lnTo>
                    <a:pt x="15428" y="4807"/>
                  </a:lnTo>
                  <a:lnTo>
                    <a:pt x="15295" y="4703"/>
                  </a:lnTo>
                  <a:lnTo>
                    <a:pt x="15101" y="4615"/>
                  </a:lnTo>
                  <a:lnTo>
                    <a:pt x="15030" y="4608"/>
                  </a:lnTo>
                  <a:lnTo>
                    <a:pt x="14853" y="4596"/>
                  </a:lnTo>
                  <a:lnTo>
                    <a:pt x="14711" y="4533"/>
                  </a:lnTo>
                  <a:lnTo>
                    <a:pt x="14656" y="4441"/>
                  </a:lnTo>
                  <a:lnTo>
                    <a:pt x="14613" y="4335"/>
                  </a:lnTo>
                  <a:lnTo>
                    <a:pt x="14581" y="4174"/>
                  </a:lnTo>
                  <a:lnTo>
                    <a:pt x="14534" y="4070"/>
                  </a:lnTo>
                  <a:lnTo>
                    <a:pt x="14451" y="4048"/>
                  </a:lnTo>
                  <a:lnTo>
                    <a:pt x="14384" y="3982"/>
                  </a:lnTo>
                  <a:lnTo>
                    <a:pt x="14380" y="3875"/>
                  </a:lnTo>
                  <a:lnTo>
                    <a:pt x="14437" y="3743"/>
                  </a:lnTo>
                  <a:lnTo>
                    <a:pt x="14496" y="3639"/>
                  </a:lnTo>
                  <a:lnTo>
                    <a:pt x="14589" y="3529"/>
                  </a:lnTo>
                  <a:lnTo>
                    <a:pt x="14644" y="3420"/>
                  </a:lnTo>
                  <a:lnTo>
                    <a:pt x="14712" y="3355"/>
                  </a:lnTo>
                  <a:lnTo>
                    <a:pt x="14846" y="3290"/>
                  </a:lnTo>
                  <a:lnTo>
                    <a:pt x="14960" y="3224"/>
                  </a:lnTo>
                  <a:lnTo>
                    <a:pt x="15117" y="3068"/>
                  </a:lnTo>
                  <a:lnTo>
                    <a:pt x="15265" y="2971"/>
                  </a:lnTo>
                  <a:lnTo>
                    <a:pt x="15367" y="2891"/>
                  </a:lnTo>
                  <a:lnTo>
                    <a:pt x="15479" y="2833"/>
                  </a:lnTo>
                  <a:lnTo>
                    <a:pt x="15627" y="2760"/>
                  </a:lnTo>
                  <a:lnTo>
                    <a:pt x="15801" y="2672"/>
                  </a:lnTo>
                  <a:lnTo>
                    <a:pt x="15902" y="2616"/>
                  </a:lnTo>
                  <a:lnTo>
                    <a:pt x="15953" y="2544"/>
                  </a:lnTo>
                  <a:lnTo>
                    <a:pt x="15902" y="2480"/>
                  </a:lnTo>
                  <a:lnTo>
                    <a:pt x="15942" y="2320"/>
                  </a:lnTo>
                  <a:lnTo>
                    <a:pt x="16029" y="2276"/>
                  </a:lnTo>
                  <a:lnTo>
                    <a:pt x="16111" y="2336"/>
                  </a:lnTo>
                  <a:lnTo>
                    <a:pt x="16338" y="2329"/>
                  </a:lnTo>
                  <a:lnTo>
                    <a:pt x="16515" y="2242"/>
                  </a:lnTo>
                  <a:lnTo>
                    <a:pt x="16662" y="2213"/>
                  </a:lnTo>
                  <a:lnTo>
                    <a:pt x="16803" y="2154"/>
                  </a:lnTo>
                  <a:lnTo>
                    <a:pt x="16958" y="2088"/>
                  </a:lnTo>
                  <a:lnTo>
                    <a:pt x="16928" y="1994"/>
                  </a:lnTo>
                  <a:lnTo>
                    <a:pt x="16828" y="1852"/>
                  </a:lnTo>
                  <a:lnTo>
                    <a:pt x="16746" y="1775"/>
                  </a:lnTo>
                  <a:lnTo>
                    <a:pt x="16786" y="1685"/>
                  </a:lnTo>
                  <a:lnTo>
                    <a:pt x="16894" y="1649"/>
                  </a:lnTo>
                  <a:lnTo>
                    <a:pt x="17022" y="1728"/>
                  </a:lnTo>
                  <a:cubicBezTo>
                    <a:pt x="17065" y="1745"/>
                    <a:pt x="17109" y="1754"/>
                    <a:pt x="17154" y="1754"/>
                  </a:cubicBezTo>
                  <a:cubicBezTo>
                    <a:pt x="17193" y="1754"/>
                    <a:pt x="17232" y="1748"/>
                    <a:pt x="17270" y="1735"/>
                  </a:cubicBezTo>
                  <a:lnTo>
                    <a:pt x="17369" y="1675"/>
                  </a:lnTo>
                  <a:lnTo>
                    <a:pt x="17463" y="1580"/>
                  </a:lnTo>
                  <a:lnTo>
                    <a:pt x="17617" y="1551"/>
                  </a:lnTo>
                  <a:lnTo>
                    <a:pt x="17797" y="1546"/>
                  </a:lnTo>
                  <a:lnTo>
                    <a:pt x="17945" y="1517"/>
                  </a:lnTo>
                  <a:cubicBezTo>
                    <a:pt x="18025" y="1530"/>
                    <a:pt x="18106" y="1530"/>
                    <a:pt x="18186" y="1517"/>
                  </a:cubicBezTo>
                  <a:cubicBezTo>
                    <a:pt x="18230" y="1510"/>
                    <a:pt x="18274" y="1499"/>
                    <a:pt x="18316" y="1480"/>
                  </a:cubicBezTo>
                  <a:cubicBezTo>
                    <a:pt x="18379" y="1453"/>
                    <a:pt x="18437" y="1411"/>
                    <a:pt x="18487" y="1357"/>
                  </a:cubicBezTo>
                  <a:lnTo>
                    <a:pt x="18576" y="1269"/>
                  </a:lnTo>
                  <a:lnTo>
                    <a:pt x="18679" y="1133"/>
                  </a:lnTo>
                  <a:lnTo>
                    <a:pt x="18740" y="1033"/>
                  </a:lnTo>
                  <a:lnTo>
                    <a:pt x="18827" y="887"/>
                  </a:lnTo>
                  <a:lnTo>
                    <a:pt x="18865" y="773"/>
                  </a:lnTo>
                  <a:lnTo>
                    <a:pt x="18842" y="683"/>
                  </a:lnTo>
                  <a:lnTo>
                    <a:pt x="18706" y="662"/>
                  </a:lnTo>
                  <a:lnTo>
                    <a:pt x="18611" y="642"/>
                  </a:lnTo>
                  <a:lnTo>
                    <a:pt x="18371" y="642"/>
                  </a:lnTo>
                  <a:lnTo>
                    <a:pt x="18303" y="678"/>
                  </a:lnTo>
                  <a:lnTo>
                    <a:pt x="18196" y="812"/>
                  </a:lnTo>
                  <a:lnTo>
                    <a:pt x="18035" y="1029"/>
                  </a:lnTo>
                  <a:lnTo>
                    <a:pt x="17939" y="1072"/>
                  </a:lnTo>
                  <a:lnTo>
                    <a:pt x="17774" y="1203"/>
                  </a:lnTo>
                  <a:lnTo>
                    <a:pt x="17708" y="1283"/>
                  </a:lnTo>
                  <a:lnTo>
                    <a:pt x="17630" y="1324"/>
                  </a:lnTo>
                  <a:lnTo>
                    <a:pt x="17575" y="1297"/>
                  </a:lnTo>
                  <a:lnTo>
                    <a:pt x="17456" y="1210"/>
                  </a:lnTo>
                  <a:lnTo>
                    <a:pt x="17478" y="1123"/>
                  </a:lnTo>
                  <a:lnTo>
                    <a:pt x="17579" y="987"/>
                  </a:lnTo>
                  <a:lnTo>
                    <a:pt x="17620" y="848"/>
                  </a:lnTo>
                  <a:lnTo>
                    <a:pt x="17580" y="746"/>
                  </a:lnTo>
                  <a:lnTo>
                    <a:pt x="17480" y="713"/>
                  </a:lnTo>
                  <a:lnTo>
                    <a:pt x="17389" y="669"/>
                  </a:lnTo>
                  <a:lnTo>
                    <a:pt x="17377" y="770"/>
                  </a:lnTo>
                  <a:lnTo>
                    <a:pt x="17275" y="843"/>
                  </a:lnTo>
                  <a:lnTo>
                    <a:pt x="17223" y="719"/>
                  </a:lnTo>
                  <a:lnTo>
                    <a:pt x="17188" y="550"/>
                  </a:lnTo>
                  <a:lnTo>
                    <a:pt x="17158" y="474"/>
                  </a:lnTo>
                  <a:lnTo>
                    <a:pt x="17158" y="393"/>
                  </a:lnTo>
                  <a:lnTo>
                    <a:pt x="17262" y="250"/>
                  </a:lnTo>
                  <a:lnTo>
                    <a:pt x="17279" y="137"/>
                  </a:lnTo>
                  <a:lnTo>
                    <a:pt x="17211" y="42"/>
                  </a:lnTo>
                  <a:lnTo>
                    <a:pt x="17121" y="0"/>
                  </a:lnTo>
                  <a:lnTo>
                    <a:pt x="16997" y="69"/>
                  </a:lnTo>
                  <a:lnTo>
                    <a:pt x="16878" y="193"/>
                  </a:lnTo>
                  <a:lnTo>
                    <a:pt x="16739" y="264"/>
                  </a:lnTo>
                  <a:lnTo>
                    <a:pt x="16601" y="308"/>
                  </a:lnTo>
                  <a:lnTo>
                    <a:pt x="16495" y="385"/>
                  </a:lnTo>
                  <a:lnTo>
                    <a:pt x="16478" y="478"/>
                  </a:lnTo>
                  <a:lnTo>
                    <a:pt x="16580" y="499"/>
                  </a:lnTo>
                  <a:lnTo>
                    <a:pt x="16696" y="652"/>
                  </a:lnTo>
                  <a:lnTo>
                    <a:pt x="16774" y="698"/>
                  </a:lnTo>
                  <a:lnTo>
                    <a:pt x="16711" y="834"/>
                  </a:lnTo>
                  <a:lnTo>
                    <a:pt x="16611" y="914"/>
                  </a:lnTo>
                  <a:lnTo>
                    <a:pt x="16484" y="970"/>
                  </a:lnTo>
                  <a:lnTo>
                    <a:pt x="16336" y="992"/>
                  </a:lnTo>
                  <a:lnTo>
                    <a:pt x="16211" y="1072"/>
                  </a:lnTo>
                  <a:lnTo>
                    <a:pt x="16065" y="1208"/>
                  </a:lnTo>
                  <a:lnTo>
                    <a:pt x="15938" y="1300"/>
                  </a:lnTo>
                  <a:lnTo>
                    <a:pt x="15900" y="1403"/>
                  </a:lnTo>
                  <a:lnTo>
                    <a:pt x="15840" y="1405"/>
                  </a:lnTo>
                  <a:lnTo>
                    <a:pt x="15806" y="1296"/>
                  </a:lnTo>
                  <a:lnTo>
                    <a:pt x="15726" y="1252"/>
                  </a:lnTo>
                  <a:lnTo>
                    <a:pt x="15631" y="1267"/>
                  </a:lnTo>
                  <a:lnTo>
                    <a:pt x="15605" y="1192"/>
                  </a:lnTo>
                  <a:cubicBezTo>
                    <a:pt x="15584" y="1165"/>
                    <a:pt x="15559" y="1144"/>
                    <a:pt x="15531" y="1131"/>
                  </a:cubicBezTo>
                  <a:cubicBezTo>
                    <a:pt x="15512" y="1122"/>
                    <a:pt x="15491" y="1117"/>
                    <a:pt x="15471" y="1117"/>
                  </a:cubicBezTo>
                  <a:lnTo>
                    <a:pt x="15344" y="1117"/>
                  </a:lnTo>
                  <a:lnTo>
                    <a:pt x="15199" y="1177"/>
                  </a:lnTo>
                  <a:lnTo>
                    <a:pt x="15108" y="1170"/>
                  </a:lnTo>
                  <a:lnTo>
                    <a:pt x="14956" y="1162"/>
                  </a:lnTo>
                  <a:lnTo>
                    <a:pt x="14865" y="1119"/>
                  </a:lnTo>
                  <a:cubicBezTo>
                    <a:pt x="14833" y="1105"/>
                    <a:pt x="14801" y="1091"/>
                    <a:pt x="14769" y="1075"/>
                  </a:cubicBezTo>
                  <a:cubicBezTo>
                    <a:pt x="14722" y="1053"/>
                    <a:pt x="14676" y="1028"/>
                    <a:pt x="14628" y="1010"/>
                  </a:cubicBezTo>
                  <a:cubicBezTo>
                    <a:pt x="14586" y="993"/>
                    <a:pt x="14542" y="981"/>
                    <a:pt x="14498" y="973"/>
                  </a:cubicBezTo>
                  <a:lnTo>
                    <a:pt x="14362" y="995"/>
                  </a:lnTo>
                  <a:lnTo>
                    <a:pt x="14227" y="1051"/>
                  </a:lnTo>
                  <a:lnTo>
                    <a:pt x="14126" y="1073"/>
                  </a:lnTo>
                  <a:lnTo>
                    <a:pt x="14007" y="1095"/>
                  </a:lnTo>
                  <a:lnTo>
                    <a:pt x="13915" y="1160"/>
                  </a:lnTo>
                  <a:lnTo>
                    <a:pt x="13864" y="1223"/>
                  </a:lnTo>
                  <a:lnTo>
                    <a:pt x="13791" y="1318"/>
                  </a:lnTo>
                  <a:cubicBezTo>
                    <a:pt x="13779" y="1341"/>
                    <a:pt x="13766" y="1364"/>
                    <a:pt x="13753" y="1386"/>
                  </a:cubicBezTo>
                  <a:cubicBezTo>
                    <a:pt x="13728" y="1427"/>
                    <a:pt x="13701" y="1467"/>
                    <a:pt x="13670" y="1500"/>
                  </a:cubicBezTo>
                  <a:cubicBezTo>
                    <a:pt x="13638" y="1533"/>
                    <a:pt x="13603" y="1560"/>
                    <a:pt x="13565" y="1580"/>
                  </a:cubicBezTo>
                  <a:lnTo>
                    <a:pt x="13469" y="1480"/>
                  </a:lnTo>
                  <a:lnTo>
                    <a:pt x="13459" y="1310"/>
                  </a:lnTo>
                  <a:lnTo>
                    <a:pt x="13425" y="1176"/>
                  </a:lnTo>
                  <a:lnTo>
                    <a:pt x="13378" y="1120"/>
                  </a:lnTo>
                  <a:lnTo>
                    <a:pt x="13268" y="1101"/>
                  </a:lnTo>
                  <a:lnTo>
                    <a:pt x="13148" y="1115"/>
                  </a:lnTo>
                  <a:lnTo>
                    <a:pt x="13089" y="1183"/>
                  </a:lnTo>
                  <a:lnTo>
                    <a:pt x="13018" y="1183"/>
                  </a:lnTo>
                  <a:lnTo>
                    <a:pt x="12818" y="1192"/>
                  </a:lnTo>
                  <a:lnTo>
                    <a:pt x="12642" y="1192"/>
                  </a:lnTo>
                  <a:lnTo>
                    <a:pt x="12500" y="1104"/>
                  </a:lnTo>
                  <a:lnTo>
                    <a:pt x="12494" y="1027"/>
                  </a:lnTo>
                  <a:lnTo>
                    <a:pt x="12560" y="956"/>
                  </a:lnTo>
                  <a:lnTo>
                    <a:pt x="12650" y="915"/>
                  </a:lnTo>
                  <a:lnTo>
                    <a:pt x="12674" y="840"/>
                  </a:lnTo>
                  <a:lnTo>
                    <a:pt x="12555" y="840"/>
                  </a:lnTo>
                  <a:lnTo>
                    <a:pt x="12364" y="876"/>
                  </a:lnTo>
                  <a:lnTo>
                    <a:pt x="12266" y="825"/>
                  </a:lnTo>
                  <a:lnTo>
                    <a:pt x="12129" y="723"/>
                  </a:lnTo>
                  <a:lnTo>
                    <a:pt x="11999" y="650"/>
                  </a:lnTo>
                  <a:lnTo>
                    <a:pt x="11913" y="614"/>
                  </a:lnTo>
                  <a:lnTo>
                    <a:pt x="11760" y="572"/>
                  </a:lnTo>
                  <a:lnTo>
                    <a:pt x="11642" y="550"/>
                  </a:lnTo>
                  <a:lnTo>
                    <a:pt x="11514" y="550"/>
                  </a:lnTo>
                  <a:lnTo>
                    <a:pt x="11415" y="558"/>
                  </a:lnTo>
                  <a:lnTo>
                    <a:pt x="11319" y="601"/>
                  </a:lnTo>
                  <a:lnTo>
                    <a:pt x="11143" y="637"/>
                  </a:lnTo>
                  <a:lnTo>
                    <a:pt x="11018" y="616"/>
                  </a:lnTo>
                  <a:lnTo>
                    <a:pt x="10847" y="514"/>
                  </a:lnTo>
                  <a:lnTo>
                    <a:pt x="10762" y="449"/>
                  </a:lnTo>
                  <a:lnTo>
                    <a:pt x="10681" y="458"/>
                  </a:lnTo>
                  <a:lnTo>
                    <a:pt x="10573" y="509"/>
                  </a:lnTo>
                  <a:lnTo>
                    <a:pt x="10499" y="546"/>
                  </a:lnTo>
                  <a:lnTo>
                    <a:pt x="10376" y="524"/>
                  </a:lnTo>
                  <a:lnTo>
                    <a:pt x="10291" y="502"/>
                  </a:lnTo>
                  <a:lnTo>
                    <a:pt x="10121" y="517"/>
                  </a:lnTo>
                  <a:lnTo>
                    <a:pt x="9918" y="575"/>
                  </a:lnTo>
                  <a:lnTo>
                    <a:pt x="9714" y="655"/>
                  </a:lnTo>
                  <a:lnTo>
                    <a:pt x="9448" y="747"/>
                  </a:lnTo>
                  <a:lnTo>
                    <a:pt x="9329" y="769"/>
                  </a:lnTo>
                  <a:lnTo>
                    <a:pt x="8951" y="819"/>
                  </a:lnTo>
                  <a:lnTo>
                    <a:pt x="8616" y="776"/>
                  </a:lnTo>
                  <a:lnTo>
                    <a:pt x="8127" y="613"/>
                  </a:lnTo>
                  <a:lnTo>
                    <a:pt x="7941" y="509"/>
                  </a:lnTo>
                  <a:lnTo>
                    <a:pt x="7648" y="483"/>
                  </a:lnTo>
                  <a:lnTo>
                    <a:pt x="7075" y="407"/>
                  </a:lnTo>
                  <a:lnTo>
                    <a:pt x="6936" y="356"/>
                  </a:lnTo>
                  <a:lnTo>
                    <a:pt x="6817" y="290"/>
                  </a:lnTo>
                  <a:lnTo>
                    <a:pt x="6682" y="254"/>
                  </a:lnTo>
                  <a:lnTo>
                    <a:pt x="6466" y="217"/>
                  </a:lnTo>
                  <a:lnTo>
                    <a:pt x="6284" y="195"/>
                  </a:lnTo>
                  <a:lnTo>
                    <a:pt x="6126" y="188"/>
                  </a:lnTo>
                  <a:lnTo>
                    <a:pt x="5969" y="188"/>
                  </a:lnTo>
                  <a:lnTo>
                    <a:pt x="5690" y="225"/>
                  </a:lnTo>
                  <a:lnTo>
                    <a:pt x="5320" y="268"/>
                  </a:lnTo>
                  <a:lnTo>
                    <a:pt x="5074" y="361"/>
                  </a:lnTo>
                  <a:lnTo>
                    <a:pt x="4688" y="433"/>
                  </a:lnTo>
                  <a:lnTo>
                    <a:pt x="4586" y="477"/>
                  </a:lnTo>
                  <a:lnTo>
                    <a:pt x="4348" y="572"/>
                  </a:lnTo>
                  <a:lnTo>
                    <a:pt x="4054" y="701"/>
                  </a:lnTo>
                  <a:lnTo>
                    <a:pt x="3823" y="793"/>
                  </a:lnTo>
                  <a:lnTo>
                    <a:pt x="3588" y="866"/>
                  </a:lnTo>
                  <a:lnTo>
                    <a:pt x="3471" y="862"/>
                  </a:lnTo>
                  <a:close/>
                </a:path>
              </a:pathLst>
            </a:custGeom>
            <a:grpFill/>
            <a:ln w="25400" cap="flat">
              <a:noFill/>
              <a:prstDash val="solid"/>
              <a:miter lim="400000"/>
            </a:ln>
            <a:effectLst/>
          </p:spPr>
          <p:txBody>
            <a:bodyPr anchor="ctr"/>
            <a:lstStyle/>
            <a:p>
              <a:pPr algn="ctr"/>
              <a:endParaRPr/>
            </a:p>
          </p:txBody>
        </p:sp>
        <p:sp>
          <p:nvSpPr>
            <p:cNvPr id="9" name="任意多边形: 形状 8">
              <a:extLst>
                <a:ext uri="{FF2B5EF4-FFF2-40B4-BE49-F238E27FC236}">
                  <a16:creationId xmlns:a16="http://schemas.microsoft.com/office/drawing/2014/main" id="{2874AC07-EEF5-4A60-AFA9-AABBF3458BA4}"/>
                </a:ext>
              </a:extLst>
            </p:cNvPr>
            <p:cNvSpPr/>
            <p:nvPr/>
          </p:nvSpPr>
          <p:spPr>
            <a:xfrm>
              <a:off x="2659645" y="1473576"/>
              <a:ext cx="486286" cy="175323"/>
            </a:xfrm>
            <a:custGeom>
              <a:avLst/>
              <a:gdLst/>
              <a:ahLst/>
              <a:cxnLst>
                <a:cxn ang="0">
                  <a:pos x="wd2" y="hd2"/>
                </a:cxn>
                <a:cxn ang="5400000">
                  <a:pos x="wd2" y="hd2"/>
                </a:cxn>
                <a:cxn ang="10800000">
                  <a:pos x="wd2" y="hd2"/>
                </a:cxn>
                <a:cxn ang="16200000">
                  <a:pos x="wd2" y="hd2"/>
                </a:cxn>
              </a:cxnLst>
              <a:rect l="0" t="0" r="r" b="b"/>
              <a:pathLst>
                <a:path w="21600" h="21600" extrusionOk="0">
                  <a:moveTo>
                    <a:pt x="5634" y="1167"/>
                  </a:moveTo>
                  <a:lnTo>
                    <a:pt x="4811" y="2252"/>
                  </a:lnTo>
                  <a:lnTo>
                    <a:pt x="2967" y="4498"/>
                  </a:lnTo>
                  <a:lnTo>
                    <a:pt x="1963" y="5618"/>
                  </a:lnTo>
                  <a:lnTo>
                    <a:pt x="576" y="7014"/>
                  </a:lnTo>
                  <a:lnTo>
                    <a:pt x="80" y="8227"/>
                  </a:lnTo>
                  <a:lnTo>
                    <a:pt x="0" y="9312"/>
                  </a:lnTo>
                  <a:lnTo>
                    <a:pt x="451" y="10588"/>
                  </a:lnTo>
                  <a:lnTo>
                    <a:pt x="1016" y="11735"/>
                  </a:lnTo>
                  <a:cubicBezTo>
                    <a:pt x="1189" y="11851"/>
                    <a:pt x="1367" y="11914"/>
                    <a:pt x="1545" y="11921"/>
                  </a:cubicBezTo>
                  <a:cubicBezTo>
                    <a:pt x="2101" y="11944"/>
                    <a:pt x="2642" y="11441"/>
                    <a:pt x="3079" y="10495"/>
                  </a:cubicBezTo>
                  <a:lnTo>
                    <a:pt x="3970" y="9406"/>
                  </a:lnTo>
                  <a:lnTo>
                    <a:pt x="5427" y="8286"/>
                  </a:lnTo>
                  <a:lnTo>
                    <a:pt x="6330" y="8286"/>
                  </a:lnTo>
                  <a:lnTo>
                    <a:pt x="7392" y="10183"/>
                  </a:lnTo>
                  <a:lnTo>
                    <a:pt x="7965" y="10836"/>
                  </a:lnTo>
                  <a:lnTo>
                    <a:pt x="7774" y="11797"/>
                  </a:lnTo>
                  <a:lnTo>
                    <a:pt x="7111" y="12073"/>
                  </a:lnTo>
                  <a:cubicBezTo>
                    <a:pt x="6813" y="12042"/>
                    <a:pt x="6516" y="12011"/>
                    <a:pt x="6219" y="11980"/>
                  </a:cubicBezTo>
                  <a:cubicBezTo>
                    <a:pt x="5914" y="11948"/>
                    <a:pt x="5609" y="11917"/>
                    <a:pt x="5304" y="11886"/>
                  </a:cubicBezTo>
                  <a:lnTo>
                    <a:pt x="5201" y="13473"/>
                  </a:lnTo>
                  <a:lnTo>
                    <a:pt x="6409" y="14126"/>
                  </a:lnTo>
                  <a:cubicBezTo>
                    <a:pt x="6963" y="14051"/>
                    <a:pt x="7516" y="13958"/>
                    <a:pt x="8069" y="13846"/>
                  </a:cubicBezTo>
                  <a:cubicBezTo>
                    <a:pt x="8714" y="13716"/>
                    <a:pt x="9358" y="13560"/>
                    <a:pt x="10001" y="13380"/>
                  </a:cubicBezTo>
                  <a:lnTo>
                    <a:pt x="10642" y="15239"/>
                  </a:lnTo>
                  <a:lnTo>
                    <a:pt x="9896" y="15981"/>
                  </a:lnTo>
                  <a:cubicBezTo>
                    <a:pt x="9546" y="16191"/>
                    <a:pt x="9192" y="16347"/>
                    <a:pt x="8836" y="16448"/>
                  </a:cubicBezTo>
                  <a:cubicBezTo>
                    <a:pt x="7951" y="16697"/>
                    <a:pt x="7059" y="16604"/>
                    <a:pt x="6183" y="16172"/>
                  </a:cubicBezTo>
                  <a:lnTo>
                    <a:pt x="4831" y="16172"/>
                  </a:lnTo>
                  <a:lnTo>
                    <a:pt x="4764" y="17467"/>
                  </a:lnTo>
                  <a:lnTo>
                    <a:pt x="5860" y="18555"/>
                  </a:lnTo>
                  <a:lnTo>
                    <a:pt x="7450" y="19951"/>
                  </a:lnTo>
                  <a:lnTo>
                    <a:pt x="9207" y="21320"/>
                  </a:lnTo>
                  <a:lnTo>
                    <a:pt x="10369" y="21600"/>
                  </a:lnTo>
                  <a:lnTo>
                    <a:pt x="11950" y="21507"/>
                  </a:lnTo>
                  <a:lnTo>
                    <a:pt x="13656" y="20231"/>
                  </a:lnTo>
                  <a:cubicBezTo>
                    <a:pt x="13887" y="19682"/>
                    <a:pt x="14168" y="19316"/>
                    <a:pt x="14469" y="19174"/>
                  </a:cubicBezTo>
                  <a:cubicBezTo>
                    <a:pt x="14818" y="19009"/>
                    <a:pt x="15172" y="19150"/>
                    <a:pt x="15519" y="19329"/>
                  </a:cubicBezTo>
                  <a:cubicBezTo>
                    <a:pt x="15975" y="19564"/>
                    <a:pt x="16427" y="19863"/>
                    <a:pt x="16872" y="20224"/>
                  </a:cubicBezTo>
                  <a:lnTo>
                    <a:pt x="18689" y="19850"/>
                  </a:lnTo>
                  <a:lnTo>
                    <a:pt x="20146" y="18544"/>
                  </a:lnTo>
                  <a:lnTo>
                    <a:pt x="21195" y="17237"/>
                  </a:lnTo>
                  <a:lnTo>
                    <a:pt x="21600" y="15873"/>
                  </a:lnTo>
                  <a:lnTo>
                    <a:pt x="21374" y="15130"/>
                  </a:lnTo>
                  <a:cubicBezTo>
                    <a:pt x="21049" y="15131"/>
                    <a:pt x="20734" y="14814"/>
                    <a:pt x="20486" y="14235"/>
                  </a:cubicBezTo>
                  <a:cubicBezTo>
                    <a:pt x="20325" y="13859"/>
                    <a:pt x="20198" y="13383"/>
                    <a:pt x="20115" y="12847"/>
                  </a:cubicBezTo>
                  <a:cubicBezTo>
                    <a:pt x="20094" y="12509"/>
                    <a:pt x="20094" y="12163"/>
                    <a:pt x="20115" y="11824"/>
                  </a:cubicBezTo>
                  <a:cubicBezTo>
                    <a:pt x="20168" y="10953"/>
                    <a:pt x="20353" y="10185"/>
                    <a:pt x="20623" y="9709"/>
                  </a:cubicBezTo>
                  <a:lnTo>
                    <a:pt x="21199" y="6443"/>
                  </a:lnTo>
                  <a:lnTo>
                    <a:pt x="21301" y="5513"/>
                  </a:lnTo>
                  <a:cubicBezTo>
                    <a:pt x="21336" y="5080"/>
                    <a:pt x="21268" y="4633"/>
                    <a:pt x="21131" y="4397"/>
                  </a:cubicBezTo>
                  <a:cubicBezTo>
                    <a:pt x="20903" y="4004"/>
                    <a:pt x="20627" y="4349"/>
                    <a:pt x="20376" y="4646"/>
                  </a:cubicBezTo>
                  <a:cubicBezTo>
                    <a:pt x="20058" y="5024"/>
                    <a:pt x="19716" y="5284"/>
                    <a:pt x="19439" y="5860"/>
                  </a:cubicBezTo>
                  <a:cubicBezTo>
                    <a:pt x="19169" y="6418"/>
                    <a:pt x="18986" y="7219"/>
                    <a:pt x="18761" y="7909"/>
                  </a:cubicBezTo>
                  <a:cubicBezTo>
                    <a:pt x="18530" y="8617"/>
                    <a:pt x="18255" y="9207"/>
                    <a:pt x="17949" y="9651"/>
                  </a:cubicBezTo>
                  <a:lnTo>
                    <a:pt x="17192" y="8997"/>
                  </a:lnTo>
                  <a:cubicBezTo>
                    <a:pt x="17245" y="8451"/>
                    <a:pt x="17264" y="7885"/>
                    <a:pt x="17249" y="7321"/>
                  </a:cubicBezTo>
                  <a:cubicBezTo>
                    <a:pt x="17234" y="6788"/>
                    <a:pt x="17188" y="6264"/>
                    <a:pt x="17113" y="5770"/>
                  </a:cubicBezTo>
                  <a:lnTo>
                    <a:pt x="16235" y="5863"/>
                  </a:lnTo>
                  <a:lnTo>
                    <a:pt x="15637" y="7539"/>
                  </a:lnTo>
                  <a:lnTo>
                    <a:pt x="14936" y="7349"/>
                  </a:lnTo>
                  <a:lnTo>
                    <a:pt x="14394" y="6820"/>
                  </a:lnTo>
                  <a:lnTo>
                    <a:pt x="13160" y="5925"/>
                  </a:lnTo>
                  <a:lnTo>
                    <a:pt x="12891" y="4996"/>
                  </a:lnTo>
                  <a:lnTo>
                    <a:pt x="12371" y="3658"/>
                  </a:lnTo>
                  <a:lnTo>
                    <a:pt x="11460" y="2356"/>
                  </a:lnTo>
                  <a:lnTo>
                    <a:pt x="10150" y="1298"/>
                  </a:lnTo>
                  <a:lnTo>
                    <a:pt x="9103" y="649"/>
                  </a:lnTo>
                  <a:lnTo>
                    <a:pt x="8371" y="2"/>
                  </a:lnTo>
                  <a:lnTo>
                    <a:pt x="7461" y="0"/>
                  </a:lnTo>
                  <a:lnTo>
                    <a:pt x="6933" y="376"/>
                  </a:lnTo>
                  <a:lnTo>
                    <a:pt x="5634" y="1167"/>
                  </a:lnTo>
                  <a:close/>
                </a:path>
              </a:pathLst>
            </a:custGeom>
            <a:grpFill/>
            <a:ln w="25400" cap="flat">
              <a:noFill/>
              <a:prstDash val="solid"/>
              <a:miter lim="400000"/>
            </a:ln>
            <a:effectLst/>
          </p:spPr>
          <p:txBody>
            <a:bodyPr anchor="ctr"/>
            <a:lstStyle/>
            <a:p>
              <a:pPr algn="ctr"/>
              <a:endParaRPr/>
            </a:p>
          </p:txBody>
        </p:sp>
        <p:sp>
          <p:nvSpPr>
            <p:cNvPr id="10" name="任意多边形: 形状 9">
              <a:extLst>
                <a:ext uri="{FF2B5EF4-FFF2-40B4-BE49-F238E27FC236}">
                  <a16:creationId xmlns:a16="http://schemas.microsoft.com/office/drawing/2014/main" id="{3D7AD84B-0F6D-4FD7-B866-7529DFD148FB}"/>
                </a:ext>
              </a:extLst>
            </p:cNvPr>
            <p:cNvSpPr/>
            <p:nvPr/>
          </p:nvSpPr>
          <p:spPr>
            <a:xfrm>
              <a:off x="3184375" y="1615331"/>
              <a:ext cx="84303" cy="41888"/>
            </a:xfrm>
            <a:custGeom>
              <a:avLst/>
              <a:gdLst/>
              <a:ahLst/>
              <a:cxnLst>
                <a:cxn ang="0">
                  <a:pos x="wd2" y="hd2"/>
                </a:cxn>
                <a:cxn ang="5400000">
                  <a:pos x="wd2" y="hd2"/>
                </a:cxn>
                <a:cxn ang="10800000">
                  <a:pos x="wd2" y="hd2"/>
                </a:cxn>
                <a:cxn ang="16200000">
                  <a:pos x="wd2" y="hd2"/>
                </a:cxn>
              </a:cxnLst>
              <a:rect l="0" t="0" r="r" b="b"/>
              <a:pathLst>
                <a:path w="21600" h="21600" extrusionOk="0">
                  <a:moveTo>
                    <a:pt x="10670" y="2473"/>
                  </a:moveTo>
                  <a:lnTo>
                    <a:pt x="5361" y="4164"/>
                  </a:lnTo>
                  <a:lnTo>
                    <a:pt x="2017" y="7047"/>
                  </a:lnTo>
                  <a:lnTo>
                    <a:pt x="0" y="10954"/>
                  </a:lnTo>
                  <a:lnTo>
                    <a:pt x="2552" y="17693"/>
                  </a:lnTo>
                  <a:lnTo>
                    <a:pt x="5850" y="21600"/>
                  </a:lnTo>
                  <a:cubicBezTo>
                    <a:pt x="7389" y="21202"/>
                    <a:pt x="8897" y="20415"/>
                    <a:pt x="10337" y="19256"/>
                  </a:cubicBezTo>
                  <a:cubicBezTo>
                    <a:pt x="12339" y="17645"/>
                    <a:pt x="14178" y="15341"/>
                    <a:pt x="16135" y="13527"/>
                  </a:cubicBezTo>
                  <a:cubicBezTo>
                    <a:pt x="17883" y="11907"/>
                    <a:pt x="19716" y="10684"/>
                    <a:pt x="21600" y="9880"/>
                  </a:cubicBezTo>
                  <a:lnTo>
                    <a:pt x="21014" y="4151"/>
                  </a:lnTo>
                  <a:lnTo>
                    <a:pt x="17112" y="2719"/>
                  </a:lnTo>
                  <a:lnTo>
                    <a:pt x="14661" y="0"/>
                  </a:lnTo>
                  <a:lnTo>
                    <a:pt x="10670" y="2473"/>
                  </a:lnTo>
                  <a:close/>
                </a:path>
              </a:pathLst>
            </a:custGeom>
            <a:grpFill/>
            <a:ln w="25400" cap="flat">
              <a:noFill/>
              <a:prstDash val="solid"/>
              <a:miter lim="400000"/>
            </a:ln>
            <a:effectLst/>
          </p:spPr>
          <p:txBody>
            <a:bodyPr anchor="ctr"/>
            <a:lstStyle/>
            <a:p>
              <a:pPr algn="ctr"/>
              <a:endParaRPr/>
            </a:p>
          </p:txBody>
        </p:sp>
        <p:sp>
          <p:nvSpPr>
            <p:cNvPr id="11" name="任意多边形: 形状 10">
              <a:extLst>
                <a:ext uri="{FF2B5EF4-FFF2-40B4-BE49-F238E27FC236}">
                  <a16:creationId xmlns:a16="http://schemas.microsoft.com/office/drawing/2014/main" id="{E67FE7F7-AA42-40DA-83CB-6FA3A06A6344}"/>
                </a:ext>
              </a:extLst>
            </p:cNvPr>
            <p:cNvSpPr/>
            <p:nvPr/>
          </p:nvSpPr>
          <p:spPr>
            <a:xfrm>
              <a:off x="3215588" y="1484505"/>
              <a:ext cx="150776" cy="76940"/>
            </a:xfrm>
            <a:custGeom>
              <a:avLst/>
              <a:gdLst/>
              <a:ahLst/>
              <a:cxnLst>
                <a:cxn ang="0">
                  <a:pos x="wd2" y="hd2"/>
                </a:cxn>
                <a:cxn ang="5400000">
                  <a:pos x="wd2" y="hd2"/>
                </a:cxn>
                <a:cxn ang="10800000">
                  <a:pos x="wd2" y="hd2"/>
                </a:cxn>
                <a:cxn ang="16200000">
                  <a:pos x="wd2" y="hd2"/>
                </a:cxn>
              </a:cxnLst>
              <a:rect l="0" t="0" r="r" b="b"/>
              <a:pathLst>
                <a:path w="21600" h="21600" extrusionOk="0">
                  <a:moveTo>
                    <a:pt x="9855" y="8070"/>
                  </a:moveTo>
                  <a:lnTo>
                    <a:pt x="7801" y="11552"/>
                  </a:lnTo>
                  <a:lnTo>
                    <a:pt x="5516" y="10656"/>
                  </a:lnTo>
                  <a:lnTo>
                    <a:pt x="2915" y="8883"/>
                  </a:lnTo>
                  <a:lnTo>
                    <a:pt x="484" y="9938"/>
                  </a:lnTo>
                  <a:lnTo>
                    <a:pt x="0" y="12339"/>
                  </a:lnTo>
                  <a:lnTo>
                    <a:pt x="2322" y="13819"/>
                  </a:lnTo>
                  <a:lnTo>
                    <a:pt x="4989" y="16372"/>
                  </a:lnTo>
                  <a:lnTo>
                    <a:pt x="6259" y="21600"/>
                  </a:lnTo>
                  <a:lnTo>
                    <a:pt x="8764" y="21166"/>
                  </a:lnTo>
                  <a:lnTo>
                    <a:pt x="11419" y="18835"/>
                  </a:lnTo>
                  <a:lnTo>
                    <a:pt x="13595" y="17559"/>
                  </a:lnTo>
                  <a:lnTo>
                    <a:pt x="16209" y="16717"/>
                  </a:lnTo>
                  <a:lnTo>
                    <a:pt x="18103" y="12039"/>
                  </a:lnTo>
                  <a:lnTo>
                    <a:pt x="18868" y="8289"/>
                  </a:lnTo>
                  <a:lnTo>
                    <a:pt x="21600" y="2573"/>
                  </a:lnTo>
                  <a:lnTo>
                    <a:pt x="21345" y="797"/>
                  </a:lnTo>
                  <a:lnTo>
                    <a:pt x="19965" y="0"/>
                  </a:lnTo>
                  <a:lnTo>
                    <a:pt x="18121" y="1761"/>
                  </a:lnTo>
                  <a:lnTo>
                    <a:pt x="15430" y="3083"/>
                  </a:lnTo>
                  <a:cubicBezTo>
                    <a:pt x="14909" y="2790"/>
                    <a:pt x="14357" y="2790"/>
                    <a:pt x="13836" y="3083"/>
                  </a:cubicBezTo>
                  <a:cubicBezTo>
                    <a:pt x="13246" y="3416"/>
                    <a:pt x="12725" y="4109"/>
                    <a:pt x="12352" y="5060"/>
                  </a:cubicBezTo>
                  <a:lnTo>
                    <a:pt x="9855" y="8070"/>
                  </a:lnTo>
                  <a:close/>
                </a:path>
              </a:pathLst>
            </a:custGeom>
            <a:grpFill/>
            <a:ln w="25400" cap="flat">
              <a:noFill/>
              <a:prstDash val="solid"/>
              <a:miter lim="400000"/>
            </a:ln>
            <a:effectLst/>
          </p:spPr>
          <p:txBody>
            <a:bodyPr anchor="ctr"/>
            <a:lstStyle/>
            <a:p>
              <a:pPr algn="ctr"/>
              <a:endParaRPr/>
            </a:p>
          </p:txBody>
        </p:sp>
        <p:sp>
          <p:nvSpPr>
            <p:cNvPr id="14" name="任意多边形: 形状 13">
              <a:extLst>
                <a:ext uri="{FF2B5EF4-FFF2-40B4-BE49-F238E27FC236}">
                  <a16:creationId xmlns:a16="http://schemas.microsoft.com/office/drawing/2014/main" id="{5C11A45C-E07C-4034-8C03-587FF1D26276}"/>
                </a:ext>
              </a:extLst>
            </p:cNvPr>
            <p:cNvSpPr/>
            <p:nvPr/>
          </p:nvSpPr>
          <p:spPr>
            <a:xfrm>
              <a:off x="3377772" y="1484037"/>
              <a:ext cx="117289" cy="51262"/>
            </a:xfrm>
            <a:custGeom>
              <a:avLst/>
              <a:gdLst/>
              <a:ahLst/>
              <a:cxnLst>
                <a:cxn ang="0">
                  <a:pos x="wd2" y="hd2"/>
                </a:cxn>
                <a:cxn ang="5400000">
                  <a:pos x="wd2" y="hd2"/>
                </a:cxn>
                <a:cxn ang="10800000">
                  <a:pos x="wd2" y="hd2"/>
                </a:cxn>
                <a:cxn ang="16200000">
                  <a:pos x="wd2" y="hd2"/>
                </a:cxn>
              </a:cxnLst>
              <a:rect l="0" t="0" r="r" b="b"/>
              <a:pathLst>
                <a:path w="21600" h="21600" extrusionOk="0">
                  <a:moveTo>
                    <a:pt x="16283" y="0"/>
                  </a:moveTo>
                  <a:lnTo>
                    <a:pt x="11928" y="3126"/>
                  </a:lnTo>
                  <a:lnTo>
                    <a:pt x="8108" y="3244"/>
                  </a:lnTo>
                  <a:lnTo>
                    <a:pt x="5428" y="5147"/>
                  </a:lnTo>
                  <a:lnTo>
                    <a:pt x="1745" y="9615"/>
                  </a:lnTo>
                  <a:lnTo>
                    <a:pt x="0" y="15547"/>
                  </a:lnTo>
                  <a:lnTo>
                    <a:pt x="588" y="20642"/>
                  </a:lnTo>
                  <a:lnTo>
                    <a:pt x="3255" y="21600"/>
                  </a:lnTo>
                  <a:lnTo>
                    <a:pt x="5550" y="17130"/>
                  </a:lnTo>
                  <a:lnTo>
                    <a:pt x="11731" y="15960"/>
                  </a:lnTo>
                  <a:lnTo>
                    <a:pt x="16226" y="17237"/>
                  </a:lnTo>
                  <a:lnTo>
                    <a:pt x="19914" y="14058"/>
                  </a:lnTo>
                  <a:lnTo>
                    <a:pt x="21459" y="10547"/>
                  </a:lnTo>
                  <a:lnTo>
                    <a:pt x="21600" y="3750"/>
                  </a:lnTo>
                  <a:lnTo>
                    <a:pt x="20248" y="1848"/>
                  </a:lnTo>
                  <a:lnTo>
                    <a:pt x="16283" y="0"/>
                  </a:lnTo>
                  <a:close/>
                </a:path>
              </a:pathLst>
            </a:custGeom>
            <a:grpFill/>
            <a:ln w="25400" cap="flat">
              <a:noFill/>
              <a:prstDash val="solid"/>
              <a:miter lim="400000"/>
            </a:ln>
            <a:effectLst/>
          </p:spPr>
          <p:txBody>
            <a:bodyPr anchor="ctr"/>
            <a:lstStyle/>
            <a:p>
              <a:pPr algn="ctr"/>
              <a:endParaRPr/>
            </a:p>
          </p:txBody>
        </p:sp>
        <p:sp>
          <p:nvSpPr>
            <p:cNvPr id="15" name="任意多边形: 形状 14">
              <a:extLst>
                <a:ext uri="{FF2B5EF4-FFF2-40B4-BE49-F238E27FC236}">
                  <a16:creationId xmlns:a16="http://schemas.microsoft.com/office/drawing/2014/main" id="{97F6D4DD-4CD8-4F65-8FCD-60FFDD43D6B3}"/>
                </a:ext>
              </a:extLst>
            </p:cNvPr>
            <p:cNvSpPr/>
            <p:nvPr/>
          </p:nvSpPr>
          <p:spPr>
            <a:xfrm>
              <a:off x="3537340" y="1418200"/>
              <a:ext cx="289161" cy="66258"/>
            </a:xfrm>
            <a:custGeom>
              <a:avLst/>
              <a:gdLst/>
              <a:ahLst/>
              <a:cxnLst>
                <a:cxn ang="0">
                  <a:pos x="wd2" y="hd2"/>
                </a:cxn>
                <a:cxn ang="5400000">
                  <a:pos x="wd2" y="hd2"/>
                </a:cxn>
                <a:cxn ang="10800000">
                  <a:pos x="wd2" y="hd2"/>
                </a:cxn>
                <a:cxn ang="16200000">
                  <a:pos x="wd2" y="hd2"/>
                </a:cxn>
              </a:cxnLst>
              <a:rect l="0" t="0" r="r" b="b"/>
              <a:pathLst>
                <a:path w="21600" h="21600" extrusionOk="0">
                  <a:moveTo>
                    <a:pt x="3838" y="93"/>
                  </a:moveTo>
                  <a:lnTo>
                    <a:pt x="2736" y="1503"/>
                  </a:lnTo>
                  <a:lnTo>
                    <a:pt x="1623" y="3591"/>
                  </a:lnTo>
                  <a:lnTo>
                    <a:pt x="622" y="6051"/>
                  </a:lnTo>
                  <a:lnTo>
                    <a:pt x="0" y="11309"/>
                  </a:lnTo>
                  <a:cubicBezTo>
                    <a:pt x="23" y="12625"/>
                    <a:pt x="147" y="13870"/>
                    <a:pt x="350" y="14850"/>
                  </a:cubicBezTo>
                  <a:cubicBezTo>
                    <a:pt x="1005" y="17999"/>
                    <a:pt x="2162" y="17761"/>
                    <a:pt x="2744" y="14356"/>
                  </a:cubicBezTo>
                  <a:lnTo>
                    <a:pt x="5745" y="14109"/>
                  </a:lnTo>
                  <a:lnTo>
                    <a:pt x="6941" y="15344"/>
                  </a:lnTo>
                  <a:lnTo>
                    <a:pt x="7732" y="17545"/>
                  </a:lnTo>
                  <a:lnTo>
                    <a:pt x="11998" y="18080"/>
                  </a:lnTo>
                  <a:lnTo>
                    <a:pt x="14484" y="17092"/>
                  </a:lnTo>
                  <a:lnTo>
                    <a:pt x="15087" y="21600"/>
                  </a:lnTo>
                  <a:lnTo>
                    <a:pt x="16550" y="21600"/>
                  </a:lnTo>
                  <a:lnTo>
                    <a:pt x="17231" y="19140"/>
                  </a:lnTo>
                  <a:lnTo>
                    <a:pt x="18865" y="15518"/>
                  </a:lnTo>
                  <a:lnTo>
                    <a:pt x="20308" y="14036"/>
                  </a:lnTo>
                  <a:lnTo>
                    <a:pt x="21600" y="11412"/>
                  </a:lnTo>
                  <a:cubicBezTo>
                    <a:pt x="21334" y="10787"/>
                    <a:pt x="21058" y="10251"/>
                    <a:pt x="20774" y="9806"/>
                  </a:cubicBezTo>
                  <a:cubicBezTo>
                    <a:pt x="20288" y="9047"/>
                    <a:pt x="19783" y="8563"/>
                    <a:pt x="19275" y="8160"/>
                  </a:cubicBezTo>
                  <a:cubicBezTo>
                    <a:pt x="18598" y="7622"/>
                    <a:pt x="17913" y="7228"/>
                    <a:pt x="17224" y="7172"/>
                  </a:cubicBezTo>
                  <a:cubicBezTo>
                    <a:pt x="16485" y="7113"/>
                    <a:pt x="15746" y="7444"/>
                    <a:pt x="15026" y="8160"/>
                  </a:cubicBezTo>
                  <a:lnTo>
                    <a:pt x="12369" y="8407"/>
                  </a:lnTo>
                  <a:lnTo>
                    <a:pt x="10911" y="9394"/>
                  </a:lnTo>
                  <a:lnTo>
                    <a:pt x="8883" y="10619"/>
                  </a:lnTo>
                  <a:lnTo>
                    <a:pt x="7915" y="8232"/>
                  </a:lnTo>
                  <a:lnTo>
                    <a:pt x="5806" y="3786"/>
                  </a:lnTo>
                  <a:lnTo>
                    <a:pt x="5241" y="0"/>
                  </a:lnTo>
                  <a:lnTo>
                    <a:pt x="3838" y="93"/>
                  </a:lnTo>
                  <a:close/>
                </a:path>
              </a:pathLst>
            </a:custGeom>
            <a:grpFill/>
            <a:ln w="25400" cap="flat">
              <a:noFill/>
              <a:prstDash val="solid"/>
              <a:miter lim="400000"/>
            </a:ln>
            <a:effectLst/>
          </p:spPr>
          <p:txBody>
            <a:bodyPr anchor="ctr"/>
            <a:lstStyle/>
            <a:p>
              <a:pPr algn="ctr"/>
              <a:endParaRPr/>
            </a:p>
          </p:txBody>
        </p:sp>
        <p:sp>
          <p:nvSpPr>
            <p:cNvPr id="16" name="任意多边形: 形状 15">
              <a:extLst>
                <a:ext uri="{FF2B5EF4-FFF2-40B4-BE49-F238E27FC236}">
                  <a16:creationId xmlns:a16="http://schemas.microsoft.com/office/drawing/2014/main" id="{C8416765-427F-4996-BB9D-09D623DA1380}"/>
                </a:ext>
              </a:extLst>
            </p:cNvPr>
            <p:cNvSpPr/>
            <p:nvPr/>
          </p:nvSpPr>
          <p:spPr>
            <a:xfrm>
              <a:off x="3672980" y="1247323"/>
              <a:ext cx="662519" cy="187834"/>
            </a:xfrm>
            <a:custGeom>
              <a:avLst/>
              <a:gdLst/>
              <a:ahLst/>
              <a:cxnLst>
                <a:cxn ang="0">
                  <a:pos x="wd2" y="hd2"/>
                </a:cxn>
                <a:cxn ang="5400000">
                  <a:pos x="wd2" y="hd2"/>
                </a:cxn>
                <a:cxn ang="10800000">
                  <a:pos x="wd2" y="hd2"/>
                </a:cxn>
                <a:cxn ang="16200000">
                  <a:pos x="wd2" y="hd2"/>
                </a:cxn>
              </a:cxnLst>
              <a:rect l="0" t="0" r="r" b="b"/>
              <a:pathLst>
                <a:path w="21600" h="21600" extrusionOk="0">
                  <a:moveTo>
                    <a:pt x="5561" y="13378"/>
                  </a:moveTo>
                  <a:lnTo>
                    <a:pt x="5088" y="13526"/>
                  </a:lnTo>
                  <a:lnTo>
                    <a:pt x="4669" y="12962"/>
                  </a:lnTo>
                  <a:lnTo>
                    <a:pt x="4219" y="12959"/>
                  </a:lnTo>
                  <a:lnTo>
                    <a:pt x="3753" y="12614"/>
                  </a:lnTo>
                  <a:lnTo>
                    <a:pt x="3243" y="12700"/>
                  </a:lnTo>
                  <a:lnTo>
                    <a:pt x="3001" y="13654"/>
                  </a:lnTo>
                  <a:lnTo>
                    <a:pt x="3447" y="14348"/>
                  </a:lnTo>
                  <a:lnTo>
                    <a:pt x="4117" y="13825"/>
                  </a:lnTo>
                  <a:lnTo>
                    <a:pt x="4612" y="14954"/>
                  </a:lnTo>
                  <a:lnTo>
                    <a:pt x="4247" y="16144"/>
                  </a:lnTo>
                  <a:lnTo>
                    <a:pt x="3401" y="16493"/>
                  </a:lnTo>
                  <a:lnTo>
                    <a:pt x="3037" y="17070"/>
                  </a:lnTo>
                  <a:lnTo>
                    <a:pt x="2338" y="17502"/>
                  </a:lnTo>
                  <a:lnTo>
                    <a:pt x="1089" y="17154"/>
                  </a:lnTo>
                  <a:lnTo>
                    <a:pt x="368" y="16144"/>
                  </a:lnTo>
                  <a:lnTo>
                    <a:pt x="0" y="16754"/>
                  </a:lnTo>
                  <a:lnTo>
                    <a:pt x="473" y="17680"/>
                  </a:lnTo>
                  <a:lnTo>
                    <a:pt x="1410" y="19248"/>
                  </a:lnTo>
                  <a:cubicBezTo>
                    <a:pt x="1564" y="19437"/>
                    <a:pt x="1722" y="19583"/>
                    <a:pt x="1882" y="19684"/>
                  </a:cubicBezTo>
                  <a:cubicBezTo>
                    <a:pt x="2315" y="19954"/>
                    <a:pt x="2758" y="19895"/>
                    <a:pt x="3184" y="19509"/>
                  </a:cubicBezTo>
                  <a:lnTo>
                    <a:pt x="4003" y="18899"/>
                  </a:lnTo>
                  <a:lnTo>
                    <a:pt x="4865" y="19684"/>
                  </a:lnTo>
                  <a:lnTo>
                    <a:pt x="5810" y="21600"/>
                  </a:lnTo>
                  <a:lnTo>
                    <a:pt x="6299" y="20087"/>
                  </a:lnTo>
                  <a:cubicBezTo>
                    <a:pt x="6564" y="19546"/>
                    <a:pt x="6838" y="19061"/>
                    <a:pt x="7119" y="18634"/>
                  </a:cubicBezTo>
                  <a:cubicBezTo>
                    <a:pt x="7498" y="18061"/>
                    <a:pt x="7889" y="17595"/>
                    <a:pt x="8288" y="17241"/>
                  </a:cubicBezTo>
                  <a:lnTo>
                    <a:pt x="8943" y="16573"/>
                  </a:lnTo>
                  <a:cubicBezTo>
                    <a:pt x="9325" y="16367"/>
                    <a:pt x="9696" y="15967"/>
                    <a:pt x="10045" y="15386"/>
                  </a:cubicBezTo>
                  <a:cubicBezTo>
                    <a:pt x="10339" y="14896"/>
                    <a:pt x="10614" y="14282"/>
                    <a:pt x="10865" y="13557"/>
                  </a:cubicBezTo>
                  <a:lnTo>
                    <a:pt x="11910" y="11553"/>
                  </a:lnTo>
                  <a:lnTo>
                    <a:pt x="12755" y="10329"/>
                  </a:lnTo>
                  <a:lnTo>
                    <a:pt x="14123" y="9460"/>
                  </a:lnTo>
                  <a:lnTo>
                    <a:pt x="15016" y="8853"/>
                  </a:lnTo>
                  <a:lnTo>
                    <a:pt x="16306" y="7600"/>
                  </a:lnTo>
                  <a:lnTo>
                    <a:pt x="17582" y="6587"/>
                  </a:lnTo>
                  <a:lnTo>
                    <a:pt x="19014" y="5139"/>
                  </a:lnTo>
                  <a:lnTo>
                    <a:pt x="20556" y="3047"/>
                  </a:lnTo>
                  <a:lnTo>
                    <a:pt x="21202" y="1453"/>
                  </a:lnTo>
                  <a:lnTo>
                    <a:pt x="21600" y="174"/>
                  </a:lnTo>
                  <a:lnTo>
                    <a:pt x="21294" y="0"/>
                  </a:lnTo>
                  <a:lnTo>
                    <a:pt x="20633" y="10"/>
                  </a:lnTo>
                  <a:lnTo>
                    <a:pt x="19151" y="1139"/>
                  </a:lnTo>
                  <a:cubicBezTo>
                    <a:pt x="18849" y="1367"/>
                    <a:pt x="18545" y="1570"/>
                    <a:pt x="18239" y="1749"/>
                  </a:cubicBezTo>
                  <a:cubicBezTo>
                    <a:pt x="17545" y="2156"/>
                    <a:pt x="16846" y="2436"/>
                    <a:pt x="16143" y="2588"/>
                  </a:cubicBezTo>
                  <a:lnTo>
                    <a:pt x="14478" y="2326"/>
                  </a:lnTo>
                  <a:lnTo>
                    <a:pt x="13302" y="2239"/>
                  </a:lnTo>
                  <a:lnTo>
                    <a:pt x="12681" y="2239"/>
                  </a:lnTo>
                  <a:lnTo>
                    <a:pt x="11912" y="2497"/>
                  </a:lnTo>
                  <a:lnTo>
                    <a:pt x="10970" y="2932"/>
                  </a:lnTo>
                  <a:cubicBezTo>
                    <a:pt x="10552" y="3620"/>
                    <a:pt x="10097" y="3995"/>
                    <a:pt x="9635" y="4036"/>
                  </a:cubicBezTo>
                  <a:cubicBezTo>
                    <a:pt x="9179" y="4076"/>
                    <a:pt x="8728" y="3788"/>
                    <a:pt x="8276" y="3600"/>
                  </a:cubicBezTo>
                  <a:cubicBezTo>
                    <a:pt x="7888" y="3439"/>
                    <a:pt x="7498" y="3352"/>
                    <a:pt x="7108" y="3339"/>
                  </a:cubicBezTo>
                  <a:lnTo>
                    <a:pt x="6305" y="3339"/>
                  </a:lnTo>
                  <a:lnTo>
                    <a:pt x="5909" y="3945"/>
                  </a:lnTo>
                  <a:lnTo>
                    <a:pt x="6356" y="4864"/>
                  </a:lnTo>
                  <a:lnTo>
                    <a:pt x="6967" y="5096"/>
                  </a:lnTo>
                  <a:cubicBezTo>
                    <a:pt x="7229" y="5258"/>
                    <a:pt x="7491" y="5403"/>
                    <a:pt x="7755" y="5531"/>
                  </a:cubicBezTo>
                  <a:cubicBezTo>
                    <a:pt x="8151" y="5725"/>
                    <a:pt x="8549" y="5880"/>
                    <a:pt x="8948" y="5996"/>
                  </a:cubicBezTo>
                  <a:cubicBezTo>
                    <a:pt x="9130" y="6050"/>
                    <a:pt x="9312" y="6050"/>
                    <a:pt x="9493" y="5996"/>
                  </a:cubicBezTo>
                  <a:cubicBezTo>
                    <a:pt x="9721" y="5928"/>
                    <a:pt x="9946" y="5776"/>
                    <a:pt x="10171" y="5648"/>
                  </a:cubicBezTo>
                  <a:cubicBezTo>
                    <a:pt x="10400" y="5517"/>
                    <a:pt x="10629" y="5411"/>
                    <a:pt x="10859" y="5328"/>
                  </a:cubicBezTo>
                  <a:lnTo>
                    <a:pt x="11646" y="6374"/>
                  </a:lnTo>
                  <a:lnTo>
                    <a:pt x="11398" y="7992"/>
                  </a:lnTo>
                  <a:lnTo>
                    <a:pt x="10289" y="8686"/>
                  </a:lnTo>
                  <a:cubicBezTo>
                    <a:pt x="9973" y="8994"/>
                    <a:pt x="9649" y="9198"/>
                    <a:pt x="9321" y="9296"/>
                  </a:cubicBezTo>
                  <a:cubicBezTo>
                    <a:pt x="8943" y="9409"/>
                    <a:pt x="8562" y="9380"/>
                    <a:pt x="8186" y="9209"/>
                  </a:cubicBezTo>
                  <a:lnTo>
                    <a:pt x="7166" y="9034"/>
                  </a:lnTo>
                  <a:cubicBezTo>
                    <a:pt x="6949" y="8622"/>
                    <a:pt x="6715" y="8329"/>
                    <a:pt x="6473" y="8167"/>
                  </a:cubicBezTo>
                  <a:cubicBezTo>
                    <a:pt x="6175" y="7967"/>
                    <a:pt x="5868" y="7967"/>
                    <a:pt x="5570" y="8167"/>
                  </a:cubicBezTo>
                  <a:lnTo>
                    <a:pt x="4985" y="8744"/>
                  </a:lnTo>
                  <a:lnTo>
                    <a:pt x="5399" y="10189"/>
                  </a:lnTo>
                  <a:lnTo>
                    <a:pt x="5614" y="11056"/>
                  </a:lnTo>
                  <a:lnTo>
                    <a:pt x="5762" y="12595"/>
                  </a:lnTo>
                  <a:lnTo>
                    <a:pt x="5561" y="13378"/>
                  </a:lnTo>
                  <a:close/>
                </a:path>
              </a:pathLst>
            </a:custGeom>
            <a:grpFill/>
            <a:ln w="25400" cap="flat">
              <a:noFill/>
              <a:prstDash val="solid"/>
              <a:miter lim="400000"/>
            </a:ln>
            <a:effectLst/>
          </p:spPr>
          <p:txBody>
            <a:bodyPr anchor="ctr"/>
            <a:lstStyle/>
            <a:p>
              <a:pPr algn="ctr"/>
              <a:endParaRPr/>
            </a:p>
          </p:txBody>
        </p:sp>
        <p:sp>
          <p:nvSpPr>
            <p:cNvPr id="17" name="任意多边形: 形状 16">
              <a:extLst>
                <a:ext uri="{FF2B5EF4-FFF2-40B4-BE49-F238E27FC236}">
                  <a16:creationId xmlns:a16="http://schemas.microsoft.com/office/drawing/2014/main" id="{1242A3C0-2695-4CD2-829D-7EE1A9F12356}"/>
                </a:ext>
              </a:extLst>
            </p:cNvPr>
            <p:cNvSpPr/>
            <p:nvPr/>
          </p:nvSpPr>
          <p:spPr>
            <a:xfrm>
              <a:off x="4072085" y="1252852"/>
              <a:ext cx="1290276" cy="661440"/>
            </a:xfrm>
            <a:custGeom>
              <a:avLst/>
              <a:gdLst/>
              <a:ahLst/>
              <a:cxnLst>
                <a:cxn ang="0">
                  <a:pos x="wd2" y="hd2"/>
                </a:cxn>
                <a:cxn ang="5400000">
                  <a:pos x="wd2" y="hd2"/>
                </a:cxn>
                <a:cxn ang="10800000">
                  <a:pos x="wd2" y="hd2"/>
                </a:cxn>
                <a:cxn ang="16200000">
                  <a:pos x="wd2" y="hd2"/>
                </a:cxn>
              </a:cxnLst>
              <a:rect l="0" t="0" r="r" b="b"/>
              <a:pathLst>
                <a:path w="21600" h="21600" extrusionOk="0">
                  <a:moveTo>
                    <a:pt x="4570" y="1596"/>
                  </a:moveTo>
                  <a:lnTo>
                    <a:pt x="3927" y="2113"/>
                  </a:lnTo>
                  <a:lnTo>
                    <a:pt x="2963" y="3015"/>
                  </a:lnTo>
                  <a:lnTo>
                    <a:pt x="2197" y="3378"/>
                  </a:lnTo>
                  <a:cubicBezTo>
                    <a:pt x="1959" y="3423"/>
                    <a:pt x="1720" y="3456"/>
                    <a:pt x="1481" y="3477"/>
                  </a:cubicBezTo>
                  <a:cubicBezTo>
                    <a:pt x="1325" y="3490"/>
                    <a:pt x="1168" y="3498"/>
                    <a:pt x="1012" y="3501"/>
                  </a:cubicBezTo>
                  <a:lnTo>
                    <a:pt x="480" y="3625"/>
                  </a:lnTo>
                  <a:lnTo>
                    <a:pt x="0" y="4046"/>
                  </a:lnTo>
                  <a:lnTo>
                    <a:pt x="205" y="4266"/>
                  </a:lnTo>
                  <a:lnTo>
                    <a:pt x="192" y="4578"/>
                  </a:lnTo>
                  <a:lnTo>
                    <a:pt x="145" y="4873"/>
                  </a:lnTo>
                  <a:lnTo>
                    <a:pt x="366" y="5235"/>
                  </a:lnTo>
                  <a:cubicBezTo>
                    <a:pt x="483" y="5325"/>
                    <a:pt x="606" y="5381"/>
                    <a:pt x="731" y="5399"/>
                  </a:cubicBezTo>
                  <a:cubicBezTo>
                    <a:pt x="871" y="5420"/>
                    <a:pt x="1012" y="5394"/>
                    <a:pt x="1152" y="5399"/>
                  </a:cubicBezTo>
                  <a:cubicBezTo>
                    <a:pt x="1276" y="5404"/>
                    <a:pt x="1400" y="5432"/>
                    <a:pt x="1522" y="5399"/>
                  </a:cubicBezTo>
                  <a:cubicBezTo>
                    <a:pt x="1649" y="5365"/>
                    <a:pt x="1769" y="5267"/>
                    <a:pt x="1892" y="5202"/>
                  </a:cubicBezTo>
                  <a:cubicBezTo>
                    <a:pt x="2058" y="5116"/>
                    <a:pt x="2231" y="5090"/>
                    <a:pt x="2402" y="5128"/>
                  </a:cubicBezTo>
                  <a:lnTo>
                    <a:pt x="2767" y="5276"/>
                  </a:lnTo>
                  <a:cubicBezTo>
                    <a:pt x="2900" y="5352"/>
                    <a:pt x="3033" y="5420"/>
                    <a:pt x="3167" y="5482"/>
                  </a:cubicBezTo>
                  <a:cubicBezTo>
                    <a:pt x="3243" y="5518"/>
                    <a:pt x="3319" y="5551"/>
                    <a:pt x="3395" y="5581"/>
                  </a:cubicBezTo>
                  <a:lnTo>
                    <a:pt x="3650" y="5902"/>
                  </a:lnTo>
                  <a:lnTo>
                    <a:pt x="4020" y="6514"/>
                  </a:lnTo>
                  <a:lnTo>
                    <a:pt x="4415" y="7659"/>
                  </a:lnTo>
                  <a:lnTo>
                    <a:pt x="4440" y="8450"/>
                  </a:lnTo>
                  <a:lnTo>
                    <a:pt x="4352" y="9024"/>
                  </a:lnTo>
                  <a:lnTo>
                    <a:pt x="4531" y="9485"/>
                  </a:lnTo>
                  <a:lnTo>
                    <a:pt x="4876" y="9749"/>
                  </a:lnTo>
                  <a:lnTo>
                    <a:pt x="5054" y="10490"/>
                  </a:lnTo>
                  <a:lnTo>
                    <a:pt x="5054" y="11980"/>
                  </a:lnTo>
                  <a:lnTo>
                    <a:pt x="4876" y="12838"/>
                  </a:lnTo>
                  <a:lnTo>
                    <a:pt x="4638" y="13183"/>
                  </a:lnTo>
                  <a:lnTo>
                    <a:pt x="3903" y="13807"/>
                  </a:lnTo>
                  <a:lnTo>
                    <a:pt x="3525" y="14343"/>
                  </a:lnTo>
                  <a:lnTo>
                    <a:pt x="3368" y="15002"/>
                  </a:lnTo>
                  <a:lnTo>
                    <a:pt x="3321" y="15677"/>
                  </a:lnTo>
                  <a:cubicBezTo>
                    <a:pt x="3404" y="15780"/>
                    <a:pt x="3470" y="15925"/>
                    <a:pt x="3512" y="16096"/>
                  </a:cubicBezTo>
                  <a:cubicBezTo>
                    <a:pt x="3580" y="16367"/>
                    <a:pt x="3585" y="16682"/>
                    <a:pt x="3525" y="16960"/>
                  </a:cubicBezTo>
                  <a:lnTo>
                    <a:pt x="3385" y="17619"/>
                  </a:lnTo>
                  <a:lnTo>
                    <a:pt x="3351" y="18130"/>
                  </a:lnTo>
                  <a:lnTo>
                    <a:pt x="3444" y="18881"/>
                  </a:lnTo>
                  <a:lnTo>
                    <a:pt x="3708" y="19400"/>
                  </a:lnTo>
                  <a:lnTo>
                    <a:pt x="4236" y="20174"/>
                  </a:lnTo>
                  <a:lnTo>
                    <a:pt x="4376" y="20719"/>
                  </a:lnTo>
                  <a:lnTo>
                    <a:pt x="4670" y="21057"/>
                  </a:lnTo>
                  <a:lnTo>
                    <a:pt x="4900" y="21337"/>
                  </a:lnTo>
                  <a:lnTo>
                    <a:pt x="5157" y="21600"/>
                  </a:lnTo>
                  <a:lnTo>
                    <a:pt x="5715" y="21600"/>
                  </a:lnTo>
                  <a:lnTo>
                    <a:pt x="6033" y="21031"/>
                  </a:lnTo>
                  <a:lnTo>
                    <a:pt x="6548" y="20355"/>
                  </a:lnTo>
                  <a:lnTo>
                    <a:pt x="6705" y="19796"/>
                  </a:lnTo>
                  <a:lnTo>
                    <a:pt x="6910" y="19062"/>
                  </a:lnTo>
                  <a:lnTo>
                    <a:pt x="7139" y="18519"/>
                  </a:lnTo>
                  <a:lnTo>
                    <a:pt x="7301" y="17868"/>
                  </a:lnTo>
                  <a:lnTo>
                    <a:pt x="7390" y="17406"/>
                  </a:lnTo>
                  <a:lnTo>
                    <a:pt x="7761" y="16591"/>
                  </a:lnTo>
                  <a:cubicBezTo>
                    <a:pt x="7873" y="16404"/>
                    <a:pt x="7997" y="16246"/>
                    <a:pt x="8131" y="16121"/>
                  </a:cubicBezTo>
                  <a:cubicBezTo>
                    <a:pt x="8328" y="15937"/>
                    <a:pt x="8542" y="15828"/>
                    <a:pt x="8761" y="15801"/>
                  </a:cubicBezTo>
                  <a:lnTo>
                    <a:pt x="9305" y="15727"/>
                  </a:lnTo>
                  <a:cubicBezTo>
                    <a:pt x="9405" y="15710"/>
                    <a:pt x="9504" y="15685"/>
                    <a:pt x="9603" y="15652"/>
                  </a:cubicBezTo>
                  <a:cubicBezTo>
                    <a:pt x="9812" y="15583"/>
                    <a:pt x="10017" y="15478"/>
                    <a:pt x="10216" y="15339"/>
                  </a:cubicBezTo>
                  <a:cubicBezTo>
                    <a:pt x="10289" y="15303"/>
                    <a:pt x="10361" y="15262"/>
                    <a:pt x="10433" y="15215"/>
                  </a:cubicBezTo>
                  <a:cubicBezTo>
                    <a:pt x="10645" y="15077"/>
                    <a:pt x="10849" y="14891"/>
                    <a:pt x="11040" y="14663"/>
                  </a:cubicBezTo>
                  <a:lnTo>
                    <a:pt x="11355" y="14177"/>
                  </a:lnTo>
                  <a:lnTo>
                    <a:pt x="11891" y="13522"/>
                  </a:lnTo>
                  <a:lnTo>
                    <a:pt x="12235" y="13078"/>
                  </a:lnTo>
                  <a:lnTo>
                    <a:pt x="12847" y="13004"/>
                  </a:lnTo>
                  <a:lnTo>
                    <a:pt x="13102" y="13144"/>
                  </a:lnTo>
                  <a:lnTo>
                    <a:pt x="13519" y="13218"/>
                  </a:lnTo>
                  <a:lnTo>
                    <a:pt x="13829" y="13053"/>
                  </a:lnTo>
                  <a:lnTo>
                    <a:pt x="14271" y="12814"/>
                  </a:lnTo>
                  <a:lnTo>
                    <a:pt x="14663" y="12566"/>
                  </a:lnTo>
                  <a:lnTo>
                    <a:pt x="15084" y="12467"/>
                  </a:lnTo>
                  <a:lnTo>
                    <a:pt x="15497" y="12402"/>
                  </a:lnTo>
                  <a:lnTo>
                    <a:pt x="15854" y="12327"/>
                  </a:lnTo>
                  <a:lnTo>
                    <a:pt x="16108" y="12327"/>
                  </a:lnTo>
                  <a:lnTo>
                    <a:pt x="16138" y="11701"/>
                  </a:lnTo>
                  <a:lnTo>
                    <a:pt x="15849" y="11379"/>
                  </a:lnTo>
                  <a:cubicBezTo>
                    <a:pt x="15736" y="11393"/>
                    <a:pt x="15622" y="11407"/>
                    <a:pt x="15509" y="11420"/>
                  </a:cubicBezTo>
                  <a:cubicBezTo>
                    <a:pt x="15303" y="11445"/>
                    <a:pt x="15098" y="11470"/>
                    <a:pt x="14892" y="11494"/>
                  </a:cubicBezTo>
                  <a:lnTo>
                    <a:pt x="14740" y="11123"/>
                  </a:lnTo>
                  <a:cubicBezTo>
                    <a:pt x="14769" y="10919"/>
                    <a:pt x="14851" y="10760"/>
                    <a:pt x="14956" y="10703"/>
                  </a:cubicBezTo>
                  <a:cubicBezTo>
                    <a:pt x="15099" y="10626"/>
                    <a:pt x="15250" y="10749"/>
                    <a:pt x="15322" y="11000"/>
                  </a:cubicBezTo>
                  <a:cubicBezTo>
                    <a:pt x="15374" y="10900"/>
                    <a:pt x="15405" y="10769"/>
                    <a:pt x="15412" y="10629"/>
                  </a:cubicBezTo>
                  <a:cubicBezTo>
                    <a:pt x="15424" y="10350"/>
                    <a:pt x="15341" y="10089"/>
                    <a:pt x="15207" y="9985"/>
                  </a:cubicBezTo>
                  <a:lnTo>
                    <a:pt x="15493" y="9515"/>
                  </a:lnTo>
                  <a:cubicBezTo>
                    <a:pt x="15637" y="9640"/>
                    <a:pt x="15768" y="9813"/>
                    <a:pt x="15880" y="10027"/>
                  </a:cubicBezTo>
                  <a:cubicBezTo>
                    <a:pt x="15998" y="10251"/>
                    <a:pt x="16093" y="10517"/>
                    <a:pt x="16160" y="10810"/>
                  </a:cubicBezTo>
                  <a:lnTo>
                    <a:pt x="16658" y="11082"/>
                  </a:lnTo>
                  <a:lnTo>
                    <a:pt x="16895" y="10959"/>
                  </a:lnTo>
                  <a:lnTo>
                    <a:pt x="17018" y="10515"/>
                  </a:lnTo>
                  <a:lnTo>
                    <a:pt x="16294" y="9855"/>
                  </a:lnTo>
                  <a:lnTo>
                    <a:pt x="16103" y="9419"/>
                  </a:lnTo>
                  <a:lnTo>
                    <a:pt x="15695" y="8999"/>
                  </a:lnTo>
                  <a:lnTo>
                    <a:pt x="15487" y="8406"/>
                  </a:lnTo>
                  <a:lnTo>
                    <a:pt x="15870" y="8134"/>
                  </a:lnTo>
                  <a:lnTo>
                    <a:pt x="16533" y="8547"/>
                  </a:lnTo>
                  <a:cubicBezTo>
                    <a:pt x="16596" y="8499"/>
                    <a:pt x="16659" y="8450"/>
                    <a:pt x="16721" y="8398"/>
                  </a:cubicBezTo>
                  <a:cubicBezTo>
                    <a:pt x="16929" y="8224"/>
                    <a:pt x="17132" y="8026"/>
                    <a:pt x="17328" y="7805"/>
                  </a:cubicBezTo>
                  <a:lnTo>
                    <a:pt x="17788" y="7319"/>
                  </a:lnTo>
                  <a:lnTo>
                    <a:pt x="18210" y="6429"/>
                  </a:lnTo>
                  <a:lnTo>
                    <a:pt x="18235" y="5884"/>
                  </a:lnTo>
                  <a:cubicBezTo>
                    <a:pt x="18303" y="5655"/>
                    <a:pt x="18399" y="5463"/>
                    <a:pt x="18515" y="5325"/>
                  </a:cubicBezTo>
                  <a:cubicBezTo>
                    <a:pt x="18632" y="5186"/>
                    <a:pt x="18765" y="5106"/>
                    <a:pt x="18902" y="5094"/>
                  </a:cubicBezTo>
                  <a:lnTo>
                    <a:pt x="18902" y="4509"/>
                  </a:lnTo>
                  <a:lnTo>
                    <a:pt x="18817" y="4263"/>
                  </a:lnTo>
                  <a:lnTo>
                    <a:pt x="18746" y="3869"/>
                  </a:lnTo>
                  <a:lnTo>
                    <a:pt x="18880" y="3190"/>
                  </a:lnTo>
                  <a:lnTo>
                    <a:pt x="19186" y="2499"/>
                  </a:lnTo>
                  <a:lnTo>
                    <a:pt x="19696" y="2178"/>
                  </a:lnTo>
                  <a:lnTo>
                    <a:pt x="20121" y="2202"/>
                  </a:lnTo>
                  <a:lnTo>
                    <a:pt x="20414" y="1856"/>
                  </a:lnTo>
                  <a:lnTo>
                    <a:pt x="21001" y="1881"/>
                  </a:lnTo>
                  <a:cubicBezTo>
                    <a:pt x="21065" y="1886"/>
                    <a:pt x="21130" y="1860"/>
                    <a:pt x="21188" y="1807"/>
                  </a:cubicBezTo>
                  <a:cubicBezTo>
                    <a:pt x="21269" y="1732"/>
                    <a:pt x="21335" y="1607"/>
                    <a:pt x="21375" y="1452"/>
                  </a:cubicBezTo>
                  <a:lnTo>
                    <a:pt x="21591" y="1348"/>
                  </a:lnTo>
                  <a:lnTo>
                    <a:pt x="21600" y="1011"/>
                  </a:lnTo>
                  <a:lnTo>
                    <a:pt x="21150" y="975"/>
                  </a:lnTo>
                  <a:cubicBezTo>
                    <a:pt x="20995" y="1003"/>
                    <a:pt x="20843" y="1062"/>
                    <a:pt x="20694" y="1151"/>
                  </a:cubicBezTo>
                  <a:cubicBezTo>
                    <a:pt x="20557" y="1233"/>
                    <a:pt x="20423" y="1342"/>
                    <a:pt x="20282" y="1390"/>
                  </a:cubicBezTo>
                  <a:cubicBezTo>
                    <a:pt x="20093" y="1454"/>
                    <a:pt x="19900" y="1411"/>
                    <a:pt x="19724" y="1265"/>
                  </a:cubicBezTo>
                  <a:cubicBezTo>
                    <a:pt x="19577" y="1262"/>
                    <a:pt x="19430" y="1212"/>
                    <a:pt x="19291" y="1117"/>
                  </a:cubicBezTo>
                  <a:cubicBezTo>
                    <a:pt x="19095" y="983"/>
                    <a:pt x="18917" y="763"/>
                    <a:pt x="18772" y="474"/>
                  </a:cubicBezTo>
                  <a:lnTo>
                    <a:pt x="18083" y="0"/>
                  </a:lnTo>
                  <a:lnTo>
                    <a:pt x="16508" y="3"/>
                  </a:lnTo>
                  <a:lnTo>
                    <a:pt x="15693" y="275"/>
                  </a:lnTo>
                  <a:lnTo>
                    <a:pt x="14944" y="531"/>
                  </a:lnTo>
                  <a:lnTo>
                    <a:pt x="14463" y="291"/>
                  </a:lnTo>
                  <a:lnTo>
                    <a:pt x="13875" y="143"/>
                  </a:lnTo>
                  <a:lnTo>
                    <a:pt x="13340" y="291"/>
                  </a:lnTo>
                  <a:lnTo>
                    <a:pt x="12195" y="653"/>
                  </a:lnTo>
                  <a:lnTo>
                    <a:pt x="10633" y="1133"/>
                  </a:lnTo>
                  <a:lnTo>
                    <a:pt x="9702" y="1133"/>
                  </a:lnTo>
                  <a:lnTo>
                    <a:pt x="8978" y="1388"/>
                  </a:lnTo>
                  <a:lnTo>
                    <a:pt x="8396" y="1388"/>
                  </a:lnTo>
                  <a:lnTo>
                    <a:pt x="7809" y="1141"/>
                  </a:lnTo>
                  <a:lnTo>
                    <a:pt x="7009" y="1092"/>
                  </a:lnTo>
                  <a:lnTo>
                    <a:pt x="6559" y="1002"/>
                  </a:lnTo>
                  <a:lnTo>
                    <a:pt x="5776" y="1002"/>
                  </a:lnTo>
                  <a:lnTo>
                    <a:pt x="5285" y="1142"/>
                  </a:lnTo>
                  <a:lnTo>
                    <a:pt x="4570" y="1596"/>
                  </a:lnTo>
                  <a:close/>
                </a:path>
              </a:pathLst>
            </a:custGeom>
            <a:grpFill/>
            <a:ln w="25400" cap="flat">
              <a:noFill/>
              <a:prstDash val="solid"/>
              <a:miter lim="400000"/>
            </a:ln>
            <a:effectLst/>
          </p:spPr>
          <p:txBody>
            <a:bodyPr anchor="ctr"/>
            <a:lstStyle/>
            <a:p>
              <a:pPr algn="ctr"/>
              <a:endParaRPr/>
            </a:p>
          </p:txBody>
        </p:sp>
        <p:sp>
          <p:nvSpPr>
            <p:cNvPr id="18" name="任意多边形: 形状 17">
              <a:extLst>
                <a:ext uri="{FF2B5EF4-FFF2-40B4-BE49-F238E27FC236}">
                  <a16:creationId xmlns:a16="http://schemas.microsoft.com/office/drawing/2014/main" id="{4CD6E691-EEC0-4B6F-A672-58CA05AAB20E}"/>
                </a:ext>
              </a:extLst>
            </p:cNvPr>
            <p:cNvSpPr/>
            <p:nvPr/>
          </p:nvSpPr>
          <p:spPr>
            <a:xfrm>
              <a:off x="3479660" y="1494826"/>
              <a:ext cx="530890" cy="368947"/>
            </a:xfrm>
            <a:custGeom>
              <a:avLst/>
              <a:gdLst/>
              <a:ahLst/>
              <a:cxnLst>
                <a:cxn ang="0">
                  <a:pos x="wd2" y="hd2"/>
                </a:cxn>
                <a:cxn ang="5400000">
                  <a:pos x="wd2" y="hd2"/>
                </a:cxn>
                <a:cxn ang="10800000">
                  <a:pos x="wd2" y="hd2"/>
                </a:cxn>
                <a:cxn ang="16200000">
                  <a:pos x="wd2" y="hd2"/>
                </a:cxn>
              </a:cxnLst>
              <a:rect l="0" t="0" r="r" b="b"/>
              <a:pathLst>
                <a:path w="21600" h="21600" extrusionOk="0">
                  <a:moveTo>
                    <a:pt x="8021" y="593"/>
                  </a:moveTo>
                  <a:lnTo>
                    <a:pt x="7339" y="943"/>
                  </a:lnTo>
                  <a:lnTo>
                    <a:pt x="6138" y="1776"/>
                  </a:lnTo>
                  <a:lnTo>
                    <a:pt x="5808" y="2763"/>
                  </a:lnTo>
                  <a:lnTo>
                    <a:pt x="5092" y="3323"/>
                  </a:lnTo>
                  <a:cubicBezTo>
                    <a:pt x="4981" y="3552"/>
                    <a:pt x="4794" y="3681"/>
                    <a:pt x="4600" y="3663"/>
                  </a:cubicBezTo>
                  <a:cubicBezTo>
                    <a:pt x="4347" y="3639"/>
                    <a:pt x="4136" y="3380"/>
                    <a:pt x="4082" y="3027"/>
                  </a:cubicBezTo>
                  <a:lnTo>
                    <a:pt x="4399" y="1979"/>
                  </a:lnTo>
                  <a:lnTo>
                    <a:pt x="5690" y="798"/>
                  </a:lnTo>
                  <a:lnTo>
                    <a:pt x="5100" y="0"/>
                  </a:lnTo>
                  <a:cubicBezTo>
                    <a:pt x="4899" y="133"/>
                    <a:pt x="4693" y="250"/>
                    <a:pt x="4483" y="350"/>
                  </a:cubicBezTo>
                  <a:cubicBezTo>
                    <a:pt x="4069" y="547"/>
                    <a:pt x="3640" y="676"/>
                    <a:pt x="3206" y="735"/>
                  </a:cubicBezTo>
                  <a:lnTo>
                    <a:pt x="2729" y="1223"/>
                  </a:lnTo>
                  <a:lnTo>
                    <a:pt x="1867" y="1975"/>
                  </a:lnTo>
                  <a:lnTo>
                    <a:pt x="1287" y="3024"/>
                  </a:lnTo>
                  <a:lnTo>
                    <a:pt x="765" y="3246"/>
                  </a:lnTo>
                  <a:lnTo>
                    <a:pt x="240" y="4131"/>
                  </a:lnTo>
                  <a:lnTo>
                    <a:pt x="0" y="4706"/>
                  </a:lnTo>
                  <a:lnTo>
                    <a:pt x="488" y="5355"/>
                  </a:lnTo>
                  <a:lnTo>
                    <a:pt x="1157" y="5843"/>
                  </a:lnTo>
                  <a:lnTo>
                    <a:pt x="1737" y="6153"/>
                  </a:lnTo>
                  <a:lnTo>
                    <a:pt x="2377" y="6286"/>
                  </a:lnTo>
                  <a:lnTo>
                    <a:pt x="3276" y="6064"/>
                  </a:lnTo>
                  <a:lnTo>
                    <a:pt x="4259" y="5754"/>
                  </a:lnTo>
                  <a:lnTo>
                    <a:pt x="5354" y="6094"/>
                  </a:lnTo>
                  <a:lnTo>
                    <a:pt x="6511" y="6183"/>
                  </a:lnTo>
                  <a:lnTo>
                    <a:pt x="7184" y="6626"/>
                  </a:lnTo>
                  <a:cubicBezTo>
                    <a:pt x="7405" y="6541"/>
                    <a:pt x="7623" y="6437"/>
                    <a:pt x="7835" y="6316"/>
                  </a:cubicBezTo>
                  <a:cubicBezTo>
                    <a:pt x="8220" y="6096"/>
                    <a:pt x="8587" y="5819"/>
                    <a:pt x="8931" y="5490"/>
                  </a:cubicBezTo>
                  <a:lnTo>
                    <a:pt x="9355" y="5312"/>
                  </a:lnTo>
                  <a:lnTo>
                    <a:pt x="9932" y="5575"/>
                  </a:lnTo>
                  <a:lnTo>
                    <a:pt x="10644" y="6240"/>
                  </a:lnTo>
                  <a:lnTo>
                    <a:pt x="11141" y="6846"/>
                  </a:lnTo>
                  <a:lnTo>
                    <a:pt x="12060" y="7539"/>
                  </a:lnTo>
                  <a:lnTo>
                    <a:pt x="12619" y="8736"/>
                  </a:lnTo>
                  <a:lnTo>
                    <a:pt x="13095" y="10006"/>
                  </a:lnTo>
                  <a:lnTo>
                    <a:pt x="13435" y="11054"/>
                  </a:lnTo>
                  <a:lnTo>
                    <a:pt x="14056" y="11586"/>
                  </a:lnTo>
                  <a:lnTo>
                    <a:pt x="14914" y="12148"/>
                  </a:lnTo>
                  <a:lnTo>
                    <a:pt x="14833" y="12869"/>
                  </a:lnTo>
                  <a:lnTo>
                    <a:pt x="14379" y="13177"/>
                  </a:lnTo>
                  <a:lnTo>
                    <a:pt x="13740" y="13602"/>
                  </a:lnTo>
                  <a:lnTo>
                    <a:pt x="12986" y="13647"/>
                  </a:lnTo>
                  <a:lnTo>
                    <a:pt x="12638" y="13264"/>
                  </a:lnTo>
                  <a:lnTo>
                    <a:pt x="11587" y="13042"/>
                  </a:lnTo>
                  <a:lnTo>
                    <a:pt x="10513" y="13484"/>
                  </a:lnTo>
                  <a:lnTo>
                    <a:pt x="9841" y="14502"/>
                  </a:lnTo>
                  <a:lnTo>
                    <a:pt x="9564" y="15162"/>
                  </a:lnTo>
                  <a:lnTo>
                    <a:pt x="9078" y="15545"/>
                  </a:lnTo>
                  <a:lnTo>
                    <a:pt x="7809" y="15678"/>
                  </a:lnTo>
                  <a:lnTo>
                    <a:pt x="6983" y="15367"/>
                  </a:lnTo>
                  <a:lnTo>
                    <a:pt x="6084" y="15147"/>
                  </a:lnTo>
                  <a:lnTo>
                    <a:pt x="5096" y="15369"/>
                  </a:lnTo>
                  <a:lnTo>
                    <a:pt x="4413" y="16019"/>
                  </a:lnTo>
                  <a:lnTo>
                    <a:pt x="5045" y="16668"/>
                  </a:lnTo>
                  <a:lnTo>
                    <a:pt x="6285" y="16934"/>
                  </a:lnTo>
                  <a:lnTo>
                    <a:pt x="7287" y="16420"/>
                  </a:lnTo>
                  <a:lnTo>
                    <a:pt x="8059" y="16243"/>
                  </a:lnTo>
                  <a:lnTo>
                    <a:pt x="9091" y="16300"/>
                  </a:lnTo>
                  <a:lnTo>
                    <a:pt x="9462" y="16921"/>
                  </a:lnTo>
                  <a:lnTo>
                    <a:pt x="9564" y="17355"/>
                  </a:lnTo>
                  <a:lnTo>
                    <a:pt x="9891" y="18150"/>
                  </a:lnTo>
                  <a:lnTo>
                    <a:pt x="10014" y="18797"/>
                  </a:lnTo>
                  <a:lnTo>
                    <a:pt x="10439" y="19327"/>
                  </a:lnTo>
                  <a:lnTo>
                    <a:pt x="10902" y="19443"/>
                  </a:lnTo>
                  <a:lnTo>
                    <a:pt x="12019" y="20417"/>
                  </a:lnTo>
                  <a:lnTo>
                    <a:pt x="12722" y="21245"/>
                  </a:lnTo>
                  <a:lnTo>
                    <a:pt x="14241" y="21600"/>
                  </a:lnTo>
                  <a:lnTo>
                    <a:pt x="14643" y="21336"/>
                  </a:lnTo>
                  <a:lnTo>
                    <a:pt x="15294" y="20804"/>
                  </a:lnTo>
                  <a:cubicBezTo>
                    <a:pt x="15170" y="20619"/>
                    <a:pt x="15023" y="20469"/>
                    <a:pt x="14861" y="20360"/>
                  </a:cubicBezTo>
                  <a:cubicBezTo>
                    <a:pt x="14623" y="20200"/>
                    <a:pt x="14358" y="20132"/>
                    <a:pt x="14128" y="19948"/>
                  </a:cubicBezTo>
                  <a:cubicBezTo>
                    <a:pt x="13879" y="19749"/>
                    <a:pt x="13688" y="19429"/>
                    <a:pt x="13590" y="19046"/>
                  </a:cubicBezTo>
                  <a:lnTo>
                    <a:pt x="13158" y="18532"/>
                  </a:lnTo>
                  <a:lnTo>
                    <a:pt x="13427" y="18017"/>
                  </a:lnTo>
                  <a:lnTo>
                    <a:pt x="14110" y="18105"/>
                  </a:lnTo>
                  <a:lnTo>
                    <a:pt x="14793" y="18460"/>
                  </a:lnTo>
                  <a:lnTo>
                    <a:pt x="15377" y="18697"/>
                  </a:lnTo>
                  <a:lnTo>
                    <a:pt x="15778" y="19005"/>
                  </a:lnTo>
                  <a:lnTo>
                    <a:pt x="16295" y="19094"/>
                  </a:lnTo>
                  <a:lnTo>
                    <a:pt x="16532" y="18785"/>
                  </a:lnTo>
                  <a:lnTo>
                    <a:pt x="16863" y="17974"/>
                  </a:lnTo>
                  <a:lnTo>
                    <a:pt x="16832" y="16720"/>
                  </a:lnTo>
                  <a:lnTo>
                    <a:pt x="16410" y="15436"/>
                  </a:lnTo>
                  <a:lnTo>
                    <a:pt x="16038" y="14519"/>
                  </a:lnTo>
                  <a:lnTo>
                    <a:pt x="16348" y="13987"/>
                  </a:lnTo>
                  <a:lnTo>
                    <a:pt x="17092" y="13263"/>
                  </a:lnTo>
                  <a:lnTo>
                    <a:pt x="17959" y="13751"/>
                  </a:lnTo>
                  <a:cubicBezTo>
                    <a:pt x="18224" y="13919"/>
                    <a:pt x="18489" y="14087"/>
                    <a:pt x="18755" y="14253"/>
                  </a:cubicBezTo>
                  <a:cubicBezTo>
                    <a:pt x="19010" y="14412"/>
                    <a:pt x="19265" y="14570"/>
                    <a:pt x="19521" y="14726"/>
                  </a:cubicBezTo>
                  <a:lnTo>
                    <a:pt x="20059" y="14800"/>
                  </a:lnTo>
                  <a:cubicBezTo>
                    <a:pt x="20261" y="14738"/>
                    <a:pt x="20456" y="14633"/>
                    <a:pt x="20638" y="14490"/>
                  </a:cubicBezTo>
                  <a:cubicBezTo>
                    <a:pt x="21053" y="14162"/>
                    <a:pt x="21380" y="13647"/>
                    <a:pt x="21569" y="13026"/>
                  </a:cubicBezTo>
                  <a:lnTo>
                    <a:pt x="21600" y="12364"/>
                  </a:lnTo>
                  <a:lnTo>
                    <a:pt x="20876" y="11537"/>
                  </a:lnTo>
                  <a:lnTo>
                    <a:pt x="20172" y="11271"/>
                  </a:lnTo>
                  <a:cubicBezTo>
                    <a:pt x="19977" y="10989"/>
                    <a:pt x="19782" y="10709"/>
                    <a:pt x="19585" y="10430"/>
                  </a:cubicBezTo>
                  <a:cubicBezTo>
                    <a:pt x="19314" y="10044"/>
                    <a:pt x="19041" y="9659"/>
                    <a:pt x="18768" y="9277"/>
                  </a:cubicBezTo>
                  <a:lnTo>
                    <a:pt x="18552" y="8352"/>
                  </a:lnTo>
                  <a:lnTo>
                    <a:pt x="18707" y="7850"/>
                  </a:lnTo>
                  <a:lnTo>
                    <a:pt x="18707" y="7053"/>
                  </a:lnTo>
                  <a:lnTo>
                    <a:pt x="18460" y="6506"/>
                  </a:lnTo>
                  <a:lnTo>
                    <a:pt x="17665" y="6018"/>
                  </a:lnTo>
                  <a:lnTo>
                    <a:pt x="16139" y="5357"/>
                  </a:lnTo>
                  <a:lnTo>
                    <a:pt x="15519" y="4734"/>
                  </a:lnTo>
                  <a:lnTo>
                    <a:pt x="14962" y="3542"/>
                  </a:lnTo>
                  <a:lnTo>
                    <a:pt x="14662" y="2965"/>
                  </a:lnTo>
                  <a:lnTo>
                    <a:pt x="14176" y="2226"/>
                  </a:lnTo>
                  <a:lnTo>
                    <a:pt x="13369" y="2581"/>
                  </a:lnTo>
                  <a:lnTo>
                    <a:pt x="12408" y="3126"/>
                  </a:lnTo>
                  <a:lnTo>
                    <a:pt x="11913" y="2771"/>
                  </a:lnTo>
                  <a:cubicBezTo>
                    <a:pt x="11698" y="2567"/>
                    <a:pt x="11484" y="2360"/>
                    <a:pt x="11271" y="2150"/>
                  </a:cubicBezTo>
                  <a:cubicBezTo>
                    <a:pt x="11036" y="1918"/>
                    <a:pt x="10801" y="1682"/>
                    <a:pt x="10569" y="1443"/>
                  </a:cubicBezTo>
                  <a:lnTo>
                    <a:pt x="9607" y="777"/>
                  </a:lnTo>
                  <a:lnTo>
                    <a:pt x="9009" y="497"/>
                  </a:lnTo>
                  <a:lnTo>
                    <a:pt x="8021" y="593"/>
                  </a:lnTo>
                  <a:close/>
                </a:path>
              </a:pathLst>
            </a:custGeom>
            <a:grpFill/>
            <a:ln w="25400" cap="flat">
              <a:noFill/>
              <a:prstDash val="solid"/>
              <a:miter lim="400000"/>
            </a:ln>
            <a:effectLst/>
          </p:spPr>
          <p:txBody>
            <a:bodyPr anchor="ctr"/>
            <a:lstStyle/>
            <a:p>
              <a:pPr algn="ctr"/>
              <a:endParaRPr/>
            </a:p>
          </p:txBody>
        </p:sp>
        <p:sp>
          <p:nvSpPr>
            <p:cNvPr id="19" name="任意多边形: 形状 18">
              <a:extLst>
                <a:ext uri="{FF2B5EF4-FFF2-40B4-BE49-F238E27FC236}">
                  <a16:creationId xmlns:a16="http://schemas.microsoft.com/office/drawing/2014/main" id="{854D40CD-3675-4BEE-A1F0-3666AD066359}"/>
                </a:ext>
              </a:extLst>
            </p:cNvPr>
            <p:cNvSpPr/>
            <p:nvPr/>
          </p:nvSpPr>
          <p:spPr>
            <a:xfrm>
              <a:off x="3367978" y="1754955"/>
              <a:ext cx="134323" cy="63225"/>
            </a:xfrm>
            <a:custGeom>
              <a:avLst/>
              <a:gdLst/>
              <a:ahLst/>
              <a:cxnLst>
                <a:cxn ang="0">
                  <a:pos x="wd2" y="hd2"/>
                </a:cxn>
                <a:cxn ang="5400000">
                  <a:pos x="wd2" y="hd2"/>
                </a:cxn>
                <a:cxn ang="10800000">
                  <a:pos x="wd2" y="hd2"/>
                </a:cxn>
                <a:cxn ang="16200000">
                  <a:pos x="wd2" y="hd2"/>
                </a:cxn>
              </a:cxnLst>
              <a:rect l="0" t="0" r="r" b="b"/>
              <a:pathLst>
                <a:path w="21486" h="21600" extrusionOk="0">
                  <a:moveTo>
                    <a:pt x="14288" y="2825"/>
                  </a:moveTo>
                  <a:lnTo>
                    <a:pt x="10337" y="0"/>
                  </a:lnTo>
                  <a:lnTo>
                    <a:pt x="6944" y="635"/>
                  </a:lnTo>
                  <a:lnTo>
                    <a:pt x="4261" y="5531"/>
                  </a:lnTo>
                  <a:lnTo>
                    <a:pt x="923" y="10880"/>
                  </a:lnTo>
                  <a:lnTo>
                    <a:pt x="0" y="13544"/>
                  </a:lnTo>
                  <a:lnTo>
                    <a:pt x="505" y="17480"/>
                  </a:lnTo>
                  <a:lnTo>
                    <a:pt x="3926" y="18763"/>
                  </a:lnTo>
                  <a:lnTo>
                    <a:pt x="6234" y="16694"/>
                  </a:lnTo>
                  <a:lnTo>
                    <a:pt x="9366" y="14882"/>
                  </a:lnTo>
                  <a:cubicBezTo>
                    <a:pt x="10482" y="14254"/>
                    <a:pt x="11657" y="14254"/>
                    <a:pt x="12773" y="14882"/>
                  </a:cubicBezTo>
                  <a:cubicBezTo>
                    <a:pt x="14008" y="15576"/>
                    <a:pt x="15124" y="17010"/>
                    <a:pt x="15986" y="19012"/>
                  </a:cubicBezTo>
                  <a:lnTo>
                    <a:pt x="19647" y="21600"/>
                  </a:lnTo>
                  <a:cubicBezTo>
                    <a:pt x="20643" y="20974"/>
                    <a:pt x="21364" y="19135"/>
                    <a:pt x="21472" y="16942"/>
                  </a:cubicBezTo>
                  <a:cubicBezTo>
                    <a:pt x="21600" y="14339"/>
                    <a:pt x="20855" y="11900"/>
                    <a:pt x="19682" y="11085"/>
                  </a:cubicBezTo>
                  <a:lnTo>
                    <a:pt x="16154" y="7063"/>
                  </a:lnTo>
                  <a:lnTo>
                    <a:pt x="14288" y="2825"/>
                  </a:lnTo>
                  <a:close/>
                </a:path>
              </a:pathLst>
            </a:custGeom>
            <a:grpFill/>
            <a:ln w="25400" cap="flat">
              <a:noFill/>
              <a:prstDash val="solid"/>
              <a:miter lim="400000"/>
            </a:ln>
            <a:effectLst/>
          </p:spPr>
          <p:txBody>
            <a:bodyPr anchor="ctr"/>
            <a:lstStyle/>
            <a:p>
              <a:pPr algn="ctr"/>
              <a:endParaRPr/>
            </a:p>
          </p:txBody>
        </p:sp>
        <p:sp>
          <p:nvSpPr>
            <p:cNvPr id="20" name="任意多边形: 形状 19">
              <a:extLst>
                <a:ext uri="{FF2B5EF4-FFF2-40B4-BE49-F238E27FC236}">
                  <a16:creationId xmlns:a16="http://schemas.microsoft.com/office/drawing/2014/main" id="{3CFC59DB-573D-4CEA-BC86-B94ED44BDC8A}"/>
                </a:ext>
              </a:extLst>
            </p:cNvPr>
            <p:cNvSpPr/>
            <p:nvPr/>
          </p:nvSpPr>
          <p:spPr>
            <a:xfrm>
              <a:off x="3798219" y="2232769"/>
              <a:ext cx="191559" cy="152338"/>
            </a:xfrm>
            <a:custGeom>
              <a:avLst/>
              <a:gdLst/>
              <a:ahLst/>
              <a:cxnLst>
                <a:cxn ang="0">
                  <a:pos x="wd2" y="hd2"/>
                </a:cxn>
                <a:cxn ang="5400000">
                  <a:pos x="wd2" y="hd2"/>
                </a:cxn>
                <a:cxn ang="10800000">
                  <a:pos x="wd2" y="hd2"/>
                </a:cxn>
                <a:cxn ang="16200000">
                  <a:pos x="wd2" y="hd2"/>
                </a:cxn>
              </a:cxnLst>
              <a:rect l="0" t="0" r="r" b="b"/>
              <a:pathLst>
                <a:path w="21600" h="21600" extrusionOk="0">
                  <a:moveTo>
                    <a:pt x="13617" y="713"/>
                  </a:moveTo>
                  <a:lnTo>
                    <a:pt x="12158" y="1430"/>
                  </a:lnTo>
                  <a:lnTo>
                    <a:pt x="10460" y="3510"/>
                  </a:lnTo>
                  <a:lnTo>
                    <a:pt x="9735" y="5219"/>
                  </a:lnTo>
                  <a:lnTo>
                    <a:pt x="8711" y="7368"/>
                  </a:lnTo>
                  <a:lnTo>
                    <a:pt x="6506" y="9587"/>
                  </a:lnTo>
                  <a:lnTo>
                    <a:pt x="4116" y="10124"/>
                  </a:lnTo>
                  <a:lnTo>
                    <a:pt x="3238" y="12590"/>
                  </a:lnTo>
                  <a:lnTo>
                    <a:pt x="2264" y="14703"/>
                  </a:lnTo>
                  <a:lnTo>
                    <a:pt x="112" y="15347"/>
                  </a:lnTo>
                  <a:lnTo>
                    <a:pt x="0" y="16883"/>
                  </a:lnTo>
                  <a:lnTo>
                    <a:pt x="2956" y="16668"/>
                  </a:lnTo>
                  <a:lnTo>
                    <a:pt x="4669" y="16668"/>
                  </a:lnTo>
                  <a:lnTo>
                    <a:pt x="6963" y="17384"/>
                  </a:lnTo>
                  <a:lnTo>
                    <a:pt x="8339" y="17778"/>
                  </a:lnTo>
                  <a:lnTo>
                    <a:pt x="7794" y="19707"/>
                  </a:lnTo>
                  <a:lnTo>
                    <a:pt x="8250" y="21600"/>
                  </a:lnTo>
                  <a:lnTo>
                    <a:pt x="9877" y="20459"/>
                  </a:lnTo>
                  <a:lnTo>
                    <a:pt x="9307" y="17997"/>
                  </a:lnTo>
                  <a:lnTo>
                    <a:pt x="11744" y="17389"/>
                  </a:lnTo>
                  <a:lnTo>
                    <a:pt x="13751" y="17389"/>
                  </a:lnTo>
                  <a:lnTo>
                    <a:pt x="15873" y="16529"/>
                  </a:lnTo>
                  <a:lnTo>
                    <a:pt x="18822" y="16207"/>
                  </a:lnTo>
                  <a:lnTo>
                    <a:pt x="20342" y="15240"/>
                  </a:lnTo>
                  <a:lnTo>
                    <a:pt x="21600" y="14632"/>
                  </a:lnTo>
                  <a:lnTo>
                    <a:pt x="18847" y="11235"/>
                  </a:lnTo>
                  <a:lnTo>
                    <a:pt x="17711" y="9945"/>
                  </a:lnTo>
                  <a:lnTo>
                    <a:pt x="15740" y="9095"/>
                  </a:lnTo>
                  <a:lnTo>
                    <a:pt x="13625" y="8379"/>
                  </a:lnTo>
                  <a:lnTo>
                    <a:pt x="12948" y="7206"/>
                  </a:lnTo>
                  <a:cubicBezTo>
                    <a:pt x="12674" y="6625"/>
                    <a:pt x="12582" y="5938"/>
                    <a:pt x="12690" y="5277"/>
                  </a:cubicBezTo>
                  <a:cubicBezTo>
                    <a:pt x="12841" y="4349"/>
                    <a:pt x="13359" y="3580"/>
                    <a:pt x="14066" y="3237"/>
                  </a:cubicBezTo>
                  <a:cubicBezTo>
                    <a:pt x="14497" y="2942"/>
                    <a:pt x="14876" y="2541"/>
                    <a:pt x="15181" y="2059"/>
                  </a:cubicBezTo>
                  <a:cubicBezTo>
                    <a:pt x="15444" y="1642"/>
                    <a:pt x="15646" y="1171"/>
                    <a:pt x="15779" y="667"/>
                  </a:cubicBezTo>
                  <a:lnTo>
                    <a:pt x="15098" y="0"/>
                  </a:lnTo>
                  <a:lnTo>
                    <a:pt x="13617" y="713"/>
                  </a:lnTo>
                  <a:close/>
                </a:path>
              </a:pathLst>
            </a:custGeom>
            <a:grpFill/>
            <a:ln w="25400" cap="flat">
              <a:noFill/>
              <a:prstDash val="solid"/>
              <a:miter lim="400000"/>
            </a:ln>
            <a:effectLst/>
          </p:spPr>
          <p:txBody>
            <a:bodyPr anchor="ctr"/>
            <a:lstStyle/>
            <a:p>
              <a:pPr algn="ctr"/>
              <a:endParaRPr/>
            </a:p>
          </p:txBody>
        </p:sp>
        <p:sp>
          <p:nvSpPr>
            <p:cNvPr id="21" name="任意多边形: 形状 20">
              <a:extLst>
                <a:ext uri="{FF2B5EF4-FFF2-40B4-BE49-F238E27FC236}">
                  <a16:creationId xmlns:a16="http://schemas.microsoft.com/office/drawing/2014/main" id="{F5DC01B9-7A49-4E8C-9D1C-08DE21C6A255}"/>
                </a:ext>
              </a:extLst>
            </p:cNvPr>
            <p:cNvSpPr/>
            <p:nvPr/>
          </p:nvSpPr>
          <p:spPr>
            <a:xfrm>
              <a:off x="3443720" y="2870076"/>
              <a:ext cx="43114" cy="31522"/>
            </a:xfrm>
            <a:custGeom>
              <a:avLst/>
              <a:gdLst/>
              <a:ahLst/>
              <a:cxnLst>
                <a:cxn ang="0">
                  <a:pos x="wd2" y="hd2"/>
                </a:cxn>
                <a:cxn ang="5400000">
                  <a:pos x="wd2" y="hd2"/>
                </a:cxn>
                <a:cxn ang="10800000">
                  <a:pos x="wd2" y="hd2"/>
                </a:cxn>
                <a:cxn ang="16200000">
                  <a:pos x="wd2" y="hd2"/>
                </a:cxn>
              </a:cxnLst>
              <a:rect l="0" t="0" r="r" b="b"/>
              <a:pathLst>
                <a:path w="21600" h="21600" extrusionOk="0">
                  <a:moveTo>
                    <a:pt x="9449" y="0"/>
                  </a:moveTo>
                  <a:lnTo>
                    <a:pt x="4511" y="2596"/>
                  </a:lnTo>
                  <a:lnTo>
                    <a:pt x="0" y="15912"/>
                  </a:lnTo>
                  <a:lnTo>
                    <a:pt x="12679" y="21600"/>
                  </a:lnTo>
                  <a:lnTo>
                    <a:pt x="21600" y="12688"/>
                  </a:lnTo>
                  <a:lnTo>
                    <a:pt x="9449" y="0"/>
                  </a:lnTo>
                  <a:close/>
                </a:path>
              </a:pathLst>
            </a:custGeom>
            <a:grpFill/>
            <a:ln w="25400" cap="flat">
              <a:noFill/>
              <a:prstDash val="solid"/>
              <a:miter lim="400000"/>
            </a:ln>
            <a:effectLst/>
          </p:spPr>
          <p:txBody>
            <a:bodyPr anchor="ctr"/>
            <a:lstStyle/>
            <a:p>
              <a:pPr algn="ctr"/>
              <a:endParaRPr/>
            </a:p>
          </p:txBody>
        </p:sp>
        <p:sp>
          <p:nvSpPr>
            <p:cNvPr id="22" name="任意多边形: 形状 21">
              <a:extLst>
                <a:ext uri="{FF2B5EF4-FFF2-40B4-BE49-F238E27FC236}">
                  <a16:creationId xmlns:a16="http://schemas.microsoft.com/office/drawing/2014/main" id="{B3F7F9D2-619E-4350-932B-C0D9AB60367D}"/>
                </a:ext>
              </a:extLst>
            </p:cNvPr>
            <p:cNvSpPr/>
            <p:nvPr/>
          </p:nvSpPr>
          <p:spPr>
            <a:xfrm>
              <a:off x="2721842" y="3238975"/>
              <a:ext cx="336007" cy="120179"/>
            </a:xfrm>
            <a:custGeom>
              <a:avLst/>
              <a:gdLst/>
              <a:ahLst/>
              <a:cxnLst>
                <a:cxn ang="0">
                  <a:pos x="wd2" y="hd2"/>
                </a:cxn>
                <a:cxn ang="5400000">
                  <a:pos x="wd2" y="hd2"/>
                </a:cxn>
                <a:cxn ang="10800000">
                  <a:pos x="wd2" y="hd2"/>
                </a:cxn>
                <a:cxn ang="16200000">
                  <a:pos x="wd2" y="hd2"/>
                </a:cxn>
              </a:cxnLst>
              <a:rect l="0" t="0" r="r" b="b"/>
              <a:pathLst>
                <a:path w="21600" h="21424" extrusionOk="0">
                  <a:moveTo>
                    <a:pt x="6693" y="0"/>
                  </a:moveTo>
                  <a:lnTo>
                    <a:pt x="3994" y="298"/>
                  </a:lnTo>
                  <a:lnTo>
                    <a:pt x="1905" y="1849"/>
                  </a:lnTo>
                  <a:lnTo>
                    <a:pt x="0" y="4685"/>
                  </a:lnTo>
                  <a:lnTo>
                    <a:pt x="3" y="8050"/>
                  </a:lnTo>
                  <a:lnTo>
                    <a:pt x="2136" y="6609"/>
                  </a:lnTo>
                  <a:lnTo>
                    <a:pt x="5761" y="4730"/>
                  </a:lnTo>
                  <a:lnTo>
                    <a:pt x="7958" y="6075"/>
                  </a:lnTo>
                  <a:lnTo>
                    <a:pt x="10066" y="8095"/>
                  </a:lnTo>
                  <a:lnTo>
                    <a:pt x="12698" y="10886"/>
                  </a:lnTo>
                  <a:lnTo>
                    <a:pt x="13431" y="13491"/>
                  </a:lnTo>
                  <a:lnTo>
                    <a:pt x="13576" y="16728"/>
                  </a:lnTo>
                  <a:lnTo>
                    <a:pt x="13202" y="18838"/>
                  </a:lnTo>
                  <a:lnTo>
                    <a:pt x="14379" y="19732"/>
                  </a:lnTo>
                  <a:lnTo>
                    <a:pt x="15587" y="19372"/>
                  </a:lnTo>
                  <a:lnTo>
                    <a:pt x="17041" y="19372"/>
                  </a:lnTo>
                  <a:lnTo>
                    <a:pt x="17973" y="20722"/>
                  </a:lnTo>
                  <a:cubicBezTo>
                    <a:pt x="18362" y="21404"/>
                    <a:pt x="18837" y="21600"/>
                    <a:pt x="19281" y="21263"/>
                  </a:cubicBezTo>
                  <a:cubicBezTo>
                    <a:pt x="19538" y="21068"/>
                    <a:pt x="19773" y="20698"/>
                    <a:pt x="19965" y="20188"/>
                  </a:cubicBezTo>
                  <a:lnTo>
                    <a:pt x="20995" y="19018"/>
                  </a:lnTo>
                  <a:lnTo>
                    <a:pt x="21584" y="18883"/>
                  </a:lnTo>
                  <a:lnTo>
                    <a:pt x="21600" y="16502"/>
                  </a:lnTo>
                  <a:lnTo>
                    <a:pt x="20145" y="14116"/>
                  </a:lnTo>
                  <a:cubicBezTo>
                    <a:pt x="19497" y="13439"/>
                    <a:pt x="18849" y="12764"/>
                    <a:pt x="18200" y="12091"/>
                  </a:cubicBezTo>
                  <a:cubicBezTo>
                    <a:pt x="17606" y="11474"/>
                    <a:pt x="17013" y="10859"/>
                    <a:pt x="16418" y="10245"/>
                  </a:cubicBezTo>
                  <a:lnTo>
                    <a:pt x="14034" y="5974"/>
                  </a:lnTo>
                  <a:lnTo>
                    <a:pt x="11880" y="2378"/>
                  </a:lnTo>
                  <a:lnTo>
                    <a:pt x="9839" y="1348"/>
                  </a:lnTo>
                  <a:lnTo>
                    <a:pt x="8476" y="678"/>
                  </a:lnTo>
                  <a:lnTo>
                    <a:pt x="6693" y="0"/>
                  </a:lnTo>
                  <a:close/>
                </a:path>
              </a:pathLst>
            </a:custGeom>
            <a:grpFill/>
            <a:ln w="25400" cap="flat">
              <a:noFill/>
              <a:prstDash val="solid"/>
              <a:miter lim="400000"/>
            </a:ln>
            <a:effectLst/>
          </p:spPr>
          <p:txBody>
            <a:bodyPr anchor="ctr"/>
            <a:lstStyle/>
            <a:p>
              <a:pPr algn="ctr"/>
              <a:endParaRPr/>
            </a:p>
          </p:txBody>
        </p:sp>
        <p:sp>
          <p:nvSpPr>
            <p:cNvPr id="23" name="任意多边形: 形状 22">
              <a:extLst>
                <a:ext uri="{FF2B5EF4-FFF2-40B4-BE49-F238E27FC236}">
                  <a16:creationId xmlns:a16="http://schemas.microsoft.com/office/drawing/2014/main" id="{B6460844-B0F2-4AC0-920F-BC1869AC8E87}"/>
                </a:ext>
              </a:extLst>
            </p:cNvPr>
            <p:cNvSpPr/>
            <p:nvPr/>
          </p:nvSpPr>
          <p:spPr>
            <a:xfrm>
              <a:off x="3014633" y="3360630"/>
              <a:ext cx="222454" cy="69578"/>
            </a:xfrm>
            <a:custGeom>
              <a:avLst/>
              <a:gdLst/>
              <a:ahLst/>
              <a:cxnLst>
                <a:cxn ang="0">
                  <a:pos x="wd2" y="hd2"/>
                </a:cxn>
                <a:cxn ang="5400000">
                  <a:pos x="wd2" y="hd2"/>
                </a:cxn>
                <a:cxn ang="10800000">
                  <a:pos x="wd2" y="hd2"/>
                </a:cxn>
                <a:cxn ang="16200000">
                  <a:pos x="wd2" y="hd2"/>
                </a:cxn>
              </a:cxnLst>
              <a:rect l="0" t="0" r="r" b="b"/>
              <a:pathLst>
                <a:path w="21600" h="21321" extrusionOk="0">
                  <a:moveTo>
                    <a:pt x="8080" y="2346"/>
                  </a:moveTo>
                  <a:lnTo>
                    <a:pt x="7608" y="5248"/>
                  </a:lnTo>
                  <a:lnTo>
                    <a:pt x="9192" y="9941"/>
                  </a:lnTo>
                  <a:lnTo>
                    <a:pt x="8133" y="13268"/>
                  </a:lnTo>
                  <a:lnTo>
                    <a:pt x="6167" y="13491"/>
                  </a:lnTo>
                  <a:cubicBezTo>
                    <a:pt x="5337" y="12924"/>
                    <a:pt x="4494" y="12536"/>
                    <a:pt x="3646" y="12331"/>
                  </a:cubicBezTo>
                  <a:cubicBezTo>
                    <a:pt x="2705" y="12103"/>
                    <a:pt x="1759" y="12099"/>
                    <a:pt x="817" y="12321"/>
                  </a:cubicBezTo>
                  <a:lnTo>
                    <a:pt x="0" y="15310"/>
                  </a:lnTo>
                  <a:lnTo>
                    <a:pt x="1925" y="18019"/>
                  </a:lnTo>
                  <a:lnTo>
                    <a:pt x="4070" y="18251"/>
                  </a:lnTo>
                  <a:lnTo>
                    <a:pt x="5845" y="19877"/>
                  </a:lnTo>
                  <a:lnTo>
                    <a:pt x="7598" y="18329"/>
                  </a:lnTo>
                  <a:lnTo>
                    <a:pt x="9746" y="17400"/>
                  </a:lnTo>
                  <a:cubicBezTo>
                    <a:pt x="10130" y="18713"/>
                    <a:pt x="10602" y="19744"/>
                    <a:pt x="11128" y="20417"/>
                  </a:cubicBezTo>
                  <a:cubicBezTo>
                    <a:pt x="11927" y="21440"/>
                    <a:pt x="12812" y="21600"/>
                    <a:pt x="13644" y="20872"/>
                  </a:cubicBezTo>
                  <a:cubicBezTo>
                    <a:pt x="14104" y="19420"/>
                    <a:pt x="14627" y="18174"/>
                    <a:pt x="15196" y="17168"/>
                  </a:cubicBezTo>
                  <a:cubicBezTo>
                    <a:pt x="15866" y="15984"/>
                    <a:pt x="16591" y="15148"/>
                    <a:pt x="17341" y="14614"/>
                  </a:cubicBezTo>
                  <a:cubicBezTo>
                    <a:pt x="18005" y="14141"/>
                    <a:pt x="18684" y="13907"/>
                    <a:pt x="19365" y="13918"/>
                  </a:cubicBezTo>
                  <a:lnTo>
                    <a:pt x="20717" y="13841"/>
                  </a:lnTo>
                  <a:lnTo>
                    <a:pt x="21600" y="12215"/>
                  </a:lnTo>
                  <a:lnTo>
                    <a:pt x="21378" y="8984"/>
                  </a:lnTo>
                  <a:lnTo>
                    <a:pt x="19406" y="7282"/>
                  </a:lnTo>
                  <a:lnTo>
                    <a:pt x="18248" y="4350"/>
                  </a:lnTo>
                  <a:lnTo>
                    <a:pt x="15434" y="1333"/>
                  </a:lnTo>
                  <a:lnTo>
                    <a:pt x="12671" y="459"/>
                  </a:lnTo>
                  <a:lnTo>
                    <a:pt x="10801" y="0"/>
                  </a:lnTo>
                  <a:lnTo>
                    <a:pt x="9496" y="697"/>
                  </a:lnTo>
                  <a:lnTo>
                    <a:pt x="8080" y="2346"/>
                  </a:lnTo>
                  <a:close/>
                </a:path>
              </a:pathLst>
            </a:custGeom>
            <a:grpFill/>
            <a:ln w="25400" cap="flat">
              <a:noFill/>
              <a:prstDash val="solid"/>
              <a:miter lim="400000"/>
            </a:ln>
            <a:effectLst/>
          </p:spPr>
          <p:txBody>
            <a:bodyPr anchor="ctr"/>
            <a:lstStyle/>
            <a:p>
              <a:pPr algn="ctr"/>
              <a:endParaRPr/>
            </a:p>
          </p:txBody>
        </p:sp>
        <p:sp>
          <p:nvSpPr>
            <p:cNvPr id="24" name="任意多边形: 形状 23">
              <a:extLst>
                <a:ext uri="{FF2B5EF4-FFF2-40B4-BE49-F238E27FC236}">
                  <a16:creationId xmlns:a16="http://schemas.microsoft.com/office/drawing/2014/main" id="{BC7A3AF3-8962-416C-977A-3AA620575690}"/>
                </a:ext>
              </a:extLst>
            </p:cNvPr>
            <p:cNvSpPr/>
            <p:nvPr/>
          </p:nvSpPr>
          <p:spPr>
            <a:xfrm>
              <a:off x="2895033" y="3401778"/>
              <a:ext cx="72795" cy="30633"/>
            </a:xfrm>
            <a:custGeom>
              <a:avLst/>
              <a:gdLst/>
              <a:ahLst/>
              <a:cxnLst>
                <a:cxn ang="0">
                  <a:pos x="wd2" y="hd2"/>
                </a:cxn>
                <a:cxn ang="5400000">
                  <a:pos x="wd2" y="hd2"/>
                </a:cxn>
                <a:cxn ang="10800000">
                  <a:pos x="wd2" y="hd2"/>
                </a:cxn>
                <a:cxn ang="16200000">
                  <a:pos x="wd2" y="hd2"/>
                </a:cxn>
              </a:cxnLst>
              <a:rect l="0" t="0" r="r" b="b"/>
              <a:pathLst>
                <a:path w="21600" h="21600" extrusionOk="0">
                  <a:moveTo>
                    <a:pt x="9960" y="778"/>
                  </a:moveTo>
                  <a:lnTo>
                    <a:pt x="5952" y="0"/>
                  </a:lnTo>
                  <a:lnTo>
                    <a:pt x="0" y="4529"/>
                  </a:lnTo>
                  <a:lnTo>
                    <a:pt x="4023" y="14144"/>
                  </a:lnTo>
                  <a:lnTo>
                    <a:pt x="9924" y="18396"/>
                  </a:lnTo>
                  <a:lnTo>
                    <a:pt x="16715" y="21600"/>
                  </a:lnTo>
                  <a:lnTo>
                    <a:pt x="21157" y="18240"/>
                  </a:lnTo>
                  <a:lnTo>
                    <a:pt x="21600" y="11139"/>
                  </a:lnTo>
                  <a:lnTo>
                    <a:pt x="17129" y="5862"/>
                  </a:lnTo>
                  <a:lnTo>
                    <a:pt x="14054" y="2835"/>
                  </a:lnTo>
                  <a:lnTo>
                    <a:pt x="9960" y="778"/>
                  </a:lnTo>
                  <a:close/>
                </a:path>
              </a:pathLst>
            </a:custGeom>
            <a:grpFill/>
            <a:ln w="25400" cap="flat">
              <a:noFill/>
              <a:prstDash val="solid"/>
              <a:miter lim="400000"/>
            </a:ln>
            <a:effectLst/>
          </p:spPr>
          <p:txBody>
            <a:bodyPr anchor="ctr"/>
            <a:lstStyle/>
            <a:p>
              <a:pPr algn="ctr"/>
              <a:endParaRPr/>
            </a:p>
          </p:txBody>
        </p:sp>
        <p:sp>
          <p:nvSpPr>
            <p:cNvPr id="25" name="任意多边形: 形状 24">
              <a:extLst>
                <a:ext uri="{FF2B5EF4-FFF2-40B4-BE49-F238E27FC236}">
                  <a16:creationId xmlns:a16="http://schemas.microsoft.com/office/drawing/2014/main" id="{E96A9463-3B07-4680-81D7-44362ECDF172}"/>
                </a:ext>
              </a:extLst>
            </p:cNvPr>
            <p:cNvSpPr/>
            <p:nvPr/>
          </p:nvSpPr>
          <p:spPr>
            <a:xfrm>
              <a:off x="3271035" y="3400703"/>
              <a:ext cx="56091" cy="29497"/>
            </a:xfrm>
            <a:custGeom>
              <a:avLst/>
              <a:gdLst/>
              <a:ahLst/>
              <a:cxnLst>
                <a:cxn ang="0">
                  <a:pos x="wd2" y="hd2"/>
                </a:cxn>
                <a:cxn ang="5400000">
                  <a:pos x="wd2" y="hd2"/>
                </a:cxn>
                <a:cxn ang="10800000">
                  <a:pos x="wd2" y="hd2"/>
                </a:cxn>
                <a:cxn ang="16200000">
                  <a:pos x="wd2" y="hd2"/>
                </a:cxn>
              </a:cxnLst>
              <a:rect l="0" t="0" r="r" b="b"/>
              <a:pathLst>
                <a:path w="21600" h="21600" extrusionOk="0">
                  <a:moveTo>
                    <a:pt x="12717" y="0"/>
                  </a:moveTo>
                  <a:lnTo>
                    <a:pt x="6904" y="785"/>
                  </a:lnTo>
                  <a:lnTo>
                    <a:pt x="2619" y="2158"/>
                  </a:lnTo>
                  <a:lnTo>
                    <a:pt x="0" y="9325"/>
                  </a:lnTo>
                  <a:lnTo>
                    <a:pt x="1145" y="14597"/>
                  </a:lnTo>
                  <a:cubicBezTo>
                    <a:pt x="2957" y="16107"/>
                    <a:pt x="4818" y="17397"/>
                    <a:pt x="6717" y="18458"/>
                  </a:cubicBezTo>
                  <a:cubicBezTo>
                    <a:pt x="9466" y="19994"/>
                    <a:pt x="12285" y="21046"/>
                    <a:pt x="15138" y="21600"/>
                  </a:cubicBezTo>
                  <a:lnTo>
                    <a:pt x="21600" y="11985"/>
                  </a:lnTo>
                  <a:lnTo>
                    <a:pt x="18686" y="4286"/>
                  </a:lnTo>
                  <a:lnTo>
                    <a:pt x="12717" y="0"/>
                  </a:lnTo>
                  <a:close/>
                </a:path>
              </a:pathLst>
            </a:custGeom>
            <a:grpFill/>
            <a:ln w="25400" cap="flat">
              <a:noFill/>
              <a:prstDash val="solid"/>
              <a:miter lim="400000"/>
            </a:ln>
            <a:effectLst/>
          </p:spPr>
          <p:txBody>
            <a:bodyPr anchor="ctr"/>
            <a:lstStyle/>
            <a:p>
              <a:pPr algn="ctr"/>
              <a:endParaRPr/>
            </a:p>
          </p:txBody>
        </p:sp>
        <p:sp>
          <p:nvSpPr>
            <p:cNvPr id="26" name="任意多边形: 形状 25">
              <a:extLst>
                <a:ext uri="{FF2B5EF4-FFF2-40B4-BE49-F238E27FC236}">
                  <a16:creationId xmlns:a16="http://schemas.microsoft.com/office/drawing/2014/main" id="{17547A2D-FD7A-4DEC-8A4F-ABEF62FE6140}"/>
                </a:ext>
              </a:extLst>
            </p:cNvPr>
            <p:cNvSpPr/>
            <p:nvPr/>
          </p:nvSpPr>
          <p:spPr>
            <a:xfrm>
              <a:off x="3099915" y="3243765"/>
              <a:ext cx="48677" cy="29627"/>
            </a:xfrm>
            <a:custGeom>
              <a:avLst/>
              <a:gdLst/>
              <a:ahLst/>
              <a:cxnLst>
                <a:cxn ang="0">
                  <a:pos x="wd2" y="hd2"/>
                </a:cxn>
                <a:cxn ang="5400000">
                  <a:pos x="wd2" y="hd2"/>
                </a:cxn>
                <a:cxn ang="10800000">
                  <a:pos x="wd2" y="hd2"/>
                </a:cxn>
                <a:cxn ang="16200000">
                  <a:pos x="wd2" y="hd2"/>
                </a:cxn>
              </a:cxnLst>
              <a:rect l="0" t="0" r="r" b="b"/>
              <a:pathLst>
                <a:path w="21600" h="21600" extrusionOk="0">
                  <a:moveTo>
                    <a:pt x="10591" y="2096"/>
                  </a:moveTo>
                  <a:lnTo>
                    <a:pt x="5726" y="2074"/>
                  </a:lnTo>
                  <a:lnTo>
                    <a:pt x="0" y="12257"/>
                  </a:lnTo>
                  <a:lnTo>
                    <a:pt x="3941" y="21600"/>
                  </a:lnTo>
                  <a:lnTo>
                    <a:pt x="9231" y="16101"/>
                  </a:lnTo>
                  <a:lnTo>
                    <a:pt x="15549" y="13362"/>
                  </a:lnTo>
                  <a:lnTo>
                    <a:pt x="21600" y="7815"/>
                  </a:lnTo>
                  <a:lnTo>
                    <a:pt x="20020" y="727"/>
                  </a:lnTo>
                  <a:lnTo>
                    <a:pt x="15874" y="0"/>
                  </a:lnTo>
                  <a:lnTo>
                    <a:pt x="10591" y="2096"/>
                  </a:lnTo>
                  <a:close/>
                </a:path>
              </a:pathLst>
            </a:custGeom>
            <a:grpFill/>
            <a:ln w="25400" cap="flat">
              <a:noFill/>
              <a:prstDash val="solid"/>
              <a:miter lim="400000"/>
            </a:ln>
            <a:effectLst/>
          </p:spPr>
          <p:txBody>
            <a:bodyPr anchor="ctr"/>
            <a:lstStyle/>
            <a:p>
              <a:pPr algn="ctr"/>
              <a:endParaRPr/>
            </a:p>
          </p:txBody>
        </p:sp>
        <p:sp>
          <p:nvSpPr>
            <p:cNvPr id="27" name="任意多边形: 形状 26">
              <a:extLst>
                <a:ext uri="{FF2B5EF4-FFF2-40B4-BE49-F238E27FC236}">
                  <a16:creationId xmlns:a16="http://schemas.microsoft.com/office/drawing/2014/main" id="{F3CC2454-25C0-4E14-9B97-E9C01132F2FC}"/>
                </a:ext>
              </a:extLst>
            </p:cNvPr>
            <p:cNvSpPr/>
            <p:nvPr/>
          </p:nvSpPr>
          <p:spPr>
            <a:xfrm>
              <a:off x="3040202" y="3273501"/>
              <a:ext cx="39982" cy="19197"/>
            </a:xfrm>
            <a:custGeom>
              <a:avLst/>
              <a:gdLst/>
              <a:ahLst/>
              <a:cxnLst>
                <a:cxn ang="0">
                  <a:pos x="wd2" y="hd2"/>
                </a:cxn>
                <a:cxn ang="5400000">
                  <a:pos x="wd2" y="hd2"/>
                </a:cxn>
                <a:cxn ang="10800000">
                  <a:pos x="wd2" y="hd2"/>
                </a:cxn>
                <a:cxn ang="16200000">
                  <a:pos x="wd2" y="hd2"/>
                </a:cxn>
              </a:cxnLst>
              <a:rect l="0" t="0" r="r" b="b"/>
              <a:pathLst>
                <a:path w="21600" h="21600" extrusionOk="0">
                  <a:moveTo>
                    <a:pt x="13268" y="0"/>
                  </a:moveTo>
                  <a:lnTo>
                    <a:pt x="6280" y="4263"/>
                  </a:lnTo>
                  <a:lnTo>
                    <a:pt x="0" y="14496"/>
                  </a:lnTo>
                  <a:lnTo>
                    <a:pt x="4170" y="17941"/>
                  </a:lnTo>
                  <a:lnTo>
                    <a:pt x="13786" y="19078"/>
                  </a:lnTo>
                  <a:lnTo>
                    <a:pt x="21583" y="21600"/>
                  </a:lnTo>
                  <a:lnTo>
                    <a:pt x="21600" y="6005"/>
                  </a:lnTo>
                  <a:lnTo>
                    <a:pt x="13268" y="0"/>
                  </a:lnTo>
                  <a:close/>
                </a:path>
              </a:pathLst>
            </a:custGeom>
            <a:grpFill/>
            <a:ln w="25400" cap="flat">
              <a:noFill/>
              <a:prstDash val="solid"/>
              <a:miter lim="400000"/>
            </a:ln>
            <a:effectLst/>
          </p:spPr>
          <p:txBody>
            <a:bodyPr anchor="ctr"/>
            <a:lstStyle/>
            <a:p>
              <a:pPr algn="ctr"/>
              <a:endParaRPr/>
            </a:p>
          </p:txBody>
        </p:sp>
        <p:sp>
          <p:nvSpPr>
            <p:cNvPr id="28" name="任意多边形: 形状 27">
              <a:extLst>
                <a:ext uri="{FF2B5EF4-FFF2-40B4-BE49-F238E27FC236}">
                  <a16:creationId xmlns:a16="http://schemas.microsoft.com/office/drawing/2014/main" id="{33BD7CF7-5DB0-4221-9371-FFBEF382228B}"/>
                </a:ext>
              </a:extLst>
            </p:cNvPr>
            <p:cNvSpPr/>
            <p:nvPr/>
          </p:nvSpPr>
          <p:spPr>
            <a:xfrm>
              <a:off x="2935381" y="3141153"/>
              <a:ext cx="28333" cy="52676"/>
            </a:xfrm>
            <a:custGeom>
              <a:avLst/>
              <a:gdLst/>
              <a:ahLst/>
              <a:cxnLst>
                <a:cxn ang="0">
                  <a:pos x="wd2" y="hd2"/>
                </a:cxn>
                <a:cxn ang="5400000">
                  <a:pos x="wd2" y="hd2"/>
                </a:cxn>
                <a:cxn ang="10800000">
                  <a:pos x="wd2" y="hd2"/>
                </a:cxn>
                <a:cxn ang="16200000">
                  <a:pos x="wd2" y="hd2"/>
                </a:cxn>
              </a:cxnLst>
              <a:rect l="0" t="0" r="r" b="b"/>
              <a:pathLst>
                <a:path w="21600" h="21600" extrusionOk="0">
                  <a:moveTo>
                    <a:pt x="6366" y="0"/>
                  </a:moveTo>
                  <a:lnTo>
                    <a:pt x="15" y="2162"/>
                  </a:lnTo>
                  <a:lnTo>
                    <a:pt x="9987" y="9811"/>
                  </a:lnTo>
                  <a:lnTo>
                    <a:pt x="0" y="12733"/>
                  </a:lnTo>
                  <a:lnTo>
                    <a:pt x="12126" y="20150"/>
                  </a:lnTo>
                  <a:lnTo>
                    <a:pt x="19276" y="21600"/>
                  </a:lnTo>
                  <a:lnTo>
                    <a:pt x="21600" y="16009"/>
                  </a:lnTo>
                  <a:lnTo>
                    <a:pt x="14089" y="12940"/>
                  </a:lnTo>
                  <a:lnTo>
                    <a:pt x="16973" y="9329"/>
                  </a:lnTo>
                  <a:lnTo>
                    <a:pt x="16973" y="1873"/>
                  </a:lnTo>
                  <a:lnTo>
                    <a:pt x="6366" y="0"/>
                  </a:lnTo>
                  <a:close/>
                </a:path>
              </a:pathLst>
            </a:custGeom>
            <a:grpFill/>
            <a:ln w="25400" cap="flat">
              <a:noFill/>
              <a:prstDash val="solid"/>
              <a:miter lim="400000"/>
            </a:ln>
            <a:effectLst/>
          </p:spPr>
          <p:txBody>
            <a:bodyPr anchor="ctr"/>
            <a:lstStyle/>
            <a:p>
              <a:pPr algn="ctr"/>
              <a:endParaRPr/>
            </a:p>
          </p:txBody>
        </p:sp>
        <p:sp>
          <p:nvSpPr>
            <p:cNvPr id="29" name="任意多边形: 形状 28">
              <a:extLst>
                <a:ext uri="{FF2B5EF4-FFF2-40B4-BE49-F238E27FC236}">
                  <a16:creationId xmlns:a16="http://schemas.microsoft.com/office/drawing/2014/main" id="{DFC54974-2C9D-4C06-A96B-CC6104B6C0D5}"/>
                </a:ext>
              </a:extLst>
            </p:cNvPr>
            <p:cNvSpPr/>
            <p:nvPr/>
          </p:nvSpPr>
          <p:spPr>
            <a:xfrm>
              <a:off x="2937717" y="3092070"/>
              <a:ext cx="33856" cy="34429"/>
            </a:xfrm>
            <a:custGeom>
              <a:avLst/>
              <a:gdLst/>
              <a:ahLst/>
              <a:cxnLst>
                <a:cxn ang="0">
                  <a:pos x="wd2" y="hd2"/>
                </a:cxn>
                <a:cxn ang="5400000">
                  <a:pos x="wd2" y="hd2"/>
                </a:cxn>
                <a:cxn ang="10800000">
                  <a:pos x="wd2" y="hd2"/>
                </a:cxn>
                <a:cxn ang="16200000">
                  <a:pos x="wd2" y="hd2"/>
                </a:cxn>
              </a:cxnLst>
              <a:rect l="0" t="0" r="r" b="b"/>
              <a:pathLst>
                <a:path w="21600" h="21600" extrusionOk="0">
                  <a:moveTo>
                    <a:pt x="2939" y="3032"/>
                  </a:moveTo>
                  <a:lnTo>
                    <a:pt x="13971" y="0"/>
                  </a:lnTo>
                  <a:lnTo>
                    <a:pt x="21600" y="3050"/>
                  </a:lnTo>
                  <a:lnTo>
                    <a:pt x="17401" y="7736"/>
                  </a:lnTo>
                  <a:lnTo>
                    <a:pt x="11620" y="11520"/>
                  </a:lnTo>
                  <a:lnTo>
                    <a:pt x="10649" y="17817"/>
                  </a:lnTo>
                  <a:lnTo>
                    <a:pt x="3854" y="21600"/>
                  </a:lnTo>
                  <a:lnTo>
                    <a:pt x="0" y="19243"/>
                  </a:lnTo>
                  <a:lnTo>
                    <a:pt x="2779" y="14669"/>
                  </a:lnTo>
                  <a:lnTo>
                    <a:pt x="6081" y="9182"/>
                  </a:lnTo>
                  <a:lnTo>
                    <a:pt x="2939" y="3032"/>
                  </a:lnTo>
                  <a:close/>
                </a:path>
              </a:pathLst>
            </a:custGeom>
            <a:grpFill/>
            <a:ln w="25400" cap="flat">
              <a:noFill/>
              <a:prstDash val="solid"/>
              <a:miter lim="400000"/>
            </a:ln>
            <a:effectLst/>
          </p:spPr>
          <p:txBody>
            <a:bodyPr anchor="ctr"/>
            <a:lstStyle/>
            <a:p>
              <a:pPr algn="ctr"/>
              <a:endParaRPr/>
            </a:p>
          </p:txBody>
        </p:sp>
        <p:sp>
          <p:nvSpPr>
            <p:cNvPr id="30" name="任意多边形: 形状 29">
              <a:extLst>
                <a:ext uri="{FF2B5EF4-FFF2-40B4-BE49-F238E27FC236}">
                  <a16:creationId xmlns:a16="http://schemas.microsoft.com/office/drawing/2014/main" id="{BD6B0F20-E354-4322-97FE-EAFF19037974}"/>
                </a:ext>
              </a:extLst>
            </p:cNvPr>
            <p:cNvSpPr/>
            <p:nvPr/>
          </p:nvSpPr>
          <p:spPr>
            <a:xfrm>
              <a:off x="2983567" y="3093648"/>
              <a:ext cx="25228" cy="36298"/>
            </a:xfrm>
            <a:custGeom>
              <a:avLst/>
              <a:gdLst/>
              <a:ahLst/>
              <a:cxnLst>
                <a:cxn ang="0">
                  <a:pos x="wd2" y="hd2"/>
                </a:cxn>
                <a:cxn ang="5400000">
                  <a:pos x="wd2" y="hd2"/>
                </a:cxn>
                <a:cxn ang="10800000">
                  <a:pos x="wd2" y="hd2"/>
                </a:cxn>
                <a:cxn ang="16200000">
                  <a:pos x="wd2" y="hd2"/>
                </a:cxn>
              </a:cxnLst>
              <a:rect l="0" t="0" r="r" b="b"/>
              <a:pathLst>
                <a:path w="21600" h="21600" extrusionOk="0">
                  <a:moveTo>
                    <a:pt x="9070" y="0"/>
                  </a:moveTo>
                  <a:lnTo>
                    <a:pt x="14242" y="3737"/>
                  </a:lnTo>
                  <a:lnTo>
                    <a:pt x="21600" y="9259"/>
                  </a:lnTo>
                  <a:lnTo>
                    <a:pt x="18987" y="16321"/>
                  </a:lnTo>
                  <a:lnTo>
                    <a:pt x="8344" y="21600"/>
                  </a:lnTo>
                  <a:lnTo>
                    <a:pt x="5690" y="16490"/>
                  </a:lnTo>
                  <a:lnTo>
                    <a:pt x="2563" y="11082"/>
                  </a:lnTo>
                  <a:lnTo>
                    <a:pt x="0" y="2684"/>
                  </a:lnTo>
                  <a:lnTo>
                    <a:pt x="9070" y="0"/>
                  </a:lnTo>
                  <a:close/>
                </a:path>
              </a:pathLst>
            </a:custGeom>
            <a:grpFill/>
            <a:ln w="25400" cap="flat">
              <a:noFill/>
              <a:prstDash val="solid"/>
              <a:miter lim="400000"/>
            </a:ln>
            <a:effectLst/>
          </p:spPr>
          <p:txBody>
            <a:bodyPr anchor="ctr"/>
            <a:lstStyle/>
            <a:p>
              <a:pPr algn="ctr"/>
              <a:endParaRPr/>
            </a:p>
          </p:txBody>
        </p:sp>
        <p:sp>
          <p:nvSpPr>
            <p:cNvPr id="31" name="任意多边形: 形状 30">
              <a:extLst>
                <a:ext uri="{FF2B5EF4-FFF2-40B4-BE49-F238E27FC236}">
                  <a16:creationId xmlns:a16="http://schemas.microsoft.com/office/drawing/2014/main" id="{282D4668-61F8-44D4-A47E-E165D9039725}"/>
                </a:ext>
              </a:extLst>
            </p:cNvPr>
            <p:cNvSpPr/>
            <p:nvPr/>
          </p:nvSpPr>
          <p:spPr>
            <a:xfrm>
              <a:off x="2959952" y="3134535"/>
              <a:ext cx="28911" cy="16360"/>
            </a:xfrm>
            <a:custGeom>
              <a:avLst/>
              <a:gdLst/>
              <a:ahLst/>
              <a:cxnLst>
                <a:cxn ang="0">
                  <a:pos x="wd2" y="hd2"/>
                </a:cxn>
                <a:cxn ang="5400000">
                  <a:pos x="wd2" y="hd2"/>
                </a:cxn>
                <a:cxn ang="10800000">
                  <a:pos x="wd2" y="hd2"/>
                </a:cxn>
                <a:cxn ang="16200000">
                  <a:pos x="wd2" y="hd2"/>
                </a:cxn>
              </a:cxnLst>
              <a:rect l="0" t="0" r="r" b="b"/>
              <a:pathLst>
                <a:path w="21600" h="21600" extrusionOk="0">
                  <a:moveTo>
                    <a:pt x="6041" y="0"/>
                  </a:moveTo>
                  <a:lnTo>
                    <a:pt x="13043" y="2762"/>
                  </a:lnTo>
                  <a:lnTo>
                    <a:pt x="21600" y="12283"/>
                  </a:lnTo>
                  <a:lnTo>
                    <a:pt x="16470" y="21600"/>
                  </a:lnTo>
                  <a:lnTo>
                    <a:pt x="5285" y="18232"/>
                  </a:lnTo>
                  <a:lnTo>
                    <a:pt x="0" y="10410"/>
                  </a:lnTo>
                  <a:lnTo>
                    <a:pt x="6041" y="0"/>
                  </a:lnTo>
                  <a:close/>
                </a:path>
              </a:pathLst>
            </a:custGeom>
            <a:grpFill/>
            <a:ln w="25400" cap="flat">
              <a:noFill/>
              <a:prstDash val="solid"/>
              <a:miter lim="400000"/>
            </a:ln>
            <a:effectLst/>
          </p:spPr>
          <p:txBody>
            <a:bodyPr anchor="ctr"/>
            <a:lstStyle/>
            <a:p>
              <a:pPr algn="ctr"/>
              <a:endParaRPr/>
            </a:p>
          </p:txBody>
        </p:sp>
        <p:sp>
          <p:nvSpPr>
            <p:cNvPr id="32" name="任意多边形: 形状 31">
              <a:extLst>
                <a:ext uri="{FF2B5EF4-FFF2-40B4-BE49-F238E27FC236}">
                  <a16:creationId xmlns:a16="http://schemas.microsoft.com/office/drawing/2014/main" id="{21613240-5D99-481F-870E-1F87E2CCA507}"/>
                </a:ext>
              </a:extLst>
            </p:cNvPr>
            <p:cNvSpPr/>
            <p:nvPr/>
          </p:nvSpPr>
          <p:spPr>
            <a:xfrm>
              <a:off x="3029817" y="3184357"/>
              <a:ext cx="16360" cy="24826"/>
            </a:xfrm>
            <a:custGeom>
              <a:avLst/>
              <a:gdLst/>
              <a:ahLst/>
              <a:cxnLst>
                <a:cxn ang="0">
                  <a:pos x="wd2" y="hd2"/>
                </a:cxn>
                <a:cxn ang="5400000">
                  <a:pos x="wd2" y="hd2"/>
                </a:cxn>
                <a:cxn ang="10800000">
                  <a:pos x="wd2" y="hd2"/>
                </a:cxn>
                <a:cxn ang="16200000">
                  <a:pos x="wd2" y="hd2"/>
                </a:cxn>
              </a:cxnLst>
              <a:rect l="0" t="0" r="r" b="b"/>
              <a:pathLst>
                <a:path w="21600" h="21600" extrusionOk="0">
                  <a:moveTo>
                    <a:pt x="11704" y="0"/>
                  </a:moveTo>
                  <a:lnTo>
                    <a:pt x="0" y="5659"/>
                  </a:lnTo>
                  <a:lnTo>
                    <a:pt x="2963" y="18412"/>
                  </a:lnTo>
                  <a:lnTo>
                    <a:pt x="21600" y="21600"/>
                  </a:lnTo>
                  <a:lnTo>
                    <a:pt x="21600" y="6494"/>
                  </a:lnTo>
                  <a:lnTo>
                    <a:pt x="11704" y="0"/>
                  </a:lnTo>
                  <a:close/>
                </a:path>
              </a:pathLst>
            </a:custGeom>
            <a:grpFill/>
            <a:ln w="25400" cap="flat">
              <a:noFill/>
              <a:prstDash val="solid"/>
              <a:miter lim="400000"/>
            </a:ln>
            <a:effectLst/>
          </p:spPr>
          <p:txBody>
            <a:bodyPr anchor="ctr"/>
            <a:lstStyle/>
            <a:p>
              <a:pPr algn="ctr"/>
              <a:endParaRPr/>
            </a:p>
          </p:txBody>
        </p:sp>
        <p:sp>
          <p:nvSpPr>
            <p:cNvPr id="33" name="任意多边形: 形状 32">
              <a:extLst>
                <a:ext uri="{FF2B5EF4-FFF2-40B4-BE49-F238E27FC236}">
                  <a16:creationId xmlns:a16="http://schemas.microsoft.com/office/drawing/2014/main" id="{0259EA03-624F-46AD-AFF7-F9E66BE4DB2E}"/>
                </a:ext>
              </a:extLst>
            </p:cNvPr>
            <p:cNvSpPr/>
            <p:nvPr/>
          </p:nvSpPr>
          <p:spPr>
            <a:xfrm>
              <a:off x="3034154" y="3223970"/>
              <a:ext cx="25012" cy="16370"/>
            </a:xfrm>
            <a:custGeom>
              <a:avLst/>
              <a:gdLst/>
              <a:ahLst/>
              <a:cxnLst>
                <a:cxn ang="0">
                  <a:pos x="wd2" y="hd2"/>
                </a:cxn>
                <a:cxn ang="5400000">
                  <a:pos x="wd2" y="hd2"/>
                </a:cxn>
                <a:cxn ang="10800000">
                  <a:pos x="wd2" y="hd2"/>
                </a:cxn>
                <a:cxn ang="16200000">
                  <a:pos x="wd2" y="hd2"/>
                </a:cxn>
              </a:cxnLst>
              <a:rect l="0" t="0" r="r" b="b"/>
              <a:pathLst>
                <a:path w="21600" h="21600" extrusionOk="0">
                  <a:moveTo>
                    <a:pt x="17341" y="1756"/>
                  </a:moveTo>
                  <a:lnTo>
                    <a:pt x="5869" y="0"/>
                  </a:lnTo>
                  <a:lnTo>
                    <a:pt x="0" y="5101"/>
                  </a:lnTo>
                  <a:lnTo>
                    <a:pt x="11023" y="21600"/>
                  </a:lnTo>
                  <a:lnTo>
                    <a:pt x="21600" y="19642"/>
                  </a:lnTo>
                  <a:lnTo>
                    <a:pt x="17341" y="1756"/>
                  </a:lnTo>
                  <a:close/>
                </a:path>
              </a:pathLst>
            </a:custGeom>
            <a:grpFill/>
            <a:ln w="25400" cap="flat">
              <a:noFill/>
              <a:prstDash val="solid"/>
              <a:miter lim="400000"/>
            </a:ln>
            <a:effectLst/>
          </p:spPr>
          <p:txBody>
            <a:bodyPr anchor="ctr"/>
            <a:lstStyle/>
            <a:p>
              <a:pPr algn="ctr"/>
              <a:endParaRPr/>
            </a:p>
          </p:txBody>
        </p:sp>
        <p:sp>
          <p:nvSpPr>
            <p:cNvPr id="34" name="任意多边形: 形状 33">
              <a:extLst>
                <a:ext uri="{FF2B5EF4-FFF2-40B4-BE49-F238E27FC236}">
                  <a16:creationId xmlns:a16="http://schemas.microsoft.com/office/drawing/2014/main" id="{C57E122C-E5C9-4CEE-B013-CED98DF16F6B}"/>
                </a:ext>
              </a:extLst>
            </p:cNvPr>
            <p:cNvSpPr/>
            <p:nvPr/>
          </p:nvSpPr>
          <p:spPr>
            <a:xfrm>
              <a:off x="2785378" y="3359199"/>
              <a:ext cx="31691" cy="21151"/>
            </a:xfrm>
            <a:custGeom>
              <a:avLst/>
              <a:gdLst/>
              <a:ahLst/>
              <a:cxnLst>
                <a:cxn ang="0">
                  <a:pos x="wd2" y="hd2"/>
                </a:cxn>
                <a:cxn ang="5400000">
                  <a:pos x="wd2" y="hd2"/>
                </a:cxn>
                <a:cxn ang="10800000">
                  <a:pos x="wd2" y="hd2"/>
                </a:cxn>
                <a:cxn ang="16200000">
                  <a:pos x="wd2" y="hd2"/>
                </a:cxn>
              </a:cxnLst>
              <a:rect l="0" t="0" r="r" b="b"/>
              <a:pathLst>
                <a:path w="21600" h="21600" extrusionOk="0">
                  <a:moveTo>
                    <a:pt x="3640" y="1640"/>
                  </a:moveTo>
                  <a:lnTo>
                    <a:pt x="0" y="7796"/>
                  </a:lnTo>
                  <a:lnTo>
                    <a:pt x="2602" y="18763"/>
                  </a:lnTo>
                  <a:lnTo>
                    <a:pt x="14365" y="21600"/>
                  </a:lnTo>
                  <a:lnTo>
                    <a:pt x="21600" y="10799"/>
                  </a:lnTo>
                  <a:lnTo>
                    <a:pt x="12284" y="0"/>
                  </a:lnTo>
                  <a:lnTo>
                    <a:pt x="3640" y="1640"/>
                  </a:lnTo>
                  <a:close/>
                </a:path>
              </a:pathLst>
            </a:custGeom>
            <a:grpFill/>
            <a:ln w="25400" cap="flat">
              <a:noFill/>
              <a:prstDash val="solid"/>
              <a:miter lim="400000"/>
            </a:ln>
            <a:effectLst/>
          </p:spPr>
          <p:txBody>
            <a:bodyPr anchor="ctr"/>
            <a:lstStyle/>
            <a:p>
              <a:pPr algn="ctr"/>
              <a:endParaRPr/>
            </a:p>
          </p:txBody>
        </p:sp>
        <p:sp>
          <p:nvSpPr>
            <p:cNvPr id="35" name="任意多边形: 形状 34">
              <a:extLst>
                <a:ext uri="{FF2B5EF4-FFF2-40B4-BE49-F238E27FC236}">
                  <a16:creationId xmlns:a16="http://schemas.microsoft.com/office/drawing/2014/main" id="{71AD8DAC-EE22-49ED-93E4-01253636049A}"/>
                </a:ext>
              </a:extLst>
            </p:cNvPr>
            <p:cNvSpPr/>
            <p:nvPr/>
          </p:nvSpPr>
          <p:spPr>
            <a:xfrm>
              <a:off x="3344267" y="3394292"/>
              <a:ext cx="33620" cy="20352"/>
            </a:xfrm>
            <a:custGeom>
              <a:avLst/>
              <a:gdLst/>
              <a:ahLst/>
              <a:cxnLst>
                <a:cxn ang="0">
                  <a:pos x="wd2" y="hd2"/>
                </a:cxn>
                <a:cxn ang="5400000">
                  <a:pos x="wd2" y="hd2"/>
                </a:cxn>
                <a:cxn ang="10800000">
                  <a:pos x="wd2" y="hd2"/>
                </a:cxn>
                <a:cxn ang="16200000">
                  <a:pos x="wd2" y="hd2"/>
                </a:cxn>
              </a:cxnLst>
              <a:rect l="0" t="0" r="r" b="b"/>
              <a:pathLst>
                <a:path w="21600" h="21600" extrusionOk="0">
                  <a:moveTo>
                    <a:pt x="13908" y="0"/>
                  </a:moveTo>
                  <a:lnTo>
                    <a:pt x="4923" y="5629"/>
                  </a:lnTo>
                  <a:lnTo>
                    <a:pt x="0" y="15233"/>
                  </a:lnTo>
                  <a:lnTo>
                    <a:pt x="11838" y="21600"/>
                  </a:lnTo>
                  <a:lnTo>
                    <a:pt x="21600" y="13561"/>
                  </a:lnTo>
                  <a:lnTo>
                    <a:pt x="13908" y="0"/>
                  </a:lnTo>
                  <a:close/>
                </a:path>
              </a:pathLst>
            </a:custGeom>
            <a:grpFill/>
            <a:ln w="25400" cap="flat">
              <a:noFill/>
              <a:prstDash val="solid"/>
              <a:miter lim="400000"/>
            </a:ln>
            <a:effectLst/>
          </p:spPr>
          <p:txBody>
            <a:bodyPr anchor="ctr"/>
            <a:lstStyle/>
            <a:p>
              <a:pPr algn="ctr"/>
              <a:endParaRPr/>
            </a:p>
          </p:txBody>
        </p:sp>
        <p:sp>
          <p:nvSpPr>
            <p:cNvPr id="36" name="任意多边形: 形状 35">
              <a:extLst>
                <a:ext uri="{FF2B5EF4-FFF2-40B4-BE49-F238E27FC236}">
                  <a16:creationId xmlns:a16="http://schemas.microsoft.com/office/drawing/2014/main" id="{9AD88631-475F-4F4F-8B82-F208CD087391}"/>
                </a:ext>
              </a:extLst>
            </p:cNvPr>
            <p:cNvSpPr/>
            <p:nvPr/>
          </p:nvSpPr>
          <p:spPr>
            <a:xfrm>
              <a:off x="3331641" y="3425859"/>
              <a:ext cx="28455" cy="19036"/>
            </a:xfrm>
            <a:custGeom>
              <a:avLst/>
              <a:gdLst/>
              <a:ahLst/>
              <a:cxnLst>
                <a:cxn ang="0">
                  <a:pos x="wd2" y="hd2"/>
                </a:cxn>
                <a:cxn ang="5400000">
                  <a:pos x="wd2" y="hd2"/>
                </a:cxn>
                <a:cxn ang="10800000">
                  <a:pos x="wd2" y="hd2"/>
                </a:cxn>
                <a:cxn ang="16200000">
                  <a:pos x="wd2" y="hd2"/>
                </a:cxn>
              </a:cxnLst>
              <a:rect l="0" t="0" r="r" b="b"/>
              <a:pathLst>
                <a:path w="21600" h="21600" extrusionOk="0">
                  <a:moveTo>
                    <a:pt x="9631" y="0"/>
                  </a:moveTo>
                  <a:lnTo>
                    <a:pt x="0" y="4044"/>
                  </a:lnTo>
                  <a:lnTo>
                    <a:pt x="1813" y="14722"/>
                  </a:lnTo>
                  <a:lnTo>
                    <a:pt x="18125" y="21600"/>
                  </a:lnTo>
                  <a:lnTo>
                    <a:pt x="21600" y="6160"/>
                  </a:lnTo>
                  <a:lnTo>
                    <a:pt x="9631" y="0"/>
                  </a:lnTo>
                  <a:close/>
                </a:path>
              </a:pathLst>
            </a:custGeom>
            <a:grpFill/>
            <a:ln w="25400" cap="flat">
              <a:noFill/>
              <a:prstDash val="solid"/>
              <a:miter lim="400000"/>
            </a:ln>
            <a:effectLst/>
          </p:spPr>
          <p:txBody>
            <a:bodyPr anchor="ctr"/>
            <a:lstStyle/>
            <a:p>
              <a:pPr algn="ctr"/>
              <a:endParaRPr/>
            </a:p>
          </p:txBody>
        </p:sp>
        <p:sp>
          <p:nvSpPr>
            <p:cNvPr id="37" name="任意多边形: 形状 36">
              <a:extLst>
                <a:ext uri="{FF2B5EF4-FFF2-40B4-BE49-F238E27FC236}">
                  <a16:creationId xmlns:a16="http://schemas.microsoft.com/office/drawing/2014/main" id="{9CCBD361-7ED1-4209-A0C1-8A5619957341}"/>
                </a:ext>
              </a:extLst>
            </p:cNvPr>
            <p:cNvSpPr/>
            <p:nvPr/>
          </p:nvSpPr>
          <p:spPr>
            <a:xfrm>
              <a:off x="3393321" y="3447981"/>
              <a:ext cx="35832" cy="22889"/>
            </a:xfrm>
            <a:custGeom>
              <a:avLst/>
              <a:gdLst/>
              <a:ahLst/>
              <a:cxnLst>
                <a:cxn ang="0">
                  <a:pos x="wd2" y="hd2"/>
                </a:cxn>
                <a:cxn ang="5400000">
                  <a:pos x="wd2" y="hd2"/>
                </a:cxn>
                <a:cxn ang="10800000">
                  <a:pos x="wd2" y="hd2"/>
                </a:cxn>
                <a:cxn ang="16200000">
                  <a:pos x="wd2" y="hd2"/>
                </a:cxn>
              </a:cxnLst>
              <a:rect l="0" t="0" r="r" b="b"/>
              <a:pathLst>
                <a:path w="21600" h="21600" extrusionOk="0">
                  <a:moveTo>
                    <a:pt x="11523" y="6376"/>
                  </a:moveTo>
                  <a:lnTo>
                    <a:pt x="4204" y="0"/>
                  </a:lnTo>
                  <a:lnTo>
                    <a:pt x="0" y="8047"/>
                  </a:lnTo>
                  <a:lnTo>
                    <a:pt x="10142" y="21600"/>
                  </a:lnTo>
                  <a:lnTo>
                    <a:pt x="18861" y="21123"/>
                  </a:lnTo>
                  <a:lnTo>
                    <a:pt x="21600" y="13528"/>
                  </a:lnTo>
                  <a:lnTo>
                    <a:pt x="16408" y="10012"/>
                  </a:lnTo>
                  <a:lnTo>
                    <a:pt x="11523" y="6376"/>
                  </a:lnTo>
                  <a:close/>
                </a:path>
              </a:pathLst>
            </a:custGeom>
            <a:grpFill/>
            <a:ln w="25400" cap="flat">
              <a:noFill/>
              <a:prstDash val="solid"/>
              <a:miter lim="400000"/>
            </a:ln>
            <a:effectLst/>
          </p:spPr>
          <p:txBody>
            <a:bodyPr anchor="ctr"/>
            <a:lstStyle/>
            <a:p>
              <a:pPr algn="ctr"/>
              <a:endParaRPr/>
            </a:p>
          </p:txBody>
        </p:sp>
        <p:sp>
          <p:nvSpPr>
            <p:cNvPr id="38" name="任意多边形: 形状 37">
              <a:extLst>
                <a:ext uri="{FF2B5EF4-FFF2-40B4-BE49-F238E27FC236}">
                  <a16:creationId xmlns:a16="http://schemas.microsoft.com/office/drawing/2014/main" id="{E42A4F7D-1E12-4C84-8F55-0E73C035FA00}"/>
                </a:ext>
              </a:extLst>
            </p:cNvPr>
            <p:cNvSpPr/>
            <p:nvPr/>
          </p:nvSpPr>
          <p:spPr>
            <a:xfrm>
              <a:off x="3434240" y="3430336"/>
              <a:ext cx="22284" cy="23522"/>
            </a:xfrm>
            <a:custGeom>
              <a:avLst/>
              <a:gdLst/>
              <a:ahLst/>
              <a:cxnLst>
                <a:cxn ang="0">
                  <a:pos x="wd2" y="hd2"/>
                </a:cxn>
                <a:cxn ang="5400000">
                  <a:pos x="wd2" y="hd2"/>
                </a:cxn>
                <a:cxn ang="10800000">
                  <a:pos x="wd2" y="hd2"/>
                </a:cxn>
                <a:cxn ang="16200000">
                  <a:pos x="wd2" y="hd2"/>
                </a:cxn>
              </a:cxnLst>
              <a:rect l="0" t="0" r="r" b="b"/>
              <a:pathLst>
                <a:path w="21600" h="21600" extrusionOk="0">
                  <a:moveTo>
                    <a:pt x="6626" y="0"/>
                  </a:moveTo>
                  <a:lnTo>
                    <a:pt x="20027" y="3450"/>
                  </a:lnTo>
                  <a:lnTo>
                    <a:pt x="21600" y="15366"/>
                  </a:lnTo>
                  <a:lnTo>
                    <a:pt x="15221" y="21600"/>
                  </a:lnTo>
                  <a:lnTo>
                    <a:pt x="10567" y="15424"/>
                  </a:lnTo>
                  <a:lnTo>
                    <a:pt x="0" y="9425"/>
                  </a:lnTo>
                  <a:lnTo>
                    <a:pt x="6626" y="0"/>
                  </a:lnTo>
                  <a:close/>
                </a:path>
              </a:pathLst>
            </a:custGeom>
            <a:grpFill/>
            <a:ln w="25400" cap="flat">
              <a:noFill/>
              <a:prstDash val="solid"/>
              <a:miter lim="400000"/>
            </a:ln>
            <a:effectLst/>
          </p:spPr>
          <p:txBody>
            <a:bodyPr anchor="ctr"/>
            <a:lstStyle/>
            <a:p>
              <a:pPr algn="ctr"/>
              <a:endParaRPr/>
            </a:p>
          </p:txBody>
        </p:sp>
        <p:sp>
          <p:nvSpPr>
            <p:cNvPr id="39" name="任意多边形: 形状 38">
              <a:extLst>
                <a:ext uri="{FF2B5EF4-FFF2-40B4-BE49-F238E27FC236}">
                  <a16:creationId xmlns:a16="http://schemas.microsoft.com/office/drawing/2014/main" id="{111479DA-398A-4CB8-ABD4-8F2F6C66039B}"/>
                </a:ext>
              </a:extLst>
            </p:cNvPr>
            <p:cNvSpPr/>
            <p:nvPr/>
          </p:nvSpPr>
          <p:spPr>
            <a:xfrm>
              <a:off x="3386807" y="3401248"/>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4009"/>
                  </a:lnTo>
                  <a:lnTo>
                    <a:pt x="4094" y="21600"/>
                  </a:lnTo>
                  <a:lnTo>
                    <a:pt x="19333" y="19457"/>
                  </a:lnTo>
                  <a:lnTo>
                    <a:pt x="21600" y="0"/>
                  </a:lnTo>
                  <a:close/>
                </a:path>
              </a:pathLst>
            </a:custGeom>
            <a:grpFill/>
            <a:ln w="25400" cap="flat">
              <a:noFill/>
              <a:prstDash val="solid"/>
              <a:miter lim="400000"/>
            </a:ln>
            <a:effectLst/>
          </p:spPr>
          <p:txBody>
            <a:bodyPr anchor="ctr"/>
            <a:lstStyle/>
            <a:p>
              <a:pPr algn="ctr"/>
              <a:endParaRPr/>
            </a:p>
          </p:txBody>
        </p:sp>
        <p:sp>
          <p:nvSpPr>
            <p:cNvPr id="40" name="任意多边形: 形状 39">
              <a:extLst>
                <a:ext uri="{FF2B5EF4-FFF2-40B4-BE49-F238E27FC236}">
                  <a16:creationId xmlns:a16="http://schemas.microsoft.com/office/drawing/2014/main" id="{9BD2251B-B24F-4DE3-90A7-1A0A5200BBDE}"/>
                </a:ext>
              </a:extLst>
            </p:cNvPr>
            <p:cNvSpPr/>
            <p:nvPr/>
          </p:nvSpPr>
          <p:spPr>
            <a:xfrm>
              <a:off x="3471329" y="3432447"/>
              <a:ext cx="25215" cy="23805"/>
            </a:xfrm>
            <a:custGeom>
              <a:avLst/>
              <a:gdLst/>
              <a:ahLst/>
              <a:cxnLst>
                <a:cxn ang="0">
                  <a:pos x="wd2" y="hd2"/>
                </a:cxn>
                <a:cxn ang="5400000">
                  <a:pos x="wd2" y="hd2"/>
                </a:cxn>
                <a:cxn ang="10800000">
                  <a:pos x="wd2" y="hd2"/>
                </a:cxn>
                <a:cxn ang="16200000">
                  <a:pos x="wd2" y="hd2"/>
                </a:cxn>
              </a:cxnLst>
              <a:rect l="0" t="0" r="r" b="b"/>
              <a:pathLst>
                <a:path w="21600" h="21600" extrusionOk="0">
                  <a:moveTo>
                    <a:pt x="4658" y="0"/>
                  </a:moveTo>
                  <a:lnTo>
                    <a:pt x="0" y="6332"/>
                  </a:lnTo>
                  <a:lnTo>
                    <a:pt x="2862" y="20225"/>
                  </a:lnTo>
                  <a:lnTo>
                    <a:pt x="16398" y="21600"/>
                  </a:lnTo>
                  <a:lnTo>
                    <a:pt x="21600" y="13406"/>
                  </a:lnTo>
                  <a:lnTo>
                    <a:pt x="12259" y="9052"/>
                  </a:lnTo>
                  <a:lnTo>
                    <a:pt x="4658" y="0"/>
                  </a:lnTo>
                  <a:close/>
                </a:path>
              </a:pathLst>
            </a:custGeom>
            <a:grpFill/>
            <a:ln w="25400" cap="flat">
              <a:noFill/>
              <a:prstDash val="solid"/>
              <a:miter lim="400000"/>
            </a:ln>
            <a:effectLst/>
          </p:spPr>
          <p:txBody>
            <a:bodyPr anchor="ctr"/>
            <a:lstStyle/>
            <a:p>
              <a:pPr algn="ctr"/>
              <a:endParaRPr/>
            </a:p>
          </p:txBody>
        </p:sp>
        <p:sp>
          <p:nvSpPr>
            <p:cNvPr id="41" name="任意多边形: 形状 40">
              <a:extLst>
                <a:ext uri="{FF2B5EF4-FFF2-40B4-BE49-F238E27FC236}">
                  <a16:creationId xmlns:a16="http://schemas.microsoft.com/office/drawing/2014/main" id="{AF52AE8B-39B3-47DC-A26F-EA40FCC2175F}"/>
                </a:ext>
              </a:extLst>
            </p:cNvPr>
            <p:cNvSpPr/>
            <p:nvPr/>
          </p:nvSpPr>
          <p:spPr>
            <a:xfrm>
              <a:off x="3444546" y="3470941"/>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2399" y="0"/>
                  </a:moveTo>
                  <a:lnTo>
                    <a:pt x="0" y="5671"/>
                  </a:lnTo>
                  <a:lnTo>
                    <a:pt x="2675" y="21600"/>
                  </a:lnTo>
                  <a:lnTo>
                    <a:pt x="21600" y="16063"/>
                  </a:lnTo>
                  <a:lnTo>
                    <a:pt x="12399" y="0"/>
                  </a:lnTo>
                  <a:close/>
                </a:path>
              </a:pathLst>
            </a:custGeom>
            <a:grpFill/>
            <a:ln w="25400" cap="flat">
              <a:noFill/>
              <a:prstDash val="solid"/>
              <a:miter lim="400000"/>
            </a:ln>
            <a:effectLst/>
          </p:spPr>
          <p:txBody>
            <a:bodyPr anchor="ctr"/>
            <a:lstStyle/>
            <a:p>
              <a:pPr algn="ctr"/>
              <a:endParaRPr/>
            </a:p>
          </p:txBody>
        </p:sp>
        <p:sp>
          <p:nvSpPr>
            <p:cNvPr id="42" name="任意多边形: 形状 41">
              <a:extLst>
                <a:ext uri="{FF2B5EF4-FFF2-40B4-BE49-F238E27FC236}">
                  <a16:creationId xmlns:a16="http://schemas.microsoft.com/office/drawing/2014/main" id="{4CBB31C1-FF6C-4FA6-B6DC-884C3B2B6430}"/>
                </a:ext>
              </a:extLst>
            </p:cNvPr>
            <p:cNvSpPr/>
            <p:nvPr/>
          </p:nvSpPr>
          <p:spPr>
            <a:xfrm>
              <a:off x="3474836" y="3472701"/>
              <a:ext cx="20827" cy="33622"/>
            </a:xfrm>
            <a:custGeom>
              <a:avLst/>
              <a:gdLst/>
              <a:ahLst/>
              <a:cxnLst>
                <a:cxn ang="0">
                  <a:pos x="wd2" y="hd2"/>
                </a:cxn>
                <a:cxn ang="5400000">
                  <a:pos x="wd2" y="hd2"/>
                </a:cxn>
                <a:cxn ang="10800000">
                  <a:pos x="wd2" y="hd2"/>
                </a:cxn>
                <a:cxn ang="16200000">
                  <a:pos x="wd2" y="hd2"/>
                </a:cxn>
              </a:cxnLst>
              <a:rect l="0" t="0" r="r" b="b"/>
              <a:pathLst>
                <a:path w="21600" h="21600" extrusionOk="0">
                  <a:moveTo>
                    <a:pt x="5991" y="1945"/>
                  </a:moveTo>
                  <a:lnTo>
                    <a:pt x="1244" y="7766"/>
                  </a:lnTo>
                  <a:lnTo>
                    <a:pt x="0" y="16103"/>
                  </a:lnTo>
                  <a:lnTo>
                    <a:pt x="7919" y="21600"/>
                  </a:lnTo>
                  <a:lnTo>
                    <a:pt x="15566" y="13365"/>
                  </a:lnTo>
                  <a:lnTo>
                    <a:pt x="21600" y="6755"/>
                  </a:lnTo>
                  <a:lnTo>
                    <a:pt x="18962" y="0"/>
                  </a:lnTo>
                  <a:lnTo>
                    <a:pt x="5991" y="1945"/>
                  </a:lnTo>
                  <a:close/>
                </a:path>
              </a:pathLst>
            </a:custGeom>
            <a:grpFill/>
            <a:ln w="25400" cap="flat">
              <a:noFill/>
              <a:prstDash val="solid"/>
              <a:miter lim="400000"/>
            </a:ln>
            <a:effectLst/>
          </p:spPr>
          <p:txBody>
            <a:bodyPr anchor="ctr"/>
            <a:lstStyle/>
            <a:p>
              <a:pPr algn="ctr"/>
              <a:endParaRPr/>
            </a:p>
          </p:txBody>
        </p:sp>
        <p:sp>
          <p:nvSpPr>
            <p:cNvPr id="43" name="任意多边形: 形状 42">
              <a:extLst>
                <a:ext uri="{FF2B5EF4-FFF2-40B4-BE49-F238E27FC236}">
                  <a16:creationId xmlns:a16="http://schemas.microsoft.com/office/drawing/2014/main" id="{5638531A-A489-43BE-BA2B-D31EB9D5FD7D}"/>
                </a:ext>
              </a:extLst>
            </p:cNvPr>
            <p:cNvSpPr/>
            <p:nvPr/>
          </p:nvSpPr>
          <p:spPr>
            <a:xfrm>
              <a:off x="3486460" y="3511833"/>
              <a:ext cx="18556" cy="17467"/>
            </a:xfrm>
            <a:custGeom>
              <a:avLst/>
              <a:gdLst/>
              <a:ahLst/>
              <a:cxnLst>
                <a:cxn ang="0">
                  <a:pos x="wd2" y="hd2"/>
                </a:cxn>
                <a:cxn ang="5400000">
                  <a:pos x="wd2" y="hd2"/>
                </a:cxn>
                <a:cxn ang="10800000">
                  <a:pos x="wd2" y="hd2"/>
                </a:cxn>
                <a:cxn ang="16200000">
                  <a:pos x="wd2" y="hd2"/>
                </a:cxn>
              </a:cxnLst>
              <a:rect l="0" t="0" r="r" b="b"/>
              <a:pathLst>
                <a:path w="21600" h="21600" extrusionOk="0">
                  <a:moveTo>
                    <a:pt x="14469" y="0"/>
                  </a:moveTo>
                  <a:lnTo>
                    <a:pt x="4293" y="1913"/>
                  </a:lnTo>
                  <a:lnTo>
                    <a:pt x="0" y="13206"/>
                  </a:lnTo>
                  <a:lnTo>
                    <a:pt x="8574" y="21600"/>
                  </a:lnTo>
                  <a:lnTo>
                    <a:pt x="21600" y="15041"/>
                  </a:lnTo>
                  <a:lnTo>
                    <a:pt x="14469" y="0"/>
                  </a:lnTo>
                  <a:close/>
                </a:path>
              </a:pathLst>
            </a:custGeom>
            <a:grpFill/>
            <a:ln w="25400" cap="flat">
              <a:noFill/>
              <a:prstDash val="solid"/>
              <a:miter lim="400000"/>
            </a:ln>
            <a:effectLst/>
          </p:spPr>
          <p:txBody>
            <a:bodyPr anchor="ctr"/>
            <a:lstStyle/>
            <a:p>
              <a:pPr algn="ctr"/>
              <a:endParaRPr/>
            </a:p>
          </p:txBody>
        </p:sp>
        <p:sp>
          <p:nvSpPr>
            <p:cNvPr id="44" name="任意多边形: 形状 43">
              <a:extLst>
                <a:ext uri="{FF2B5EF4-FFF2-40B4-BE49-F238E27FC236}">
                  <a16:creationId xmlns:a16="http://schemas.microsoft.com/office/drawing/2014/main" id="{7CD3EA70-B230-4F61-8692-9D1FDDB0731A}"/>
                </a:ext>
              </a:extLst>
            </p:cNvPr>
            <p:cNvSpPr/>
            <p:nvPr/>
          </p:nvSpPr>
          <p:spPr>
            <a:xfrm>
              <a:off x="3201743" y="3611230"/>
              <a:ext cx="24821" cy="34310"/>
            </a:xfrm>
            <a:custGeom>
              <a:avLst/>
              <a:gdLst/>
              <a:ahLst/>
              <a:cxnLst>
                <a:cxn ang="0">
                  <a:pos x="wd2" y="hd2"/>
                </a:cxn>
                <a:cxn ang="5400000">
                  <a:pos x="wd2" y="hd2"/>
                </a:cxn>
                <a:cxn ang="10800000">
                  <a:pos x="wd2" y="hd2"/>
                </a:cxn>
                <a:cxn ang="16200000">
                  <a:pos x="wd2" y="hd2"/>
                </a:cxn>
              </a:cxnLst>
              <a:rect l="0" t="0" r="r" b="b"/>
              <a:pathLst>
                <a:path w="21600" h="21600" extrusionOk="0">
                  <a:moveTo>
                    <a:pt x="5948" y="0"/>
                  </a:moveTo>
                  <a:lnTo>
                    <a:pt x="0" y="7133"/>
                  </a:lnTo>
                  <a:lnTo>
                    <a:pt x="2568" y="12598"/>
                  </a:lnTo>
                  <a:lnTo>
                    <a:pt x="10534" y="21600"/>
                  </a:lnTo>
                  <a:lnTo>
                    <a:pt x="21600" y="16991"/>
                  </a:lnTo>
                  <a:lnTo>
                    <a:pt x="13411" y="4789"/>
                  </a:lnTo>
                  <a:lnTo>
                    <a:pt x="5948" y="0"/>
                  </a:lnTo>
                  <a:close/>
                </a:path>
              </a:pathLst>
            </a:custGeom>
            <a:grpFill/>
            <a:ln w="25400" cap="flat">
              <a:noFill/>
              <a:prstDash val="solid"/>
              <a:miter lim="400000"/>
            </a:ln>
            <a:effectLst/>
          </p:spPr>
          <p:txBody>
            <a:bodyPr anchor="ctr"/>
            <a:lstStyle/>
            <a:p>
              <a:pPr algn="ctr"/>
              <a:endParaRPr/>
            </a:p>
          </p:txBody>
        </p:sp>
        <p:sp>
          <p:nvSpPr>
            <p:cNvPr id="45" name="任意多边形: 形状 44">
              <a:extLst>
                <a:ext uri="{FF2B5EF4-FFF2-40B4-BE49-F238E27FC236}">
                  <a16:creationId xmlns:a16="http://schemas.microsoft.com/office/drawing/2014/main" id="{E80CD938-A2CE-44AD-BE27-528A77C83C0C}"/>
                </a:ext>
              </a:extLst>
            </p:cNvPr>
            <p:cNvSpPr/>
            <p:nvPr/>
          </p:nvSpPr>
          <p:spPr>
            <a:xfrm>
              <a:off x="3163762" y="3609243"/>
              <a:ext cx="17550" cy="29518"/>
            </a:xfrm>
            <a:custGeom>
              <a:avLst/>
              <a:gdLst/>
              <a:ahLst/>
              <a:cxnLst>
                <a:cxn ang="0">
                  <a:pos x="wd2" y="hd2"/>
                </a:cxn>
                <a:cxn ang="5400000">
                  <a:pos x="wd2" y="hd2"/>
                </a:cxn>
                <a:cxn ang="10800000">
                  <a:pos x="wd2" y="hd2"/>
                </a:cxn>
                <a:cxn ang="16200000">
                  <a:pos x="wd2" y="hd2"/>
                </a:cxn>
              </a:cxnLst>
              <a:rect l="0" t="0" r="r" b="b"/>
              <a:pathLst>
                <a:path w="21600" h="21600" extrusionOk="0">
                  <a:moveTo>
                    <a:pt x="2385" y="0"/>
                  </a:moveTo>
                  <a:lnTo>
                    <a:pt x="0" y="5129"/>
                  </a:lnTo>
                  <a:lnTo>
                    <a:pt x="434" y="19428"/>
                  </a:lnTo>
                  <a:lnTo>
                    <a:pt x="19135" y="21600"/>
                  </a:lnTo>
                  <a:lnTo>
                    <a:pt x="21600" y="14762"/>
                  </a:lnTo>
                  <a:lnTo>
                    <a:pt x="16043" y="5916"/>
                  </a:lnTo>
                  <a:lnTo>
                    <a:pt x="2385" y="0"/>
                  </a:lnTo>
                  <a:close/>
                </a:path>
              </a:pathLst>
            </a:custGeom>
            <a:grpFill/>
            <a:ln w="25400" cap="flat">
              <a:noFill/>
              <a:prstDash val="solid"/>
              <a:miter lim="400000"/>
            </a:ln>
            <a:effectLst/>
          </p:spPr>
          <p:txBody>
            <a:bodyPr anchor="ctr"/>
            <a:lstStyle/>
            <a:p>
              <a:pPr algn="ctr"/>
              <a:endParaRPr/>
            </a:p>
          </p:txBody>
        </p:sp>
        <p:sp>
          <p:nvSpPr>
            <p:cNvPr id="46" name="任意多边形: 形状 45">
              <a:extLst>
                <a:ext uri="{FF2B5EF4-FFF2-40B4-BE49-F238E27FC236}">
                  <a16:creationId xmlns:a16="http://schemas.microsoft.com/office/drawing/2014/main" id="{E577A025-48CA-42E3-BBD0-1A74498FD41E}"/>
                </a:ext>
              </a:extLst>
            </p:cNvPr>
            <p:cNvSpPr/>
            <p:nvPr/>
          </p:nvSpPr>
          <p:spPr>
            <a:xfrm>
              <a:off x="3499270" y="3543405"/>
              <a:ext cx="20061" cy="18682"/>
            </a:xfrm>
            <a:custGeom>
              <a:avLst/>
              <a:gdLst/>
              <a:ahLst/>
              <a:cxnLst>
                <a:cxn ang="0">
                  <a:pos x="wd2" y="hd2"/>
                </a:cxn>
                <a:cxn ang="5400000">
                  <a:pos x="wd2" y="hd2"/>
                </a:cxn>
                <a:cxn ang="10800000">
                  <a:pos x="wd2" y="hd2"/>
                </a:cxn>
                <a:cxn ang="16200000">
                  <a:pos x="wd2" y="hd2"/>
                </a:cxn>
              </a:cxnLst>
              <a:rect l="0" t="0" r="r" b="b"/>
              <a:pathLst>
                <a:path w="21600" h="21600" extrusionOk="0">
                  <a:moveTo>
                    <a:pt x="8114" y="0"/>
                  </a:moveTo>
                  <a:lnTo>
                    <a:pt x="0" y="7264"/>
                  </a:lnTo>
                  <a:lnTo>
                    <a:pt x="3469" y="21600"/>
                  </a:lnTo>
                  <a:lnTo>
                    <a:pt x="16705" y="21600"/>
                  </a:lnTo>
                  <a:lnTo>
                    <a:pt x="21600" y="6746"/>
                  </a:lnTo>
                  <a:lnTo>
                    <a:pt x="8114" y="0"/>
                  </a:lnTo>
                  <a:close/>
                </a:path>
              </a:pathLst>
            </a:custGeom>
            <a:grpFill/>
            <a:ln w="25400" cap="flat">
              <a:noFill/>
              <a:prstDash val="solid"/>
              <a:miter lim="400000"/>
            </a:ln>
            <a:effectLst/>
          </p:spPr>
          <p:txBody>
            <a:bodyPr anchor="ctr"/>
            <a:lstStyle/>
            <a:p>
              <a:pPr algn="ctr"/>
              <a:endParaRPr/>
            </a:p>
          </p:txBody>
        </p:sp>
        <p:sp>
          <p:nvSpPr>
            <p:cNvPr id="47" name="任意多边形: 形状 46">
              <a:extLst>
                <a:ext uri="{FF2B5EF4-FFF2-40B4-BE49-F238E27FC236}">
                  <a16:creationId xmlns:a16="http://schemas.microsoft.com/office/drawing/2014/main" id="{0F97E591-7FF0-4C24-99E1-9A0B1558290F}"/>
                </a:ext>
              </a:extLst>
            </p:cNvPr>
            <p:cNvSpPr/>
            <p:nvPr/>
          </p:nvSpPr>
          <p:spPr>
            <a:xfrm>
              <a:off x="3477190" y="3573359"/>
              <a:ext cx="16360" cy="23674"/>
            </a:xfrm>
            <a:custGeom>
              <a:avLst/>
              <a:gdLst/>
              <a:ahLst/>
              <a:cxnLst>
                <a:cxn ang="0">
                  <a:pos x="wd2" y="hd2"/>
                </a:cxn>
                <a:cxn ang="5400000">
                  <a:pos x="wd2" y="hd2"/>
                </a:cxn>
                <a:cxn ang="10800000">
                  <a:pos x="wd2" y="hd2"/>
                </a:cxn>
                <a:cxn ang="16200000">
                  <a:pos x="wd2" y="hd2"/>
                </a:cxn>
              </a:cxnLst>
              <a:rect l="0" t="0" r="r" b="b"/>
              <a:pathLst>
                <a:path w="21600" h="21600" extrusionOk="0">
                  <a:moveTo>
                    <a:pt x="7562" y="0"/>
                  </a:moveTo>
                  <a:lnTo>
                    <a:pt x="0" y="10629"/>
                  </a:lnTo>
                  <a:lnTo>
                    <a:pt x="15829" y="21600"/>
                  </a:lnTo>
                  <a:lnTo>
                    <a:pt x="21600" y="10397"/>
                  </a:lnTo>
                  <a:lnTo>
                    <a:pt x="7562" y="0"/>
                  </a:lnTo>
                  <a:close/>
                </a:path>
              </a:pathLst>
            </a:custGeom>
            <a:grpFill/>
            <a:ln w="25400" cap="flat">
              <a:noFill/>
              <a:prstDash val="solid"/>
              <a:miter lim="400000"/>
            </a:ln>
            <a:effectLst/>
          </p:spPr>
          <p:txBody>
            <a:bodyPr anchor="ctr"/>
            <a:lstStyle/>
            <a:p>
              <a:pPr algn="ctr"/>
              <a:endParaRPr/>
            </a:p>
          </p:txBody>
        </p:sp>
        <p:sp>
          <p:nvSpPr>
            <p:cNvPr id="48" name="任意多边形: 形状 47">
              <a:extLst>
                <a:ext uri="{FF2B5EF4-FFF2-40B4-BE49-F238E27FC236}">
                  <a16:creationId xmlns:a16="http://schemas.microsoft.com/office/drawing/2014/main" id="{FFFE4B20-C31B-4909-A72B-6F841477F9CC}"/>
                </a:ext>
              </a:extLst>
            </p:cNvPr>
            <p:cNvSpPr/>
            <p:nvPr/>
          </p:nvSpPr>
          <p:spPr>
            <a:xfrm>
              <a:off x="3463227" y="3603633"/>
              <a:ext cx="16360" cy="18373"/>
            </a:xfrm>
            <a:custGeom>
              <a:avLst/>
              <a:gdLst/>
              <a:ahLst/>
              <a:cxnLst>
                <a:cxn ang="0">
                  <a:pos x="wd2" y="hd2"/>
                </a:cxn>
                <a:cxn ang="5400000">
                  <a:pos x="wd2" y="hd2"/>
                </a:cxn>
                <a:cxn ang="10800000">
                  <a:pos x="wd2" y="hd2"/>
                </a:cxn>
                <a:cxn ang="16200000">
                  <a:pos x="wd2" y="hd2"/>
                </a:cxn>
              </a:cxnLst>
              <a:rect l="0" t="0" r="r" b="b"/>
              <a:pathLst>
                <a:path w="21600" h="21600" extrusionOk="0">
                  <a:moveTo>
                    <a:pt x="5327" y="736"/>
                  </a:moveTo>
                  <a:lnTo>
                    <a:pt x="0" y="9568"/>
                  </a:lnTo>
                  <a:lnTo>
                    <a:pt x="5961" y="21600"/>
                  </a:lnTo>
                  <a:lnTo>
                    <a:pt x="20526" y="21266"/>
                  </a:lnTo>
                  <a:lnTo>
                    <a:pt x="21600" y="0"/>
                  </a:lnTo>
                  <a:lnTo>
                    <a:pt x="5327" y="736"/>
                  </a:lnTo>
                  <a:close/>
                </a:path>
              </a:pathLst>
            </a:custGeom>
            <a:grpFill/>
            <a:ln w="25400" cap="flat">
              <a:noFill/>
              <a:prstDash val="solid"/>
              <a:miter lim="400000"/>
            </a:ln>
            <a:effectLst/>
          </p:spPr>
          <p:txBody>
            <a:bodyPr anchor="ctr"/>
            <a:lstStyle/>
            <a:p>
              <a:pPr algn="ctr"/>
              <a:endParaRPr/>
            </a:p>
          </p:txBody>
        </p:sp>
        <p:sp>
          <p:nvSpPr>
            <p:cNvPr id="49" name="任意多边形: 形状 48">
              <a:extLst>
                <a:ext uri="{FF2B5EF4-FFF2-40B4-BE49-F238E27FC236}">
                  <a16:creationId xmlns:a16="http://schemas.microsoft.com/office/drawing/2014/main" id="{7B42D058-340D-4D59-B979-E85E1DC5B790}"/>
                </a:ext>
              </a:extLst>
            </p:cNvPr>
            <p:cNvSpPr/>
            <p:nvPr/>
          </p:nvSpPr>
          <p:spPr>
            <a:xfrm>
              <a:off x="3443086" y="3638761"/>
              <a:ext cx="16360" cy="22038"/>
            </a:xfrm>
            <a:custGeom>
              <a:avLst/>
              <a:gdLst/>
              <a:ahLst/>
              <a:cxnLst>
                <a:cxn ang="0">
                  <a:pos x="wd2" y="hd2"/>
                </a:cxn>
                <a:cxn ang="5400000">
                  <a:pos x="wd2" y="hd2"/>
                </a:cxn>
                <a:cxn ang="10800000">
                  <a:pos x="wd2" y="hd2"/>
                </a:cxn>
                <a:cxn ang="16200000">
                  <a:pos x="wd2" y="hd2"/>
                </a:cxn>
              </a:cxnLst>
              <a:rect l="0" t="0" r="r" b="b"/>
              <a:pathLst>
                <a:path w="21600" h="21600" extrusionOk="0">
                  <a:moveTo>
                    <a:pt x="11127" y="0"/>
                  </a:moveTo>
                  <a:lnTo>
                    <a:pt x="0" y="9654"/>
                  </a:lnTo>
                  <a:lnTo>
                    <a:pt x="3308" y="20145"/>
                  </a:lnTo>
                  <a:lnTo>
                    <a:pt x="16235" y="21600"/>
                  </a:lnTo>
                  <a:lnTo>
                    <a:pt x="21600" y="6811"/>
                  </a:lnTo>
                  <a:lnTo>
                    <a:pt x="11127" y="0"/>
                  </a:lnTo>
                  <a:close/>
                </a:path>
              </a:pathLst>
            </a:custGeom>
            <a:grpFill/>
            <a:ln w="25400" cap="flat">
              <a:noFill/>
              <a:prstDash val="solid"/>
              <a:miter lim="400000"/>
            </a:ln>
            <a:effectLst/>
          </p:spPr>
          <p:txBody>
            <a:bodyPr anchor="ctr"/>
            <a:lstStyle/>
            <a:p>
              <a:pPr algn="ctr"/>
              <a:endParaRPr/>
            </a:p>
          </p:txBody>
        </p:sp>
        <p:sp>
          <p:nvSpPr>
            <p:cNvPr id="50" name="任意多边形: 形状 49">
              <a:extLst>
                <a:ext uri="{FF2B5EF4-FFF2-40B4-BE49-F238E27FC236}">
                  <a16:creationId xmlns:a16="http://schemas.microsoft.com/office/drawing/2014/main" id="{F03AE4BB-9A99-475F-BF3E-2DCE1176AA36}"/>
                </a:ext>
              </a:extLst>
            </p:cNvPr>
            <p:cNvSpPr/>
            <p:nvPr/>
          </p:nvSpPr>
          <p:spPr>
            <a:xfrm>
              <a:off x="3429659" y="3689387"/>
              <a:ext cx="39165" cy="38527"/>
            </a:xfrm>
            <a:custGeom>
              <a:avLst/>
              <a:gdLst/>
              <a:ahLst/>
              <a:cxnLst>
                <a:cxn ang="0">
                  <a:pos x="wd2" y="hd2"/>
                </a:cxn>
                <a:cxn ang="5400000">
                  <a:pos x="wd2" y="hd2"/>
                </a:cxn>
                <a:cxn ang="10800000">
                  <a:pos x="wd2" y="hd2"/>
                </a:cxn>
                <a:cxn ang="16200000">
                  <a:pos x="wd2" y="hd2"/>
                </a:cxn>
              </a:cxnLst>
              <a:rect l="0" t="0" r="r" b="b"/>
              <a:pathLst>
                <a:path w="21600" h="21600" extrusionOk="0">
                  <a:moveTo>
                    <a:pt x="14904" y="867"/>
                  </a:moveTo>
                  <a:lnTo>
                    <a:pt x="8331" y="0"/>
                  </a:lnTo>
                  <a:lnTo>
                    <a:pt x="2816" y="2733"/>
                  </a:lnTo>
                  <a:lnTo>
                    <a:pt x="6666" y="6397"/>
                  </a:lnTo>
                  <a:lnTo>
                    <a:pt x="2928" y="11440"/>
                  </a:lnTo>
                  <a:lnTo>
                    <a:pt x="0" y="16520"/>
                  </a:lnTo>
                  <a:lnTo>
                    <a:pt x="4665" y="21600"/>
                  </a:lnTo>
                  <a:lnTo>
                    <a:pt x="15744" y="21600"/>
                  </a:lnTo>
                  <a:lnTo>
                    <a:pt x="16989" y="14679"/>
                  </a:lnTo>
                  <a:lnTo>
                    <a:pt x="17830" y="9194"/>
                  </a:lnTo>
                  <a:lnTo>
                    <a:pt x="21600" y="3831"/>
                  </a:lnTo>
                  <a:lnTo>
                    <a:pt x="19513" y="592"/>
                  </a:lnTo>
                  <a:lnTo>
                    <a:pt x="14904" y="867"/>
                  </a:lnTo>
                  <a:close/>
                </a:path>
              </a:pathLst>
            </a:custGeom>
            <a:grpFill/>
            <a:ln w="25400" cap="flat">
              <a:noFill/>
              <a:prstDash val="solid"/>
              <a:miter lim="400000"/>
            </a:ln>
            <a:effectLst/>
          </p:spPr>
          <p:txBody>
            <a:bodyPr anchor="ctr"/>
            <a:lstStyle/>
            <a:p>
              <a:pPr algn="ctr"/>
              <a:endParaRPr/>
            </a:p>
          </p:txBody>
        </p:sp>
        <p:sp>
          <p:nvSpPr>
            <p:cNvPr id="51" name="任意多边形: 形状 50">
              <a:extLst>
                <a:ext uri="{FF2B5EF4-FFF2-40B4-BE49-F238E27FC236}">
                  <a16:creationId xmlns:a16="http://schemas.microsoft.com/office/drawing/2014/main" id="{31F43007-22E5-4D18-A0E7-B1D258A357AF}"/>
                </a:ext>
              </a:extLst>
            </p:cNvPr>
            <p:cNvSpPr/>
            <p:nvPr/>
          </p:nvSpPr>
          <p:spPr>
            <a:xfrm>
              <a:off x="3541688" y="3591732"/>
              <a:ext cx="25710" cy="21915"/>
            </a:xfrm>
            <a:custGeom>
              <a:avLst/>
              <a:gdLst/>
              <a:ahLst/>
              <a:cxnLst>
                <a:cxn ang="0">
                  <a:pos x="wd2" y="hd2"/>
                </a:cxn>
                <a:cxn ang="5400000">
                  <a:pos x="wd2" y="hd2"/>
                </a:cxn>
                <a:cxn ang="10800000">
                  <a:pos x="wd2" y="hd2"/>
                </a:cxn>
                <a:cxn ang="16200000">
                  <a:pos x="wd2" y="hd2"/>
                </a:cxn>
              </a:cxnLst>
              <a:rect l="0" t="0" r="r" b="b"/>
              <a:pathLst>
                <a:path w="21600" h="21600" extrusionOk="0">
                  <a:moveTo>
                    <a:pt x="6204" y="0"/>
                  </a:moveTo>
                  <a:lnTo>
                    <a:pt x="385" y="10265"/>
                  </a:lnTo>
                  <a:lnTo>
                    <a:pt x="0" y="20853"/>
                  </a:lnTo>
                  <a:lnTo>
                    <a:pt x="13483" y="21600"/>
                  </a:lnTo>
                  <a:lnTo>
                    <a:pt x="21600" y="18646"/>
                  </a:lnTo>
                  <a:lnTo>
                    <a:pt x="9663" y="9934"/>
                  </a:lnTo>
                  <a:lnTo>
                    <a:pt x="6204" y="0"/>
                  </a:lnTo>
                  <a:close/>
                </a:path>
              </a:pathLst>
            </a:custGeom>
            <a:grpFill/>
            <a:ln w="25400" cap="flat">
              <a:noFill/>
              <a:prstDash val="solid"/>
              <a:miter lim="400000"/>
            </a:ln>
            <a:effectLst/>
          </p:spPr>
          <p:txBody>
            <a:bodyPr anchor="ctr"/>
            <a:lstStyle/>
            <a:p>
              <a:pPr algn="ctr"/>
              <a:endParaRPr/>
            </a:p>
          </p:txBody>
        </p:sp>
        <p:sp>
          <p:nvSpPr>
            <p:cNvPr id="52" name="任意多边形: 形状 51">
              <a:extLst>
                <a:ext uri="{FF2B5EF4-FFF2-40B4-BE49-F238E27FC236}">
                  <a16:creationId xmlns:a16="http://schemas.microsoft.com/office/drawing/2014/main" id="{996E9FA4-1DAD-4F12-BA55-6F42CD21B69E}"/>
                </a:ext>
              </a:extLst>
            </p:cNvPr>
            <p:cNvSpPr/>
            <p:nvPr/>
          </p:nvSpPr>
          <p:spPr>
            <a:xfrm>
              <a:off x="3470588" y="3663018"/>
              <a:ext cx="21475" cy="16360"/>
            </a:xfrm>
            <a:custGeom>
              <a:avLst/>
              <a:gdLst/>
              <a:ahLst/>
              <a:cxnLst>
                <a:cxn ang="0">
                  <a:pos x="wd2" y="hd2"/>
                </a:cxn>
                <a:cxn ang="5400000">
                  <a:pos x="wd2" y="hd2"/>
                </a:cxn>
                <a:cxn ang="10800000">
                  <a:pos x="wd2" y="hd2"/>
                </a:cxn>
                <a:cxn ang="16200000">
                  <a:pos x="wd2" y="hd2"/>
                </a:cxn>
              </a:cxnLst>
              <a:rect l="0" t="0" r="r" b="b"/>
              <a:pathLst>
                <a:path w="21600" h="21600" extrusionOk="0">
                  <a:moveTo>
                    <a:pt x="17020" y="3205"/>
                  </a:moveTo>
                  <a:lnTo>
                    <a:pt x="7333" y="0"/>
                  </a:lnTo>
                  <a:lnTo>
                    <a:pt x="0" y="8914"/>
                  </a:lnTo>
                  <a:lnTo>
                    <a:pt x="4730" y="21600"/>
                  </a:lnTo>
                  <a:lnTo>
                    <a:pt x="21600" y="21600"/>
                  </a:lnTo>
                  <a:lnTo>
                    <a:pt x="17020" y="3205"/>
                  </a:lnTo>
                  <a:close/>
                </a:path>
              </a:pathLst>
            </a:custGeom>
            <a:grpFill/>
            <a:ln w="25400" cap="flat">
              <a:noFill/>
              <a:prstDash val="solid"/>
              <a:miter lim="400000"/>
            </a:ln>
            <a:effectLst/>
          </p:spPr>
          <p:txBody>
            <a:bodyPr anchor="ctr"/>
            <a:lstStyle/>
            <a:p>
              <a:pPr algn="ctr"/>
              <a:endParaRPr/>
            </a:p>
          </p:txBody>
        </p:sp>
        <p:sp>
          <p:nvSpPr>
            <p:cNvPr id="53" name="任意多边形: 形状 52">
              <a:extLst>
                <a:ext uri="{FF2B5EF4-FFF2-40B4-BE49-F238E27FC236}">
                  <a16:creationId xmlns:a16="http://schemas.microsoft.com/office/drawing/2014/main" id="{4A13EB8C-BAA6-4784-9789-BCEA67DFAA4C}"/>
                </a:ext>
              </a:extLst>
            </p:cNvPr>
            <p:cNvSpPr/>
            <p:nvPr/>
          </p:nvSpPr>
          <p:spPr>
            <a:xfrm>
              <a:off x="1825926" y="2244407"/>
              <a:ext cx="83204" cy="74274"/>
            </a:xfrm>
            <a:custGeom>
              <a:avLst/>
              <a:gdLst/>
              <a:ahLst/>
              <a:cxnLst>
                <a:cxn ang="0">
                  <a:pos x="wd2" y="hd2"/>
                </a:cxn>
                <a:cxn ang="5400000">
                  <a:pos x="wd2" y="hd2"/>
                </a:cxn>
                <a:cxn ang="10800000">
                  <a:pos x="wd2" y="hd2"/>
                </a:cxn>
                <a:cxn ang="16200000">
                  <a:pos x="wd2" y="hd2"/>
                </a:cxn>
              </a:cxnLst>
              <a:rect l="0" t="0" r="r" b="b"/>
              <a:pathLst>
                <a:path w="21600" h="21600" extrusionOk="0">
                  <a:moveTo>
                    <a:pt x="6117" y="146"/>
                  </a:moveTo>
                  <a:lnTo>
                    <a:pt x="3502" y="1771"/>
                  </a:lnTo>
                  <a:lnTo>
                    <a:pt x="0" y="2955"/>
                  </a:lnTo>
                  <a:lnTo>
                    <a:pt x="708" y="6398"/>
                  </a:lnTo>
                  <a:lnTo>
                    <a:pt x="4312" y="9886"/>
                  </a:lnTo>
                  <a:lnTo>
                    <a:pt x="5691" y="13614"/>
                  </a:lnTo>
                  <a:lnTo>
                    <a:pt x="8851" y="16257"/>
                  </a:lnTo>
                  <a:lnTo>
                    <a:pt x="10889" y="16698"/>
                  </a:lnTo>
                  <a:lnTo>
                    <a:pt x="13588" y="19994"/>
                  </a:lnTo>
                  <a:lnTo>
                    <a:pt x="16096" y="21600"/>
                  </a:lnTo>
                  <a:lnTo>
                    <a:pt x="19232" y="21600"/>
                  </a:lnTo>
                  <a:lnTo>
                    <a:pt x="21394" y="20279"/>
                  </a:lnTo>
                  <a:lnTo>
                    <a:pt x="21600" y="17056"/>
                  </a:lnTo>
                  <a:lnTo>
                    <a:pt x="19554" y="13017"/>
                  </a:lnTo>
                  <a:lnTo>
                    <a:pt x="19158" y="10006"/>
                  </a:lnTo>
                  <a:lnTo>
                    <a:pt x="17375" y="5389"/>
                  </a:lnTo>
                  <a:lnTo>
                    <a:pt x="14075" y="5389"/>
                  </a:lnTo>
                  <a:lnTo>
                    <a:pt x="11979" y="3782"/>
                  </a:lnTo>
                  <a:lnTo>
                    <a:pt x="10857" y="1891"/>
                  </a:lnTo>
                  <a:lnTo>
                    <a:pt x="8909" y="0"/>
                  </a:lnTo>
                  <a:lnTo>
                    <a:pt x="6117" y="146"/>
                  </a:lnTo>
                  <a:close/>
                </a:path>
              </a:pathLst>
            </a:custGeom>
            <a:grpFill/>
            <a:ln w="25400" cap="flat">
              <a:noFill/>
              <a:prstDash val="solid"/>
              <a:miter lim="400000"/>
            </a:ln>
            <a:effectLst/>
          </p:spPr>
          <p:txBody>
            <a:bodyPr anchor="ctr"/>
            <a:lstStyle/>
            <a:p>
              <a:pPr algn="ctr"/>
              <a:endParaRPr/>
            </a:p>
          </p:txBody>
        </p:sp>
        <p:sp>
          <p:nvSpPr>
            <p:cNvPr id="54" name="任意多边形: 形状 53">
              <a:extLst>
                <a:ext uri="{FF2B5EF4-FFF2-40B4-BE49-F238E27FC236}">
                  <a16:creationId xmlns:a16="http://schemas.microsoft.com/office/drawing/2014/main" id="{738748D9-52F0-497D-8D66-465E0B6B24C2}"/>
                </a:ext>
              </a:extLst>
            </p:cNvPr>
            <p:cNvSpPr/>
            <p:nvPr/>
          </p:nvSpPr>
          <p:spPr>
            <a:xfrm>
              <a:off x="1823323" y="2056804"/>
              <a:ext cx="44228" cy="48802"/>
            </a:xfrm>
            <a:custGeom>
              <a:avLst/>
              <a:gdLst/>
              <a:ahLst/>
              <a:cxnLst>
                <a:cxn ang="0">
                  <a:pos x="wd2" y="hd2"/>
                </a:cxn>
                <a:cxn ang="5400000">
                  <a:pos x="wd2" y="hd2"/>
                </a:cxn>
                <a:cxn ang="10800000">
                  <a:pos x="wd2" y="hd2"/>
                </a:cxn>
                <a:cxn ang="16200000">
                  <a:pos x="wd2" y="hd2"/>
                </a:cxn>
              </a:cxnLst>
              <a:rect l="0" t="0" r="r" b="b"/>
              <a:pathLst>
                <a:path w="21600" h="21600" extrusionOk="0">
                  <a:moveTo>
                    <a:pt x="16460" y="0"/>
                  </a:moveTo>
                  <a:lnTo>
                    <a:pt x="9924" y="1900"/>
                  </a:lnTo>
                  <a:lnTo>
                    <a:pt x="4018" y="6719"/>
                  </a:lnTo>
                  <a:lnTo>
                    <a:pt x="0" y="11386"/>
                  </a:lnTo>
                  <a:lnTo>
                    <a:pt x="7069" y="14725"/>
                  </a:lnTo>
                  <a:lnTo>
                    <a:pt x="9537" y="18288"/>
                  </a:lnTo>
                  <a:lnTo>
                    <a:pt x="13341" y="21600"/>
                  </a:lnTo>
                  <a:lnTo>
                    <a:pt x="16742" y="19182"/>
                  </a:lnTo>
                  <a:lnTo>
                    <a:pt x="14522" y="13942"/>
                  </a:lnTo>
                  <a:lnTo>
                    <a:pt x="18621" y="10604"/>
                  </a:lnTo>
                  <a:lnTo>
                    <a:pt x="21600" y="4903"/>
                  </a:lnTo>
                  <a:lnTo>
                    <a:pt x="16460" y="0"/>
                  </a:lnTo>
                  <a:close/>
                </a:path>
              </a:pathLst>
            </a:custGeom>
            <a:grpFill/>
            <a:ln w="25400" cap="flat">
              <a:noFill/>
              <a:prstDash val="solid"/>
              <a:miter lim="400000"/>
            </a:ln>
            <a:effectLst/>
          </p:spPr>
          <p:txBody>
            <a:bodyPr anchor="ctr"/>
            <a:lstStyle/>
            <a:p>
              <a:pPr algn="ctr"/>
              <a:endParaRPr/>
            </a:p>
          </p:txBody>
        </p:sp>
        <p:sp>
          <p:nvSpPr>
            <p:cNvPr id="55" name="任意多边形: 形状 54">
              <a:extLst>
                <a:ext uri="{FF2B5EF4-FFF2-40B4-BE49-F238E27FC236}">
                  <a16:creationId xmlns:a16="http://schemas.microsoft.com/office/drawing/2014/main" id="{E4BD3744-9183-440F-8211-7DBD2C051C13}"/>
                </a:ext>
              </a:extLst>
            </p:cNvPr>
            <p:cNvSpPr/>
            <p:nvPr/>
          </p:nvSpPr>
          <p:spPr>
            <a:xfrm>
              <a:off x="1819244" y="2000935"/>
              <a:ext cx="28061" cy="42326"/>
            </a:xfrm>
            <a:custGeom>
              <a:avLst/>
              <a:gdLst/>
              <a:ahLst/>
              <a:cxnLst>
                <a:cxn ang="0">
                  <a:pos x="wd2" y="hd2"/>
                </a:cxn>
                <a:cxn ang="5400000">
                  <a:pos x="wd2" y="hd2"/>
                </a:cxn>
                <a:cxn ang="10800000">
                  <a:pos x="wd2" y="hd2"/>
                </a:cxn>
                <a:cxn ang="16200000">
                  <a:pos x="wd2" y="hd2"/>
                </a:cxn>
              </a:cxnLst>
              <a:rect l="0" t="0" r="r" b="b"/>
              <a:pathLst>
                <a:path w="21600" h="21600" extrusionOk="0">
                  <a:moveTo>
                    <a:pt x="15900" y="0"/>
                  </a:moveTo>
                  <a:lnTo>
                    <a:pt x="5701" y="4155"/>
                  </a:lnTo>
                  <a:lnTo>
                    <a:pt x="0" y="9292"/>
                  </a:lnTo>
                  <a:lnTo>
                    <a:pt x="3627" y="15800"/>
                  </a:lnTo>
                  <a:lnTo>
                    <a:pt x="11688" y="21600"/>
                  </a:lnTo>
                  <a:lnTo>
                    <a:pt x="13818" y="14011"/>
                  </a:lnTo>
                  <a:lnTo>
                    <a:pt x="14405" y="8116"/>
                  </a:lnTo>
                  <a:lnTo>
                    <a:pt x="21600" y="3749"/>
                  </a:lnTo>
                  <a:lnTo>
                    <a:pt x="15900" y="0"/>
                  </a:lnTo>
                  <a:close/>
                </a:path>
              </a:pathLst>
            </a:custGeom>
            <a:grpFill/>
            <a:ln w="25400" cap="flat">
              <a:noFill/>
              <a:prstDash val="solid"/>
              <a:miter lim="400000"/>
            </a:ln>
            <a:effectLst/>
          </p:spPr>
          <p:txBody>
            <a:bodyPr anchor="ctr"/>
            <a:lstStyle/>
            <a:p>
              <a:pPr algn="ctr"/>
              <a:endParaRPr/>
            </a:p>
          </p:txBody>
        </p:sp>
        <p:sp>
          <p:nvSpPr>
            <p:cNvPr id="56" name="任意多边形: 形状 55">
              <a:extLst>
                <a:ext uri="{FF2B5EF4-FFF2-40B4-BE49-F238E27FC236}">
                  <a16:creationId xmlns:a16="http://schemas.microsoft.com/office/drawing/2014/main" id="{7B274B14-980E-47E9-943C-9B8E91709D4D}"/>
                </a:ext>
              </a:extLst>
            </p:cNvPr>
            <p:cNvSpPr/>
            <p:nvPr/>
          </p:nvSpPr>
          <p:spPr>
            <a:xfrm>
              <a:off x="1856174" y="2020886"/>
              <a:ext cx="16360" cy="18569"/>
            </a:xfrm>
            <a:custGeom>
              <a:avLst/>
              <a:gdLst/>
              <a:ahLst/>
              <a:cxnLst>
                <a:cxn ang="0">
                  <a:pos x="wd2" y="hd2"/>
                </a:cxn>
                <a:cxn ang="5400000">
                  <a:pos x="wd2" y="hd2"/>
                </a:cxn>
                <a:cxn ang="10800000">
                  <a:pos x="wd2" y="hd2"/>
                </a:cxn>
                <a:cxn ang="16200000">
                  <a:pos x="wd2" y="hd2"/>
                </a:cxn>
              </a:cxnLst>
              <a:rect l="0" t="0" r="r" b="b"/>
              <a:pathLst>
                <a:path w="21600" h="21600" extrusionOk="0">
                  <a:moveTo>
                    <a:pt x="6929" y="0"/>
                  </a:moveTo>
                  <a:lnTo>
                    <a:pt x="0" y="10904"/>
                  </a:lnTo>
                  <a:lnTo>
                    <a:pt x="10299" y="21600"/>
                  </a:lnTo>
                  <a:lnTo>
                    <a:pt x="21600" y="13776"/>
                  </a:lnTo>
                  <a:lnTo>
                    <a:pt x="19395" y="5259"/>
                  </a:lnTo>
                  <a:lnTo>
                    <a:pt x="6929" y="0"/>
                  </a:lnTo>
                  <a:close/>
                </a:path>
              </a:pathLst>
            </a:custGeom>
            <a:grpFill/>
            <a:ln w="25400" cap="flat">
              <a:noFill/>
              <a:prstDash val="solid"/>
              <a:miter lim="400000"/>
            </a:ln>
            <a:effectLst/>
          </p:spPr>
          <p:txBody>
            <a:bodyPr anchor="ctr"/>
            <a:lstStyle/>
            <a:p>
              <a:pPr algn="ctr"/>
              <a:endParaRPr/>
            </a:p>
          </p:txBody>
        </p:sp>
        <p:sp>
          <p:nvSpPr>
            <p:cNvPr id="57" name="任意多边形: 形状 56">
              <a:extLst>
                <a:ext uri="{FF2B5EF4-FFF2-40B4-BE49-F238E27FC236}">
                  <a16:creationId xmlns:a16="http://schemas.microsoft.com/office/drawing/2014/main" id="{7CF45717-D467-4600-B0C0-990426C30569}"/>
                </a:ext>
              </a:extLst>
            </p:cNvPr>
            <p:cNvSpPr/>
            <p:nvPr/>
          </p:nvSpPr>
          <p:spPr>
            <a:xfrm>
              <a:off x="1296107" y="1987859"/>
              <a:ext cx="91303" cy="42936"/>
            </a:xfrm>
            <a:custGeom>
              <a:avLst/>
              <a:gdLst/>
              <a:ahLst/>
              <a:cxnLst>
                <a:cxn ang="0">
                  <a:pos x="wd2" y="hd2"/>
                </a:cxn>
                <a:cxn ang="5400000">
                  <a:pos x="wd2" y="hd2"/>
                </a:cxn>
                <a:cxn ang="10800000">
                  <a:pos x="wd2" y="hd2"/>
                </a:cxn>
                <a:cxn ang="16200000">
                  <a:pos x="wd2" y="hd2"/>
                </a:cxn>
              </a:cxnLst>
              <a:rect l="0" t="0" r="r" b="b"/>
              <a:pathLst>
                <a:path w="21600" h="21600" extrusionOk="0">
                  <a:moveTo>
                    <a:pt x="17537" y="2831"/>
                  </a:moveTo>
                  <a:lnTo>
                    <a:pt x="10161" y="8024"/>
                  </a:lnTo>
                  <a:lnTo>
                    <a:pt x="5271" y="9340"/>
                  </a:lnTo>
                  <a:lnTo>
                    <a:pt x="1171" y="14295"/>
                  </a:lnTo>
                  <a:lnTo>
                    <a:pt x="0" y="19330"/>
                  </a:lnTo>
                  <a:lnTo>
                    <a:pt x="3343" y="21600"/>
                  </a:lnTo>
                  <a:lnTo>
                    <a:pt x="5268" y="16011"/>
                  </a:lnTo>
                  <a:lnTo>
                    <a:pt x="8817" y="15249"/>
                  </a:lnTo>
                  <a:lnTo>
                    <a:pt x="11276" y="14486"/>
                  </a:lnTo>
                  <a:lnTo>
                    <a:pt x="14517" y="13724"/>
                  </a:lnTo>
                  <a:lnTo>
                    <a:pt x="18179" y="13089"/>
                  </a:lnTo>
                  <a:lnTo>
                    <a:pt x="21239" y="5467"/>
                  </a:lnTo>
                  <a:lnTo>
                    <a:pt x="21600" y="162"/>
                  </a:lnTo>
                  <a:lnTo>
                    <a:pt x="19638" y="0"/>
                  </a:lnTo>
                  <a:lnTo>
                    <a:pt x="17537" y="2831"/>
                  </a:lnTo>
                  <a:close/>
                </a:path>
              </a:pathLst>
            </a:custGeom>
            <a:grpFill/>
            <a:ln w="25400" cap="flat">
              <a:noFill/>
              <a:prstDash val="solid"/>
              <a:miter lim="400000"/>
            </a:ln>
            <a:effectLst/>
          </p:spPr>
          <p:txBody>
            <a:bodyPr anchor="ctr"/>
            <a:lstStyle/>
            <a:p>
              <a:pPr algn="ctr"/>
              <a:endParaRPr/>
            </a:p>
          </p:txBody>
        </p:sp>
        <p:sp>
          <p:nvSpPr>
            <p:cNvPr id="58" name="任意多边形: 形状 57">
              <a:extLst>
                <a:ext uri="{FF2B5EF4-FFF2-40B4-BE49-F238E27FC236}">
                  <a16:creationId xmlns:a16="http://schemas.microsoft.com/office/drawing/2014/main" id="{3D301CC2-9752-4929-A8CE-895C2B17DDC1}"/>
                </a:ext>
              </a:extLst>
            </p:cNvPr>
            <p:cNvSpPr/>
            <p:nvPr/>
          </p:nvSpPr>
          <p:spPr>
            <a:xfrm>
              <a:off x="2777576" y="3634434"/>
              <a:ext cx="1575803" cy="2366543"/>
            </a:xfrm>
            <a:custGeom>
              <a:avLst/>
              <a:gdLst/>
              <a:ahLst/>
              <a:cxnLst>
                <a:cxn ang="0">
                  <a:pos x="wd2" y="hd2"/>
                </a:cxn>
                <a:cxn ang="5400000">
                  <a:pos x="wd2" y="hd2"/>
                </a:cxn>
                <a:cxn ang="10800000">
                  <a:pos x="wd2" y="hd2"/>
                </a:cxn>
                <a:cxn ang="16200000">
                  <a:pos x="wd2" y="hd2"/>
                </a:cxn>
              </a:cxnLst>
              <a:rect l="0" t="0" r="r" b="b"/>
              <a:pathLst>
                <a:path w="21600" h="21600" extrusionOk="0">
                  <a:moveTo>
                    <a:pt x="869" y="1016"/>
                  </a:moveTo>
                  <a:lnTo>
                    <a:pt x="1153" y="974"/>
                  </a:lnTo>
                  <a:lnTo>
                    <a:pt x="1415" y="1017"/>
                  </a:lnTo>
                  <a:lnTo>
                    <a:pt x="1706" y="1125"/>
                  </a:lnTo>
                  <a:lnTo>
                    <a:pt x="1964" y="1238"/>
                  </a:lnTo>
                  <a:lnTo>
                    <a:pt x="2173" y="1355"/>
                  </a:lnTo>
                  <a:lnTo>
                    <a:pt x="2350" y="1292"/>
                  </a:lnTo>
                  <a:lnTo>
                    <a:pt x="2416" y="1193"/>
                  </a:lnTo>
                  <a:lnTo>
                    <a:pt x="2643" y="1138"/>
                  </a:lnTo>
                  <a:lnTo>
                    <a:pt x="2768" y="931"/>
                  </a:lnTo>
                  <a:lnTo>
                    <a:pt x="2901" y="758"/>
                  </a:lnTo>
                  <a:lnTo>
                    <a:pt x="3075" y="584"/>
                  </a:lnTo>
                  <a:lnTo>
                    <a:pt x="3218" y="492"/>
                  </a:lnTo>
                  <a:lnTo>
                    <a:pt x="3455" y="405"/>
                  </a:lnTo>
                  <a:lnTo>
                    <a:pt x="3796" y="405"/>
                  </a:lnTo>
                  <a:lnTo>
                    <a:pt x="4006" y="344"/>
                  </a:lnTo>
                  <a:lnTo>
                    <a:pt x="4155" y="198"/>
                  </a:lnTo>
                  <a:lnTo>
                    <a:pt x="4308" y="101"/>
                  </a:lnTo>
                  <a:lnTo>
                    <a:pt x="4423" y="34"/>
                  </a:lnTo>
                  <a:lnTo>
                    <a:pt x="4684" y="0"/>
                  </a:lnTo>
                  <a:lnTo>
                    <a:pt x="4809" y="15"/>
                  </a:lnTo>
                  <a:lnTo>
                    <a:pt x="4798" y="104"/>
                  </a:lnTo>
                  <a:lnTo>
                    <a:pt x="4656" y="173"/>
                  </a:lnTo>
                  <a:lnTo>
                    <a:pt x="4518" y="268"/>
                  </a:lnTo>
                  <a:lnTo>
                    <a:pt x="4466" y="385"/>
                  </a:lnTo>
                  <a:lnTo>
                    <a:pt x="4483" y="636"/>
                  </a:lnTo>
                  <a:lnTo>
                    <a:pt x="4421" y="753"/>
                  </a:lnTo>
                  <a:lnTo>
                    <a:pt x="4365" y="838"/>
                  </a:lnTo>
                  <a:lnTo>
                    <a:pt x="4375" y="962"/>
                  </a:lnTo>
                  <a:lnTo>
                    <a:pt x="4434" y="1080"/>
                  </a:lnTo>
                  <a:lnTo>
                    <a:pt x="4626" y="1121"/>
                  </a:lnTo>
                  <a:lnTo>
                    <a:pt x="4821" y="1077"/>
                  </a:lnTo>
                  <a:lnTo>
                    <a:pt x="4911" y="964"/>
                  </a:lnTo>
                  <a:lnTo>
                    <a:pt x="5012" y="863"/>
                  </a:lnTo>
                  <a:lnTo>
                    <a:pt x="5002" y="773"/>
                  </a:lnTo>
                  <a:lnTo>
                    <a:pt x="4888" y="691"/>
                  </a:lnTo>
                  <a:lnTo>
                    <a:pt x="4815" y="594"/>
                  </a:lnTo>
                  <a:cubicBezTo>
                    <a:pt x="4810" y="569"/>
                    <a:pt x="4818" y="543"/>
                    <a:pt x="4835" y="521"/>
                  </a:cubicBezTo>
                  <a:cubicBezTo>
                    <a:pt x="4864" y="484"/>
                    <a:pt x="4917" y="459"/>
                    <a:pt x="4977" y="452"/>
                  </a:cubicBezTo>
                  <a:lnTo>
                    <a:pt x="5179" y="365"/>
                  </a:lnTo>
                  <a:lnTo>
                    <a:pt x="5325" y="234"/>
                  </a:lnTo>
                  <a:lnTo>
                    <a:pt x="5398" y="181"/>
                  </a:lnTo>
                  <a:lnTo>
                    <a:pt x="5513" y="174"/>
                  </a:lnTo>
                  <a:lnTo>
                    <a:pt x="5658" y="180"/>
                  </a:lnTo>
                  <a:lnTo>
                    <a:pt x="5845" y="279"/>
                  </a:lnTo>
                  <a:lnTo>
                    <a:pt x="6023" y="369"/>
                  </a:lnTo>
                  <a:lnTo>
                    <a:pt x="6158" y="486"/>
                  </a:lnTo>
                  <a:lnTo>
                    <a:pt x="6252" y="563"/>
                  </a:lnTo>
                  <a:lnTo>
                    <a:pt x="6423" y="602"/>
                  </a:lnTo>
                  <a:lnTo>
                    <a:pt x="6760" y="602"/>
                  </a:lnTo>
                  <a:lnTo>
                    <a:pt x="6916" y="629"/>
                  </a:lnTo>
                  <a:lnTo>
                    <a:pt x="7159" y="658"/>
                  </a:lnTo>
                  <a:lnTo>
                    <a:pt x="7344" y="698"/>
                  </a:lnTo>
                  <a:lnTo>
                    <a:pt x="7500" y="785"/>
                  </a:lnTo>
                  <a:lnTo>
                    <a:pt x="7792" y="799"/>
                  </a:lnTo>
                  <a:lnTo>
                    <a:pt x="7945" y="725"/>
                  </a:lnTo>
                  <a:lnTo>
                    <a:pt x="8130" y="720"/>
                  </a:lnTo>
                  <a:lnTo>
                    <a:pt x="8343" y="741"/>
                  </a:lnTo>
                  <a:lnTo>
                    <a:pt x="8508" y="799"/>
                  </a:lnTo>
                  <a:lnTo>
                    <a:pt x="8764" y="882"/>
                  </a:lnTo>
                  <a:lnTo>
                    <a:pt x="9015" y="958"/>
                  </a:lnTo>
                  <a:lnTo>
                    <a:pt x="9502" y="1062"/>
                  </a:lnTo>
                  <a:lnTo>
                    <a:pt x="9816" y="1193"/>
                  </a:lnTo>
                  <a:lnTo>
                    <a:pt x="9920" y="1317"/>
                  </a:lnTo>
                  <a:lnTo>
                    <a:pt x="10065" y="1399"/>
                  </a:lnTo>
                  <a:lnTo>
                    <a:pt x="10187" y="1473"/>
                  </a:lnTo>
                  <a:lnTo>
                    <a:pt x="10298" y="1576"/>
                  </a:lnTo>
                  <a:lnTo>
                    <a:pt x="10339" y="1679"/>
                  </a:lnTo>
                  <a:lnTo>
                    <a:pt x="10420" y="1769"/>
                  </a:lnTo>
                  <a:lnTo>
                    <a:pt x="10606" y="1887"/>
                  </a:lnTo>
                  <a:lnTo>
                    <a:pt x="10818" y="2000"/>
                  </a:lnTo>
                  <a:lnTo>
                    <a:pt x="11131" y="2123"/>
                  </a:lnTo>
                  <a:lnTo>
                    <a:pt x="11378" y="2178"/>
                  </a:lnTo>
                  <a:lnTo>
                    <a:pt x="11636" y="2243"/>
                  </a:lnTo>
                  <a:lnTo>
                    <a:pt x="11855" y="2243"/>
                  </a:lnTo>
                  <a:lnTo>
                    <a:pt x="11990" y="2181"/>
                  </a:lnTo>
                  <a:lnTo>
                    <a:pt x="12151" y="2160"/>
                  </a:lnTo>
                  <a:lnTo>
                    <a:pt x="12356" y="2167"/>
                  </a:lnTo>
                  <a:lnTo>
                    <a:pt x="12575" y="2208"/>
                  </a:lnTo>
                  <a:lnTo>
                    <a:pt x="12707" y="2236"/>
                  </a:lnTo>
                  <a:lnTo>
                    <a:pt x="12850" y="2254"/>
                  </a:lnTo>
                  <a:lnTo>
                    <a:pt x="12964" y="2298"/>
                  </a:lnTo>
                  <a:lnTo>
                    <a:pt x="13152" y="2421"/>
                  </a:lnTo>
                  <a:lnTo>
                    <a:pt x="13358" y="2525"/>
                  </a:lnTo>
                  <a:lnTo>
                    <a:pt x="13524" y="2594"/>
                  </a:lnTo>
                  <a:lnTo>
                    <a:pt x="13666" y="2651"/>
                  </a:lnTo>
                  <a:lnTo>
                    <a:pt x="13833" y="2742"/>
                  </a:lnTo>
                  <a:lnTo>
                    <a:pt x="13864" y="2891"/>
                  </a:lnTo>
                  <a:lnTo>
                    <a:pt x="13944" y="3025"/>
                  </a:lnTo>
                  <a:lnTo>
                    <a:pt x="14059" y="3126"/>
                  </a:lnTo>
                  <a:lnTo>
                    <a:pt x="14069" y="3246"/>
                  </a:lnTo>
                  <a:lnTo>
                    <a:pt x="14069" y="3383"/>
                  </a:lnTo>
                  <a:lnTo>
                    <a:pt x="14132" y="3485"/>
                  </a:lnTo>
                  <a:lnTo>
                    <a:pt x="14251" y="3544"/>
                  </a:lnTo>
                  <a:lnTo>
                    <a:pt x="14376" y="3565"/>
                  </a:lnTo>
                  <a:lnTo>
                    <a:pt x="14376" y="3654"/>
                  </a:lnTo>
                  <a:lnTo>
                    <a:pt x="14240" y="3723"/>
                  </a:lnTo>
                  <a:lnTo>
                    <a:pt x="14147" y="3806"/>
                  </a:lnTo>
                  <a:lnTo>
                    <a:pt x="14084" y="3898"/>
                  </a:lnTo>
                  <a:lnTo>
                    <a:pt x="14021" y="4015"/>
                  </a:lnTo>
                  <a:lnTo>
                    <a:pt x="13892" y="4050"/>
                  </a:lnTo>
                  <a:lnTo>
                    <a:pt x="13746" y="4071"/>
                  </a:lnTo>
                  <a:lnTo>
                    <a:pt x="13369" y="4317"/>
                  </a:lnTo>
                  <a:lnTo>
                    <a:pt x="13296" y="4414"/>
                  </a:lnTo>
                  <a:lnTo>
                    <a:pt x="13244" y="4544"/>
                  </a:lnTo>
                  <a:lnTo>
                    <a:pt x="13401" y="4640"/>
                  </a:lnTo>
                  <a:lnTo>
                    <a:pt x="13638" y="4623"/>
                  </a:lnTo>
                  <a:lnTo>
                    <a:pt x="13801" y="4475"/>
                  </a:lnTo>
                  <a:lnTo>
                    <a:pt x="14058" y="4319"/>
                  </a:lnTo>
                  <a:lnTo>
                    <a:pt x="14233" y="4211"/>
                  </a:lnTo>
                  <a:lnTo>
                    <a:pt x="14406" y="4124"/>
                  </a:lnTo>
                  <a:lnTo>
                    <a:pt x="14601" y="4061"/>
                  </a:lnTo>
                  <a:lnTo>
                    <a:pt x="14824" y="4068"/>
                  </a:lnTo>
                  <a:lnTo>
                    <a:pt x="14950" y="4135"/>
                  </a:lnTo>
                  <a:lnTo>
                    <a:pt x="15054" y="4245"/>
                  </a:lnTo>
                  <a:lnTo>
                    <a:pt x="15054" y="4370"/>
                  </a:lnTo>
                  <a:lnTo>
                    <a:pt x="14772" y="4500"/>
                  </a:lnTo>
                  <a:lnTo>
                    <a:pt x="14706" y="4615"/>
                  </a:lnTo>
                  <a:lnTo>
                    <a:pt x="14561" y="4643"/>
                  </a:lnTo>
                  <a:lnTo>
                    <a:pt x="14369" y="4636"/>
                  </a:lnTo>
                  <a:lnTo>
                    <a:pt x="14297" y="4713"/>
                  </a:lnTo>
                  <a:lnTo>
                    <a:pt x="14537" y="4754"/>
                  </a:lnTo>
                  <a:lnTo>
                    <a:pt x="14713" y="4770"/>
                  </a:lnTo>
                  <a:lnTo>
                    <a:pt x="14862" y="4841"/>
                  </a:lnTo>
                  <a:lnTo>
                    <a:pt x="15018" y="4770"/>
                  </a:lnTo>
                  <a:lnTo>
                    <a:pt x="15209" y="4692"/>
                  </a:lnTo>
                  <a:lnTo>
                    <a:pt x="15341" y="4566"/>
                  </a:lnTo>
                  <a:lnTo>
                    <a:pt x="15491" y="4466"/>
                  </a:lnTo>
                  <a:lnTo>
                    <a:pt x="15585" y="4369"/>
                  </a:lnTo>
                  <a:lnTo>
                    <a:pt x="15846" y="4342"/>
                  </a:lnTo>
                  <a:lnTo>
                    <a:pt x="16125" y="4370"/>
                  </a:lnTo>
                  <a:lnTo>
                    <a:pt x="16397" y="4508"/>
                  </a:lnTo>
                  <a:lnTo>
                    <a:pt x="16564" y="4666"/>
                  </a:lnTo>
                  <a:lnTo>
                    <a:pt x="16723" y="4714"/>
                  </a:lnTo>
                  <a:lnTo>
                    <a:pt x="16844" y="4787"/>
                  </a:lnTo>
                  <a:lnTo>
                    <a:pt x="16817" y="4904"/>
                  </a:lnTo>
                  <a:lnTo>
                    <a:pt x="16751" y="4982"/>
                  </a:lnTo>
                  <a:lnTo>
                    <a:pt x="16751" y="5058"/>
                  </a:lnTo>
                  <a:lnTo>
                    <a:pt x="16949" y="5154"/>
                  </a:lnTo>
                  <a:lnTo>
                    <a:pt x="17116" y="5085"/>
                  </a:lnTo>
                  <a:lnTo>
                    <a:pt x="17332" y="5023"/>
                  </a:lnTo>
                  <a:lnTo>
                    <a:pt x="17569" y="4982"/>
                  </a:lnTo>
                  <a:lnTo>
                    <a:pt x="17746" y="4988"/>
                  </a:lnTo>
                  <a:lnTo>
                    <a:pt x="18122" y="5071"/>
                  </a:lnTo>
                  <a:lnTo>
                    <a:pt x="18476" y="5071"/>
                  </a:lnTo>
                  <a:lnTo>
                    <a:pt x="18914" y="5085"/>
                  </a:lnTo>
                  <a:lnTo>
                    <a:pt x="19226" y="5085"/>
                  </a:lnTo>
                  <a:lnTo>
                    <a:pt x="19337" y="5145"/>
                  </a:lnTo>
                  <a:lnTo>
                    <a:pt x="19417" y="5245"/>
                  </a:lnTo>
                  <a:lnTo>
                    <a:pt x="19501" y="5384"/>
                  </a:lnTo>
                  <a:lnTo>
                    <a:pt x="19761" y="5515"/>
                  </a:lnTo>
                  <a:lnTo>
                    <a:pt x="20054" y="5632"/>
                  </a:lnTo>
                  <a:lnTo>
                    <a:pt x="20337" y="5763"/>
                  </a:lnTo>
                  <a:lnTo>
                    <a:pt x="20783" y="5818"/>
                  </a:lnTo>
                  <a:lnTo>
                    <a:pt x="21128" y="5832"/>
                  </a:lnTo>
                  <a:lnTo>
                    <a:pt x="21292" y="5922"/>
                  </a:lnTo>
                  <a:lnTo>
                    <a:pt x="21413" y="6000"/>
                  </a:lnTo>
                  <a:lnTo>
                    <a:pt x="21423" y="6110"/>
                  </a:lnTo>
                  <a:lnTo>
                    <a:pt x="21496" y="6233"/>
                  </a:lnTo>
                  <a:lnTo>
                    <a:pt x="21548" y="6335"/>
                  </a:lnTo>
                  <a:lnTo>
                    <a:pt x="21600" y="6459"/>
                  </a:lnTo>
                  <a:lnTo>
                    <a:pt x="21558" y="6567"/>
                  </a:lnTo>
                  <a:lnTo>
                    <a:pt x="21548" y="6744"/>
                  </a:lnTo>
                  <a:lnTo>
                    <a:pt x="21416" y="6872"/>
                  </a:lnTo>
                  <a:lnTo>
                    <a:pt x="21374" y="6999"/>
                  </a:lnTo>
                  <a:lnTo>
                    <a:pt x="21263" y="7141"/>
                  </a:lnTo>
                  <a:lnTo>
                    <a:pt x="20928" y="7257"/>
                  </a:lnTo>
                  <a:lnTo>
                    <a:pt x="20782" y="7498"/>
                  </a:lnTo>
                  <a:lnTo>
                    <a:pt x="20646" y="7643"/>
                  </a:lnTo>
                  <a:lnTo>
                    <a:pt x="20531" y="7747"/>
                  </a:lnTo>
                  <a:lnTo>
                    <a:pt x="20344" y="7910"/>
                  </a:lnTo>
                  <a:lnTo>
                    <a:pt x="20222" y="8109"/>
                  </a:lnTo>
                  <a:lnTo>
                    <a:pt x="19916" y="8196"/>
                  </a:lnTo>
                  <a:lnTo>
                    <a:pt x="19700" y="8360"/>
                  </a:lnTo>
                  <a:lnTo>
                    <a:pt x="19631" y="8498"/>
                  </a:lnTo>
                  <a:lnTo>
                    <a:pt x="19615" y="8867"/>
                  </a:lnTo>
                  <a:lnTo>
                    <a:pt x="19688" y="9089"/>
                  </a:lnTo>
                  <a:lnTo>
                    <a:pt x="19688" y="9302"/>
                  </a:lnTo>
                  <a:lnTo>
                    <a:pt x="19705" y="9546"/>
                  </a:lnTo>
                  <a:lnTo>
                    <a:pt x="19653" y="9772"/>
                  </a:lnTo>
                  <a:lnTo>
                    <a:pt x="19612" y="9950"/>
                  </a:lnTo>
                  <a:lnTo>
                    <a:pt x="19580" y="10104"/>
                  </a:lnTo>
                  <a:lnTo>
                    <a:pt x="19559" y="10281"/>
                  </a:lnTo>
                  <a:lnTo>
                    <a:pt x="19465" y="10449"/>
                  </a:lnTo>
                  <a:lnTo>
                    <a:pt x="19444" y="10661"/>
                  </a:lnTo>
                  <a:lnTo>
                    <a:pt x="19392" y="10797"/>
                  </a:lnTo>
                  <a:lnTo>
                    <a:pt x="19322" y="10935"/>
                  </a:lnTo>
                  <a:lnTo>
                    <a:pt x="19169" y="11064"/>
                  </a:lnTo>
                  <a:lnTo>
                    <a:pt x="19033" y="11278"/>
                  </a:lnTo>
                  <a:lnTo>
                    <a:pt x="18939" y="11393"/>
                  </a:lnTo>
                  <a:lnTo>
                    <a:pt x="18834" y="11511"/>
                  </a:lnTo>
                  <a:lnTo>
                    <a:pt x="18562" y="11665"/>
                  </a:lnTo>
                  <a:lnTo>
                    <a:pt x="18374" y="11762"/>
                  </a:lnTo>
                  <a:lnTo>
                    <a:pt x="18204" y="11755"/>
                  </a:lnTo>
                  <a:lnTo>
                    <a:pt x="18048" y="11735"/>
                  </a:lnTo>
                  <a:lnTo>
                    <a:pt x="17899" y="11638"/>
                  </a:lnTo>
                  <a:lnTo>
                    <a:pt x="17642" y="11707"/>
                  </a:lnTo>
                  <a:lnTo>
                    <a:pt x="17486" y="11796"/>
                  </a:lnTo>
                  <a:lnTo>
                    <a:pt x="17287" y="11941"/>
                  </a:lnTo>
                  <a:lnTo>
                    <a:pt x="17134" y="11969"/>
                  </a:lnTo>
                  <a:lnTo>
                    <a:pt x="16834" y="12015"/>
                  </a:lnTo>
                  <a:lnTo>
                    <a:pt x="16534" y="12077"/>
                  </a:lnTo>
                  <a:lnTo>
                    <a:pt x="16336" y="12167"/>
                  </a:lnTo>
                  <a:lnTo>
                    <a:pt x="16253" y="12270"/>
                  </a:lnTo>
                  <a:lnTo>
                    <a:pt x="16183" y="12325"/>
                  </a:lnTo>
                  <a:lnTo>
                    <a:pt x="16027" y="12380"/>
                  </a:lnTo>
                  <a:lnTo>
                    <a:pt x="15916" y="12449"/>
                  </a:lnTo>
                  <a:lnTo>
                    <a:pt x="15804" y="12518"/>
                  </a:lnTo>
                  <a:lnTo>
                    <a:pt x="15752" y="12629"/>
                  </a:lnTo>
                  <a:lnTo>
                    <a:pt x="15825" y="12724"/>
                  </a:lnTo>
                  <a:lnTo>
                    <a:pt x="15951" y="12849"/>
                  </a:lnTo>
                  <a:lnTo>
                    <a:pt x="15961" y="13008"/>
                  </a:lnTo>
                  <a:lnTo>
                    <a:pt x="15909" y="13192"/>
                  </a:lnTo>
                  <a:cubicBezTo>
                    <a:pt x="15880" y="13228"/>
                    <a:pt x="15856" y="13266"/>
                    <a:pt x="15840" y="13305"/>
                  </a:cubicBezTo>
                  <a:cubicBezTo>
                    <a:pt x="15812" y="13369"/>
                    <a:pt x="15801" y="13436"/>
                    <a:pt x="15809" y="13503"/>
                  </a:cubicBezTo>
                  <a:lnTo>
                    <a:pt x="15600" y="13652"/>
                  </a:lnTo>
                  <a:lnTo>
                    <a:pt x="15506" y="13742"/>
                  </a:lnTo>
                  <a:lnTo>
                    <a:pt x="15464" y="13846"/>
                  </a:lnTo>
                  <a:cubicBezTo>
                    <a:pt x="15464" y="13877"/>
                    <a:pt x="15464" y="13909"/>
                    <a:pt x="15464" y="13940"/>
                  </a:cubicBezTo>
                  <a:cubicBezTo>
                    <a:pt x="15464" y="13981"/>
                    <a:pt x="15464" y="14022"/>
                    <a:pt x="15464" y="14062"/>
                  </a:cubicBezTo>
                  <a:lnTo>
                    <a:pt x="15412" y="14177"/>
                  </a:lnTo>
                  <a:lnTo>
                    <a:pt x="15183" y="14308"/>
                  </a:lnTo>
                  <a:lnTo>
                    <a:pt x="15048" y="14443"/>
                  </a:lnTo>
                  <a:lnTo>
                    <a:pt x="14923" y="14578"/>
                  </a:lnTo>
                  <a:lnTo>
                    <a:pt x="14840" y="14707"/>
                  </a:lnTo>
                  <a:lnTo>
                    <a:pt x="14760" y="14868"/>
                  </a:lnTo>
                  <a:cubicBezTo>
                    <a:pt x="14740" y="14913"/>
                    <a:pt x="14716" y="14957"/>
                    <a:pt x="14687" y="14999"/>
                  </a:cubicBezTo>
                  <a:cubicBezTo>
                    <a:pt x="14660" y="15040"/>
                    <a:pt x="14629" y="15079"/>
                    <a:pt x="14593" y="15116"/>
                  </a:cubicBezTo>
                  <a:cubicBezTo>
                    <a:pt x="14565" y="15141"/>
                    <a:pt x="14538" y="15167"/>
                    <a:pt x="14510" y="15192"/>
                  </a:cubicBezTo>
                  <a:cubicBezTo>
                    <a:pt x="14469" y="15230"/>
                    <a:pt x="14429" y="15268"/>
                    <a:pt x="14390" y="15307"/>
                  </a:cubicBezTo>
                  <a:lnTo>
                    <a:pt x="14233" y="15431"/>
                  </a:lnTo>
                  <a:lnTo>
                    <a:pt x="14123" y="15518"/>
                  </a:lnTo>
                  <a:lnTo>
                    <a:pt x="13872" y="15628"/>
                  </a:lnTo>
                  <a:lnTo>
                    <a:pt x="13685" y="15663"/>
                  </a:lnTo>
                  <a:lnTo>
                    <a:pt x="13323" y="15670"/>
                  </a:lnTo>
                  <a:cubicBezTo>
                    <a:pt x="13286" y="15642"/>
                    <a:pt x="13245" y="15616"/>
                    <a:pt x="13201" y="15594"/>
                  </a:cubicBezTo>
                  <a:cubicBezTo>
                    <a:pt x="13122" y="15553"/>
                    <a:pt x="13034" y="15521"/>
                    <a:pt x="12939" y="15499"/>
                  </a:cubicBezTo>
                  <a:cubicBezTo>
                    <a:pt x="12851" y="15484"/>
                    <a:pt x="12764" y="15467"/>
                    <a:pt x="12678" y="15446"/>
                  </a:cubicBezTo>
                  <a:cubicBezTo>
                    <a:pt x="12585" y="15424"/>
                    <a:pt x="12495" y="15399"/>
                    <a:pt x="12406" y="15370"/>
                  </a:cubicBezTo>
                  <a:lnTo>
                    <a:pt x="12194" y="15426"/>
                  </a:lnTo>
                  <a:lnTo>
                    <a:pt x="12131" y="15541"/>
                  </a:lnTo>
                  <a:lnTo>
                    <a:pt x="12255" y="15615"/>
                  </a:lnTo>
                  <a:lnTo>
                    <a:pt x="12467" y="15700"/>
                  </a:lnTo>
                  <a:lnTo>
                    <a:pt x="12582" y="15762"/>
                  </a:lnTo>
                  <a:lnTo>
                    <a:pt x="12768" y="15886"/>
                  </a:lnTo>
                  <a:lnTo>
                    <a:pt x="12977" y="16065"/>
                  </a:lnTo>
                  <a:lnTo>
                    <a:pt x="13103" y="16201"/>
                  </a:lnTo>
                  <a:lnTo>
                    <a:pt x="13155" y="16372"/>
                  </a:lnTo>
                  <a:lnTo>
                    <a:pt x="13166" y="16545"/>
                  </a:lnTo>
                  <a:lnTo>
                    <a:pt x="13065" y="16676"/>
                  </a:lnTo>
                  <a:lnTo>
                    <a:pt x="12951" y="16779"/>
                  </a:lnTo>
                  <a:lnTo>
                    <a:pt x="12787" y="16862"/>
                  </a:lnTo>
                  <a:lnTo>
                    <a:pt x="12505" y="16924"/>
                  </a:lnTo>
                  <a:lnTo>
                    <a:pt x="12122" y="16970"/>
                  </a:lnTo>
                  <a:lnTo>
                    <a:pt x="11913" y="16977"/>
                  </a:lnTo>
                  <a:lnTo>
                    <a:pt x="11733" y="16982"/>
                  </a:lnTo>
                  <a:lnTo>
                    <a:pt x="11430" y="16982"/>
                  </a:lnTo>
                  <a:lnTo>
                    <a:pt x="11263" y="17044"/>
                  </a:lnTo>
                  <a:lnTo>
                    <a:pt x="11232" y="17116"/>
                  </a:lnTo>
                  <a:lnTo>
                    <a:pt x="11252" y="17235"/>
                  </a:lnTo>
                  <a:lnTo>
                    <a:pt x="11325" y="17332"/>
                  </a:lnTo>
                  <a:lnTo>
                    <a:pt x="11412" y="17380"/>
                  </a:lnTo>
                  <a:lnTo>
                    <a:pt x="11444" y="17498"/>
                  </a:lnTo>
                  <a:lnTo>
                    <a:pt x="11382" y="17567"/>
                  </a:lnTo>
                  <a:cubicBezTo>
                    <a:pt x="11322" y="17599"/>
                    <a:pt x="11279" y="17642"/>
                    <a:pt x="11257" y="17691"/>
                  </a:cubicBezTo>
                  <a:cubicBezTo>
                    <a:pt x="11240" y="17729"/>
                    <a:pt x="11236" y="17769"/>
                    <a:pt x="11246" y="17808"/>
                  </a:cubicBezTo>
                  <a:lnTo>
                    <a:pt x="11037" y="17802"/>
                  </a:lnTo>
                  <a:lnTo>
                    <a:pt x="10881" y="17726"/>
                  </a:lnTo>
                  <a:lnTo>
                    <a:pt x="10631" y="17622"/>
                  </a:lnTo>
                  <a:lnTo>
                    <a:pt x="10349" y="17581"/>
                  </a:lnTo>
                  <a:lnTo>
                    <a:pt x="10141" y="17677"/>
                  </a:lnTo>
                  <a:lnTo>
                    <a:pt x="10273" y="17815"/>
                  </a:lnTo>
                  <a:cubicBezTo>
                    <a:pt x="10359" y="17814"/>
                    <a:pt x="10437" y="17847"/>
                    <a:pt x="10472" y="17898"/>
                  </a:cubicBezTo>
                  <a:cubicBezTo>
                    <a:pt x="10504" y="17944"/>
                    <a:pt x="10496" y="17997"/>
                    <a:pt x="10451" y="18038"/>
                  </a:cubicBezTo>
                  <a:lnTo>
                    <a:pt x="10493" y="18142"/>
                  </a:lnTo>
                  <a:cubicBezTo>
                    <a:pt x="10535" y="18167"/>
                    <a:pt x="10583" y="18187"/>
                    <a:pt x="10636" y="18201"/>
                  </a:cubicBezTo>
                  <a:cubicBezTo>
                    <a:pt x="10678" y="18213"/>
                    <a:pt x="10723" y="18220"/>
                    <a:pt x="10768" y="18222"/>
                  </a:cubicBezTo>
                  <a:cubicBezTo>
                    <a:pt x="10824" y="18185"/>
                    <a:pt x="10918" y="18194"/>
                    <a:pt x="10956" y="18240"/>
                  </a:cubicBezTo>
                  <a:cubicBezTo>
                    <a:pt x="10983" y="18272"/>
                    <a:pt x="10969" y="18313"/>
                    <a:pt x="10925" y="18335"/>
                  </a:cubicBezTo>
                  <a:lnTo>
                    <a:pt x="10783" y="18390"/>
                  </a:lnTo>
                  <a:lnTo>
                    <a:pt x="10605" y="18448"/>
                  </a:lnTo>
                  <a:lnTo>
                    <a:pt x="10615" y="18589"/>
                  </a:lnTo>
                  <a:lnTo>
                    <a:pt x="10663" y="18651"/>
                  </a:lnTo>
                  <a:lnTo>
                    <a:pt x="10698" y="18740"/>
                  </a:lnTo>
                  <a:lnTo>
                    <a:pt x="10479" y="18860"/>
                  </a:lnTo>
                  <a:lnTo>
                    <a:pt x="10374" y="19045"/>
                  </a:lnTo>
                  <a:lnTo>
                    <a:pt x="10259" y="19180"/>
                  </a:lnTo>
                  <a:lnTo>
                    <a:pt x="10218" y="19263"/>
                  </a:lnTo>
                  <a:lnTo>
                    <a:pt x="10283" y="19367"/>
                  </a:lnTo>
                  <a:lnTo>
                    <a:pt x="10350" y="19544"/>
                  </a:lnTo>
                  <a:lnTo>
                    <a:pt x="10506" y="19579"/>
                  </a:lnTo>
                  <a:lnTo>
                    <a:pt x="10637" y="19689"/>
                  </a:lnTo>
                  <a:lnTo>
                    <a:pt x="10913" y="19767"/>
                  </a:lnTo>
                  <a:lnTo>
                    <a:pt x="11066" y="19942"/>
                  </a:lnTo>
                  <a:lnTo>
                    <a:pt x="11076" y="20069"/>
                  </a:lnTo>
                  <a:lnTo>
                    <a:pt x="10982" y="20241"/>
                  </a:lnTo>
                  <a:lnTo>
                    <a:pt x="10888" y="20363"/>
                  </a:lnTo>
                  <a:lnTo>
                    <a:pt x="10794" y="20527"/>
                  </a:lnTo>
                  <a:cubicBezTo>
                    <a:pt x="10712" y="20573"/>
                    <a:pt x="10646" y="20631"/>
                    <a:pt x="10600" y="20695"/>
                  </a:cubicBezTo>
                  <a:cubicBezTo>
                    <a:pt x="10553" y="20760"/>
                    <a:pt x="10528" y="20830"/>
                    <a:pt x="10526" y="20902"/>
                  </a:cubicBezTo>
                  <a:lnTo>
                    <a:pt x="10613" y="21051"/>
                  </a:lnTo>
                  <a:lnTo>
                    <a:pt x="10773" y="21173"/>
                  </a:lnTo>
                  <a:lnTo>
                    <a:pt x="10846" y="21254"/>
                  </a:lnTo>
                  <a:lnTo>
                    <a:pt x="10766" y="21359"/>
                  </a:lnTo>
                  <a:lnTo>
                    <a:pt x="10536" y="21440"/>
                  </a:lnTo>
                  <a:lnTo>
                    <a:pt x="10441" y="21536"/>
                  </a:lnTo>
                  <a:lnTo>
                    <a:pt x="10363" y="21600"/>
                  </a:lnTo>
                  <a:lnTo>
                    <a:pt x="10225" y="21595"/>
                  </a:lnTo>
                  <a:lnTo>
                    <a:pt x="9866" y="21480"/>
                  </a:lnTo>
                  <a:lnTo>
                    <a:pt x="9668" y="21506"/>
                  </a:lnTo>
                  <a:lnTo>
                    <a:pt x="9418" y="21531"/>
                  </a:lnTo>
                  <a:cubicBezTo>
                    <a:pt x="9428" y="21473"/>
                    <a:pt x="9417" y="21413"/>
                    <a:pt x="9386" y="21358"/>
                  </a:cubicBezTo>
                  <a:cubicBezTo>
                    <a:pt x="9350" y="21293"/>
                    <a:pt x="9286" y="21235"/>
                    <a:pt x="9202" y="21193"/>
                  </a:cubicBezTo>
                  <a:lnTo>
                    <a:pt x="8951" y="21172"/>
                  </a:lnTo>
                  <a:lnTo>
                    <a:pt x="8767" y="21096"/>
                  </a:lnTo>
                  <a:lnTo>
                    <a:pt x="8767" y="20966"/>
                  </a:lnTo>
                  <a:lnTo>
                    <a:pt x="8683" y="20814"/>
                  </a:lnTo>
                  <a:cubicBezTo>
                    <a:pt x="8625" y="20767"/>
                    <a:pt x="8560" y="20724"/>
                    <a:pt x="8489" y="20687"/>
                  </a:cubicBezTo>
                  <a:cubicBezTo>
                    <a:pt x="8402" y="20641"/>
                    <a:pt x="8307" y="20603"/>
                    <a:pt x="8206" y="20574"/>
                  </a:cubicBezTo>
                  <a:lnTo>
                    <a:pt x="8185" y="20340"/>
                  </a:lnTo>
                  <a:lnTo>
                    <a:pt x="8175" y="20091"/>
                  </a:lnTo>
                  <a:cubicBezTo>
                    <a:pt x="8118" y="20014"/>
                    <a:pt x="8052" y="19940"/>
                    <a:pt x="7977" y="19870"/>
                  </a:cubicBezTo>
                  <a:cubicBezTo>
                    <a:pt x="7874" y="19775"/>
                    <a:pt x="7755" y="19687"/>
                    <a:pt x="7622" y="19610"/>
                  </a:cubicBezTo>
                  <a:lnTo>
                    <a:pt x="7320" y="19591"/>
                  </a:lnTo>
                  <a:lnTo>
                    <a:pt x="7269" y="19491"/>
                  </a:lnTo>
                  <a:lnTo>
                    <a:pt x="7463" y="19422"/>
                  </a:lnTo>
                  <a:lnTo>
                    <a:pt x="7664" y="19293"/>
                  </a:lnTo>
                  <a:lnTo>
                    <a:pt x="7747" y="19155"/>
                  </a:lnTo>
                  <a:lnTo>
                    <a:pt x="7862" y="18947"/>
                  </a:lnTo>
                  <a:cubicBezTo>
                    <a:pt x="7859" y="18904"/>
                    <a:pt x="7841" y="18862"/>
                    <a:pt x="7810" y="18823"/>
                  </a:cubicBezTo>
                  <a:cubicBezTo>
                    <a:pt x="7763" y="18763"/>
                    <a:pt x="7687" y="18715"/>
                    <a:pt x="7594" y="18687"/>
                  </a:cubicBezTo>
                  <a:lnTo>
                    <a:pt x="7373" y="18531"/>
                  </a:lnTo>
                  <a:lnTo>
                    <a:pt x="7344" y="18427"/>
                  </a:lnTo>
                  <a:lnTo>
                    <a:pt x="7439" y="18291"/>
                  </a:lnTo>
                  <a:lnTo>
                    <a:pt x="7386" y="18128"/>
                  </a:lnTo>
                  <a:lnTo>
                    <a:pt x="7191" y="18036"/>
                  </a:lnTo>
                  <a:lnTo>
                    <a:pt x="6944" y="17872"/>
                  </a:lnTo>
                  <a:lnTo>
                    <a:pt x="6714" y="17722"/>
                  </a:lnTo>
                  <a:lnTo>
                    <a:pt x="6595" y="17655"/>
                  </a:lnTo>
                  <a:lnTo>
                    <a:pt x="6560" y="17485"/>
                  </a:lnTo>
                  <a:lnTo>
                    <a:pt x="6414" y="17372"/>
                  </a:lnTo>
                  <a:lnTo>
                    <a:pt x="6518" y="17199"/>
                  </a:lnTo>
                  <a:cubicBezTo>
                    <a:pt x="6570" y="17154"/>
                    <a:pt x="6593" y="17097"/>
                    <a:pt x="6581" y="17041"/>
                  </a:cubicBezTo>
                  <a:cubicBezTo>
                    <a:pt x="6561" y="16948"/>
                    <a:pt x="6457" y="16874"/>
                    <a:pt x="6320" y="16854"/>
                  </a:cubicBezTo>
                  <a:cubicBezTo>
                    <a:pt x="6272" y="16815"/>
                    <a:pt x="6237" y="16771"/>
                    <a:pt x="6215" y="16723"/>
                  </a:cubicBezTo>
                  <a:cubicBezTo>
                    <a:pt x="6159" y="16596"/>
                    <a:pt x="6202" y="16460"/>
                    <a:pt x="6330" y="16359"/>
                  </a:cubicBezTo>
                  <a:lnTo>
                    <a:pt x="6341" y="16207"/>
                  </a:lnTo>
                  <a:lnTo>
                    <a:pt x="6351" y="16005"/>
                  </a:lnTo>
                  <a:lnTo>
                    <a:pt x="6382" y="15534"/>
                  </a:lnTo>
                  <a:lnTo>
                    <a:pt x="6330" y="14960"/>
                  </a:lnTo>
                  <a:lnTo>
                    <a:pt x="6125" y="14624"/>
                  </a:lnTo>
                  <a:lnTo>
                    <a:pt x="6027" y="14310"/>
                  </a:lnTo>
                  <a:lnTo>
                    <a:pt x="5975" y="14131"/>
                  </a:lnTo>
                  <a:lnTo>
                    <a:pt x="5925" y="13492"/>
                  </a:lnTo>
                  <a:lnTo>
                    <a:pt x="5925" y="13243"/>
                  </a:lnTo>
                  <a:lnTo>
                    <a:pt x="6020" y="13001"/>
                  </a:lnTo>
                  <a:lnTo>
                    <a:pt x="6020" y="12755"/>
                  </a:lnTo>
                  <a:lnTo>
                    <a:pt x="5988" y="12469"/>
                  </a:lnTo>
                  <a:lnTo>
                    <a:pt x="5842" y="12317"/>
                  </a:lnTo>
                  <a:lnTo>
                    <a:pt x="5852" y="12041"/>
                  </a:lnTo>
                  <a:lnTo>
                    <a:pt x="5936" y="11755"/>
                  </a:lnTo>
                  <a:cubicBezTo>
                    <a:pt x="5963" y="11665"/>
                    <a:pt x="5977" y="11573"/>
                    <a:pt x="5978" y="11481"/>
                  </a:cubicBezTo>
                  <a:cubicBezTo>
                    <a:pt x="5979" y="11396"/>
                    <a:pt x="5968" y="11310"/>
                    <a:pt x="5946" y="11226"/>
                  </a:cubicBezTo>
                  <a:cubicBezTo>
                    <a:pt x="5920" y="11122"/>
                    <a:pt x="5877" y="11021"/>
                    <a:pt x="5817" y="10924"/>
                  </a:cubicBezTo>
                  <a:lnTo>
                    <a:pt x="5790" y="10657"/>
                  </a:lnTo>
                  <a:lnTo>
                    <a:pt x="5779" y="10588"/>
                  </a:lnTo>
                  <a:lnTo>
                    <a:pt x="5509" y="10273"/>
                  </a:lnTo>
                  <a:lnTo>
                    <a:pt x="5325" y="10025"/>
                  </a:lnTo>
                  <a:lnTo>
                    <a:pt x="5081" y="9901"/>
                  </a:lnTo>
                  <a:lnTo>
                    <a:pt x="4781" y="9783"/>
                  </a:lnTo>
                  <a:lnTo>
                    <a:pt x="4531" y="9611"/>
                  </a:lnTo>
                  <a:lnTo>
                    <a:pt x="4066" y="9506"/>
                  </a:lnTo>
                  <a:lnTo>
                    <a:pt x="3850" y="9416"/>
                  </a:lnTo>
                  <a:lnTo>
                    <a:pt x="3285" y="9256"/>
                  </a:lnTo>
                  <a:lnTo>
                    <a:pt x="3020" y="9164"/>
                  </a:lnTo>
                  <a:lnTo>
                    <a:pt x="2895" y="8913"/>
                  </a:lnTo>
                  <a:lnTo>
                    <a:pt x="2752" y="8757"/>
                  </a:lnTo>
                  <a:lnTo>
                    <a:pt x="2626" y="8512"/>
                  </a:lnTo>
                  <a:lnTo>
                    <a:pt x="2494" y="8355"/>
                  </a:lnTo>
                  <a:lnTo>
                    <a:pt x="2330" y="8219"/>
                  </a:lnTo>
                  <a:lnTo>
                    <a:pt x="2088" y="8047"/>
                  </a:lnTo>
                  <a:lnTo>
                    <a:pt x="1976" y="7929"/>
                  </a:lnTo>
                  <a:lnTo>
                    <a:pt x="1868" y="7775"/>
                  </a:lnTo>
                  <a:lnTo>
                    <a:pt x="1712" y="7713"/>
                  </a:lnTo>
                  <a:lnTo>
                    <a:pt x="1653" y="7630"/>
                  </a:lnTo>
                  <a:lnTo>
                    <a:pt x="1559" y="7481"/>
                  </a:lnTo>
                  <a:lnTo>
                    <a:pt x="1499" y="7363"/>
                  </a:lnTo>
                  <a:lnTo>
                    <a:pt x="1332" y="7016"/>
                  </a:lnTo>
                  <a:lnTo>
                    <a:pt x="1207" y="6813"/>
                  </a:lnTo>
                  <a:lnTo>
                    <a:pt x="1072" y="6654"/>
                  </a:lnTo>
                  <a:lnTo>
                    <a:pt x="958" y="6495"/>
                  </a:lnTo>
                  <a:lnTo>
                    <a:pt x="875" y="6420"/>
                  </a:lnTo>
                  <a:lnTo>
                    <a:pt x="683" y="6358"/>
                  </a:lnTo>
                  <a:lnTo>
                    <a:pt x="577" y="6210"/>
                  </a:lnTo>
                  <a:lnTo>
                    <a:pt x="392" y="6183"/>
                  </a:lnTo>
                  <a:lnTo>
                    <a:pt x="270" y="6084"/>
                  </a:lnTo>
                  <a:lnTo>
                    <a:pt x="131" y="5971"/>
                  </a:lnTo>
                  <a:lnTo>
                    <a:pt x="79" y="5813"/>
                  </a:lnTo>
                  <a:lnTo>
                    <a:pt x="38" y="5703"/>
                  </a:lnTo>
                  <a:lnTo>
                    <a:pt x="0" y="5602"/>
                  </a:lnTo>
                  <a:lnTo>
                    <a:pt x="115" y="5491"/>
                  </a:lnTo>
                  <a:lnTo>
                    <a:pt x="268" y="5348"/>
                  </a:lnTo>
                  <a:lnTo>
                    <a:pt x="330" y="5224"/>
                  </a:lnTo>
                  <a:lnTo>
                    <a:pt x="413" y="5153"/>
                  </a:lnTo>
                  <a:lnTo>
                    <a:pt x="602" y="5033"/>
                  </a:lnTo>
                  <a:lnTo>
                    <a:pt x="653" y="4916"/>
                  </a:lnTo>
                  <a:lnTo>
                    <a:pt x="542" y="4875"/>
                  </a:lnTo>
                  <a:lnTo>
                    <a:pt x="350" y="4849"/>
                  </a:lnTo>
                  <a:lnTo>
                    <a:pt x="233" y="4810"/>
                  </a:lnTo>
                  <a:lnTo>
                    <a:pt x="173" y="4693"/>
                  </a:lnTo>
                  <a:lnTo>
                    <a:pt x="132" y="4589"/>
                  </a:lnTo>
                  <a:lnTo>
                    <a:pt x="236" y="4435"/>
                  </a:lnTo>
                  <a:lnTo>
                    <a:pt x="363" y="4279"/>
                  </a:lnTo>
                  <a:lnTo>
                    <a:pt x="464" y="4141"/>
                  </a:lnTo>
                  <a:lnTo>
                    <a:pt x="722" y="3881"/>
                  </a:lnTo>
                  <a:lnTo>
                    <a:pt x="837" y="3725"/>
                  </a:lnTo>
                  <a:lnTo>
                    <a:pt x="878" y="3658"/>
                  </a:lnTo>
                  <a:lnTo>
                    <a:pt x="1105" y="3567"/>
                  </a:lnTo>
                  <a:lnTo>
                    <a:pt x="1275" y="3479"/>
                  </a:lnTo>
                  <a:lnTo>
                    <a:pt x="1338" y="3385"/>
                  </a:lnTo>
                  <a:lnTo>
                    <a:pt x="1359" y="3295"/>
                  </a:lnTo>
                  <a:lnTo>
                    <a:pt x="1523" y="3201"/>
                  </a:lnTo>
                  <a:lnTo>
                    <a:pt x="1707" y="3072"/>
                  </a:lnTo>
                  <a:cubicBezTo>
                    <a:pt x="1704" y="3016"/>
                    <a:pt x="1711" y="2960"/>
                    <a:pt x="1728" y="2906"/>
                  </a:cubicBezTo>
                  <a:cubicBezTo>
                    <a:pt x="1757" y="2814"/>
                    <a:pt x="1814" y="2727"/>
                    <a:pt x="1896" y="2650"/>
                  </a:cubicBezTo>
                  <a:cubicBezTo>
                    <a:pt x="1934" y="2572"/>
                    <a:pt x="1938" y="2488"/>
                    <a:pt x="1906" y="2408"/>
                  </a:cubicBezTo>
                  <a:cubicBezTo>
                    <a:pt x="1883" y="2352"/>
                    <a:pt x="1843" y="2298"/>
                    <a:pt x="1815" y="2242"/>
                  </a:cubicBezTo>
                  <a:cubicBezTo>
                    <a:pt x="1790" y="2191"/>
                    <a:pt x="1776" y="2138"/>
                    <a:pt x="1774" y="2083"/>
                  </a:cubicBezTo>
                  <a:lnTo>
                    <a:pt x="1774" y="1918"/>
                  </a:lnTo>
                  <a:lnTo>
                    <a:pt x="1753" y="1808"/>
                  </a:lnTo>
                  <a:lnTo>
                    <a:pt x="1638" y="1656"/>
                  </a:lnTo>
                  <a:lnTo>
                    <a:pt x="1493" y="1546"/>
                  </a:lnTo>
                  <a:lnTo>
                    <a:pt x="1587" y="1443"/>
                  </a:lnTo>
                  <a:lnTo>
                    <a:pt x="1656" y="1310"/>
                  </a:lnTo>
                  <a:lnTo>
                    <a:pt x="1459" y="1199"/>
                  </a:lnTo>
                  <a:lnTo>
                    <a:pt x="1280" y="1115"/>
                  </a:lnTo>
                  <a:lnTo>
                    <a:pt x="1083" y="1076"/>
                  </a:lnTo>
                  <a:lnTo>
                    <a:pt x="968" y="1103"/>
                  </a:lnTo>
                  <a:lnTo>
                    <a:pt x="869" y="1016"/>
                  </a:lnTo>
                  <a:close/>
                </a:path>
              </a:pathLst>
            </a:custGeom>
            <a:grpFill/>
            <a:ln w="25400" cap="flat">
              <a:noFill/>
              <a:prstDash val="solid"/>
              <a:miter lim="400000"/>
            </a:ln>
            <a:effectLst/>
          </p:spPr>
          <p:txBody>
            <a:bodyPr anchor="ctr"/>
            <a:lstStyle/>
            <a:p>
              <a:pPr algn="ctr"/>
              <a:endParaRPr/>
            </a:p>
          </p:txBody>
        </p:sp>
        <p:sp>
          <p:nvSpPr>
            <p:cNvPr id="59" name="任意多边形: 形状 58">
              <a:extLst>
                <a:ext uri="{FF2B5EF4-FFF2-40B4-BE49-F238E27FC236}">
                  <a16:creationId xmlns:a16="http://schemas.microsoft.com/office/drawing/2014/main" id="{E9D2B2D0-FDA7-476D-84DD-482408AD3852}"/>
                </a:ext>
              </a:extLst>
            </p:cNvPr>
            <p:cNvSpPr/>
            <p:nvPr/>
          </p:nvSpPr>
          <p:spPr>
            <a:xfrm>
              <a:off x="3559421" y="5995142"/>
              <a:ext cx="176422" cy="89842"/>
            </a:xfrm>
            <a:custGeom>
              <a:avLst/>
              <a:gdLst/>
              <a:ahLst/>
              <a:cxnLst>
                <a:cxn ang="0">
                  <a:pos x="wd2" y="hd2"/>
                </a:cxn>
                <a:cxn ang="5400000">
                  <a:pos x="wd2" y="hd2"/>
                </a:cxn>
                <a:cxn ang="10800000">
                  <a:pos x="wd2" y="hd2"/>
                </a:cxn>
                <a:cxn ang="16200000">
                  <a:pos x="wd2" y="hd2"/>
                </a:cxn>
              </a:cxnLst>
              <a:rect l="0" t="0" r="r" b="b"/>
              <a:pathLst>
                <a:path w="21600" h="21600" extrusionOk="0">
                  <a:moveTo>
                    <a:pt x="7225" y="3547"/>
                  </a:moveTo>
                  <a:lnTo>
                    <a:pt x="5676" y="1626"/>
                  </a:lnTo>
                  <a:lnTo>
                    <a:pt x="3209" y="0"/>
                  </a:lnTo>
                  <a:lnTo>
                    <a:pt x="1176" y="1709"/>
                  </a:lnTo>
                  <a:lnTo>
                    <a:pt x="993" y="6809"/>
                  </a:lnTo>
                  <a:lnTo>
                    <a:pt x="0" y="9230"/>
                  </a:lnTo>
                  <a:lnTo>
                    <a:pt x="146" y="11719"/>
                  </a:lnTo>
                  <a:lnTo>
                    <a:pt x="1232" y="14861"/>
                  </a:lnTo>
                  <a:lnTo>
                    <a:pt x="2757" y="16925"/>
                  </a:lnTo>
                  <a:lnTo>
                    <a:pt x="4617" y="16204"/>
                  </a:lnTo>
                  <a:lnTo>
                    <a:pt x="6205" y="18329"/>
                  </a:lnTo>
                  <a:lnTo>
                    <a:pt x="6765" y="21054"/>
                  </a:lnTo>
                  <a:lnTo>
                    <a:pt x="9338" y="21600"/>
                  </a:lnTo>
                  <a:lnTo>
                    <a:pt x="10638" y="20386"/>
                  </a:lnTo>
                  <a:lnTo>
                    <a:pt x="12868" y="19239"/>
                  </a:lnTo>
                  <a:cubicBezTo>
                    <a:pt x="13384" y="19258"/>
                    <a:pt x="13900" y="19258"/>
                    <a:pt x="14416" y="19239"/>
                  </a:cubicBezTo>
                  <a:cubicBezTo>
                    <a:pt x="15695" y="19193"/>
                    <a:pt x="16971" y="19031"/>
                    <a:pt x="18242" y="18754"/>
                  </a:cubicBezTo>
                  <a:lnTo>
                    <a:pt x="20946" y="19118"/>
                  </a:lnTo>
                  <a:lnTo>
                    <a:pt x="21600" y="16751"/>
                  </a:lnTo>
                  <a:lnTo>
                    <a:pt x="17600" y="16751"/>
                  </a:lnTo>
                  <a:lnTo>
                    <a:pt x="14802" y="15172"/>
                  </a:lnTo>
                  <a:lnTo>
                    <a:pt x="13214" y="10808"/>
                  </a:lnTo>
                  <a:lnTo>
                    <a:pt x="11408" y="9230"/>
                  </a:lnTo>
                  <a:lnTo>
                    <a:pt x="9731" y="7773"/>
                  </a:lnTo>
                  <a:lnTo>
                    <a:pt x="9139" y="5420"/>
                  </a:lnTo>
                  <a:lnTo>
                    <a:pt x="7225" y="3547"/>
                  </a:lnTo>
                  <a:close/>
                </a:path>
              </a:pathLst>
            </a:custGeom>
            <a:grpFill/>
            <a:ln w="25400" cap="flat">
              <a:noFill/>
              <a:prstDash val="solid"/>
              <a:miter lim="400000"/>
            </a:ln>
            <a:effectLst/>
          </p:spPr>
          <p:txBody>
            <a:bodyPr anchor="ctr"/>
            <a:lstStyle/>
            <a:p>
              <a:pPr algn="ctr"/>
              <a:endParaRPr/>
            </a:p>
          </p:txBody>
        </p:sp>
        <p:sp>
          <p:nvSpPr>
            <p:cNvPr id="60" name="任意多边形: 形状 59">
              <a:extLst>
                <a:ext uri="{FF2B5EF4-FFF2-40B4-BE49-F238E27FC236}">
                  <a16:creationId xmlns:a16="http://schemas.microsoft.com/office/drawing/2014/main" id="{B9321B1E-60A8-45BC-9D50-CE22CC728BDB}"/>
                </a:ext>
              </a:extLst>
            </p:cNvPr>
            <p:cNvSpPr/>
            <p:nvPr/>
          </p:nvSpPr>
          <p:spPr>
            <a:xfrm>
              <a:off x="3768642" y="5937250"/>
              <a:ext cx="110098" cy="46701"/>
            </a:xfrm>
            <a:custGeom>
              <a:avLst/>
              <a:gdLst/>
              <a:ahLst/>
              <a:cxnLst>
                <a:cxn ang="0">
                  <a:pos x="wd2" y="hd2"/>
                </a:cxn>
                <a:cxn ang="5400000">
                  <a:pos x="wd2" y="hd2"/>
                </a:cxn>
                <a:cxn ang="10800000">
                  <a:pos x="wd2" y="hd2"/>
                </a:cxn>
                <a:cxn ang="16200000">
                  <a:pos x="wd2" y="hd2"/>
                </a:cxn>
              </a:cxnLst>
              <a:rect l="0" t="0" r="r" b="b"/>
              <a:pathLst>
                <a:path w="21600" h="21600" extrusionOk="0">
                  <a:moveTo>
                    <a:pt x="8319" y="0"/>
                  </a:moveTo>
                  <a:lnTo>
                    <a:pt x="5026" y="117"/>
                  </a:lnTo>
                  <a:cubicBezTo>
                    <a:pt x="4484" y="789"/>
                    <a:pt x="3941" y="1461"/>
                    <a:pt x="3399" y="2133"/>
                  </a:cubicBezTo>
                  <a:cubicBezTo>
                    <a:pt x="2857" y="2805"/>
                    <a:pt x="2314" y="3476"/>
                    <a:pt x="1772" y="4148"/>
                  </a:cubicBezTo>
                  <a:lnTo>
                    <a:pt x="4542" y="6577"/>
                  </a:lnTo>
                  <a:lnTo>
                    <a:pt x="3392" y="10753"/>
                  </a:lnTo>
                  <a:lnTo>
                    <a:pt x="0" y="11818"/>
                  </a:lnTo>
                  <a:lnTo>
                    <a:pt x="1581" y="16345"/>
                  </a:lnTo>
                  <a:lnTo>
                    <a:pt x="4913" y="16345"/>
                  </a:lnTo>
                  <a:lnTo>
                    <a:pt x="7757" y="19148"/>
                  </a:lnTo>
                  <a:lnTo>
                    <a:pt x="10993" y="21600"/>
                  </a:lnTo>
                  <a:lnTo>
                    <a:pt x="14223" y="19761"/>
                  </a:lnTo>
                  <a:lnTo>
                    <a:pt x="14972" y="14169"/>
                  </a:lnTo>
                  <a:lnTo>
                    <a:pt x="18108" y="8928"/>
                  </a:lnTo>
                  <a:lnTo>
                    <a:pt x="21600" y="7876"/>
                  </a:lnTo>
                  <a:lnTo>
                    <a:pt x="21600" y="3101"/>
                  </a:lnTo>
                  <a:lnTo>
                    <a:pt x="19411" y="1378"/>
                  </a:lnTo>
                  <a:lnTo>
                    <a:pt x="17621" y="692"/>
                  </a:lnTo>
                  <a:lnTo>
                    <a:pt x="12533" y="2093"/>
                  </a:lnTo>
                  <a:lnTo>
                    <a:pt x="10949" y="1393"/>
                  </a:lnTo>
                  <a:lnTo>
                    <a:pt x="8319" y="0"/>
                  </a:lnTo>
                  <a:close/>
                </a:path>
              </a:pathLst>
            </a:custGeom>
            <a:grpFill/>
            <a:ln w="25400" cap="flat">
              <a:noFill/>
              <a:prstDash val="solid"/>
              <a:miter lim="400000"/>
            </a:ln>
            <a:effectLst/>
          </p:spPr>
          <p:txBody>
            <a:bodyPr anchor="ctr"/>
            <a:lstStyle/>
            <a:p>
              <a:pPr algn="ctr"/>
              <a:endParaRPr/>
            </a:p>
          </p:txBody>
        </p:sp>
        <p:sp>
          <p:nvSpPr>
            <p:cNvPr id="61" name="任意多边形: 形状 60">
              <a:extLst>
                <a:ext uri="{FF2B5EF4-FFF2-40B4-BE49-F238E27FC236}">
                  <a16:creationId xmlns:a16="http://schemas.microsoft.com/office/drawing/2014/main" id="{86805DC1-DEAD-4F0E-9B3B-C153592350BC}"/>
                </a:ext>
              </a:extLst>
            </p:cNvPr>
            <p:cNvSpPr/>
            <p:nvPr/>
          </p:nvSpPr>
          <p:spPr>
            <a:xfrm>
              <a:off x="4951705" y="2729160"/>
              <a:ext cx="2278812" cy="2612773"/>
            </a:xfrm>
            <a:custGeom>
              <a:avLst/>
              <a:gdLst/>
              <a:ahLst/>
              <a:cxnLst>
                <a:cxn ang="0">
                  <a:pos x="wd2" y="hd2"/>
                </a:cxn>
                <a:cxn ang="5400000">
                  <a:pos x="wd2" y="hd2"/>
                </a:cxn>
                <a:cxn ang="10800000">
                  <a:pos x="wd2" y="hd2"/>
                </a:cxn>
                <a:cxn ang="16200000">
                  <a:pos x="wd2" y="hd2"/>
                </a:cxn>
              </a:cxnLst>
              <a:rect l="0" t="0" r="r" b="b"/>
              <a:pathLst>
                <a:path w="21600" h="21600" extrusionOk="0">
                  <a:moveTo>
                    <a:pt x="11905" y="1298"/>
                  </a:moveTo>
                  <a:lnTo>
                    <a:pt x="11748" y="1386"/>
                  </a:lnTo>
                  <a:lnTo>
                    <a:pt x="11649" y="1501"/>
                  </a:lnTo>
                  <a:lnTo>
                    <a:pt x="11657" y="1629"/>
                  </a:lnTo>
                  <a:lnTo>
                    <a:pt x="11744" y="1704"/>
                  </a:lnTo>
                  <a:lnTo>
                    <a:pt x="11765" y="1791"/>
                  </a:lnTo>
                  <a:lnTo>
                    <a:pt x="11622" y="1915"/>
                  </a:lnTo>
                  <a:lnTo>
                    <a:pt x="11470" y="2059"/>
                  </a:lnTo>
                  <a:lnTo>
                    <a:pt x="11326" y="2096"/>
                  </a:lnTo>
                  <a:lnTo>
                    <a:pt x="11204" y="2078"/>
                  </a:lnTo>
                  <a:lnTo>
                    <a:pt x="10972" y="2003"/>
                  </a:lnTo>
                  <a:lnTo>
                    <a:pt x="10824" y="1959"/>
                  </a:lnTo>
                  <a:lnTo>
                    <a:pt x="10659" y="1903"/>
                  </a:lnTo>
                  <a:lnTo>
                    <a:pt x="10370" y="1872"/>
                  </a:lnTo>
                  <a:lnTo>
                    <a:pt x="10297" y="1768"/>
                  </a:lnTo>
                  <a:lnTo>
                    <a:pt x="10194" y="1639"/>
                  </a:lnTo>
                  <a:lnTo>
                    <a:pt x="10095" y="1497"/>
                  </a:lnTo>
                  <a:lnTo>
                    <a:pt x="9893" y="1403"/>
                  </a:lnTo>
                  <a:lnTo>
                    <a:pt x="9738" y="1384"/>
                  </a:lnTo>
                  <a:lnTo>
                    <a:pt x="9487" y="1311"/>
                  </a:lnTo>
                  <a:lnTo>
                    <a:pt x="9256" y="1311"/>
                  </a:lnTo>
                  <a:lnTo>
                    <a:pt x="9130" y="1305"/>
                  </a:lnTo>
                  <a:lnTo>
                    <a:pt x="9053" y="1242"/>
                  </a:lnTo>
                  <a:lnTo>
                    <a:pt x="8911" y="1116"/>
                  </a:lnTo>
                  <a:lnTo>
                    <a:pt x="8694" y="947"/>
                  </a:lnTo>
                  <a:lnTo>
                    <a:pt x="8636" y="849"/>
                  </a:lnTo>
                  <a:lnTo>
                    <a:pt x="8687" y="761"/>
                  </a:lnTo>
                  <a:lnTo>
                    <a:pt x="8783" y="636"/>
                  </a:lnTo>
                  <a:lnTo>
                    <a:pt x="8776" y="548"/>
                  </a:lnTo>
                  <a:lnTo>
                    <a:pt x="8704" y="440"/>
                  </a:lnTo>
                  <a:lnTo>
                    <a:pt x="8651" y="369"/>
                  </a:lnTo>
                  <a:lnTo>
                    <a:pt x="8694" y="263"/>
                  </a:lnTo>
                  <a:lnTo>
                    <a:pt x="8750" y="213"/>
                  </a:lnTo>
                  <a:lnTo>
                    <a:pt x="8706" y="120"/>
                  </a:lnTo>
                  <a:lnTo>
                    <a:pt x="8574" y="53"/>
                  </a:lnTo>
                  <a:lnTo>
                    <a:pt x="8473" y="0"/>
                  </a:lnTo>
                  <a:lnTo>
                    <a:pt x="8301" y="31"/>
                  </a:lnTo>
                  <a:lnTo>
                    <a:pt x="8038" y="123"/>
                  </a:lnTo>
                  <a:lnTo>
                    <a:pt x="7831" y="167"/>
                  </a:lnTo>
                  <a:lnTo>
                    <a:pt x="7542" y="204"/>
                  </a:lnTo>
                  <a:lnTo>
                    <a:pt x="7323" y="198"/>
                  </a:lnTo>
                  <a:lnTo>
                    <a:pt x="7098" y="173"/>
                  </a:lnTo>
                  <a:lnTo>
                    <a:pt x="6861" y="167"/>
                  </a:lnTo>
                  <a:lnTo>
                    <a:pt x="6735" y="117"/>
                  </a:lnTo>
                  <a:lnTo>
                    <a:pt x="6538" y="97"/>
                  </a:lnTo>
                  <a:lnTo>
                    <a:pt x="6405" y="145"/>
                  </a:lnTo>
                  <a:lnTo>
                    <a:pt x="6221" y="214"/>
                  </a:lnTo>
                  <a:lnTo>
                    <a:pt x="6040" y="224"/>
                  </a:lnTo>
                  <a:lnTo>
                    <a:pt x="5774" y="295"/>
                  </a:lnTo>
                  <a:lnTo>
                    <a:pt x="5503" y="389"/>
                  </a:lnTo>
                  <a:lnTo>
                    <a:pt x="5346" y="481"/>
                  </a:lnTo>
                  <a:lnTo>
                    <a:pt x="5159" y="600"/>
                  </a:lnTo>
                  <a:lnTo>
                    <a:pt x="4994" y="675"/>
                  </a:lnTo>
                  <a:cubicBezTo>
                    <a:pt x="4958" y="685"/>
                    <a:pt x="4920" y="693"/>
                    <a:pt x="4883" y="698"/>
                  </a:cubicBezTo>
                  <a:cubicBezTo>
                    <a:pt x="4849" y="702"/>
                    <a:pt x="4815" y="704"/>
                    <a:pt x="4781" y="704"/>
                  </a:cubicBezTo>
                  <a:lnTo>
                    <a:pt x="4638" y="679"/>
                  </a:lnTo>
                  <a:lnTo>
                    <a:pt x="4547" y="675"/>
                  </a:lnTo>
                  <a:lnTo>
                    <a:pt x="4417" y="656"/>
                  </a:lnTo>
                  <a:lnTo>
                    <a:pt x="4244" y="637"/>
                  </a:lnTo>
                  <a:lnTo>
                    <a:pt x="4107" y="562"/>
                  </a:lnTo>
                  <a:lnTo>
                    <a:pt x="3988" y="482"/>
                  </a:lnTo>
                  <a:lnTo>
                    <a:pt x="3873" y="464"/>
                  </a:lnTo>
                  <a:lnTo>
                    <a:pt x="3807" y="533"/>
                  </a:lnTo>
                  <a:lnTo>
                    <a:pt x="3751" y="608"/>
                  </a:lnTo>
                  <a:lnTo>
                    <a:pt x="3646" y="730"/>
                  </a:lnTo>
                  <a:lnTo>
                    <a:pt x="3580" y="822"/>
                  </a:lnTo>
                  <a:lnTo>
                    <a:pt x="3480" y="939"/>
                  </a:lnTo>
                  <a:lnTo>
                    <a:pt x="3212" y="1058"/>
                  </a:lnTo>
                  <a:lnTo>
                    <a:pt x="2961" y="1162"/>
                  </a:lnTo>
                  <a:lnTo>
                    <a:pt x="2882" y="1237"/>
                  </a:lnTo>
                  <a:lnTo>
                    <a:pt x="2746" y="1325"/>
                  </a:lnTo>
                  <a:lnTo>
                    <a:pt x="2704" y="1430"/>
                  </a:lnTo>
                  <a:lnTo>
                    <a:pt x="2576" y="1610"/>
                  </a:lnTo>
                  <a:lnTo>
                    <a:pt x="2532" y="1707"/>
                  </a:lnTo>
                  <a:lnTo>
                    <a:pt x="2566" y="1826"/>
                  </a:lnTo>
                  <a:lnTo>
                    <a:pt x="2573" y="1918"/>
                  </a:lnTo>
                  <a:lnTo>
                    <a:pt x="2559" y="2012"/>
                  </a:lnTo>
                  <a:lnTo>
                    <a:pt x="2544" y="2114"/>
                  </a:lnTo>
                  <a:lnTo>
                    <a:pt x="2436" y="2195"/>
                  </a:lnTo>
                  <a:lnTo>
                    <a:pt x="2269" y="2330"/>
                  </a:lnTo>
                  <a:lnTo>
                    <a:pt x="2091" y="2512"/>
                  </a:lnTo>
                  <a:lnTo>
                    <a:pt x="1925" y="2605"/>
                  </a:lnTo>
                  <a:lnTo>
                    <a:pt x="1797" y="2653"/>
                  </a:lnTo>
                  <a:lnTo>
                    <a:pt x="1647" y="2722"/>
                  </a:lnTo>
                  <a:lnTo>
                    <a:pt x="1528" y="2808"/>
                  </a:lnTo>
                  <a:lnTo>
                    <a:pt x="1447" y="2931"/>
                  </a:lnTo>
                  <a:lnTo>
                    <a:pt x="1332" y="3038"/>
                  </a:lnTo>
                  <a:lnTo>
                    <a:pt x="1173" y="3213"/>
                  </a:lnTo>
                  <a:lnTo>
                    <a:pt x="1030" y="3388"/>
                  </a:lnTo>
                  <a:lnTo>
                    <a:pt x="1001" y="3475"/>
                  </a:lnTo>
                  <a:lnTo>
                    <a:pt x="951" y="3585"/>
                  </a:lnTo>
                  <a:lnTo>
                    <a:pt x="845" y="3723"/>
                  </a:lnTo>
                  <a:lnTo>
                    <a:pt x="700" y="3911"/>
                  </a:lnTo>
                  <a:lnTo>
                    <a:pt x="650" y="4048"/>
                  </a:lnTo>
                  <a:lnTo>
                    <a:pt x="448" y="4221"/>
                  </a:lnTo>
                  <a:lnTo>
                    <a:pt x="410" y="4305"/>
                  </a:lnTo>
                  <a:lnTo>
                    <a:pt x="349" y="4386"/>
                  </a:lnTo>
                  <a:lnTo>
                    <a:pt x="269" y="4455"/>
                  </a:lnTo>
                  <a:lnTo>
                    <a:pt x="232" y="4555"/>
                  </a:lnTo>
                  <a:lnTo>
                    <a:pt x="226" y="4651"/>
                  </a:lnTo>
                  <a:lnTo>
                    <a:pt x="176" y="4751"/>
                  </a:lnTo>
                  <a:lnTo>
                    <a:pt x="156" y="4813"/>
                  </a:lnTo>
                  <a:lnTo>
                    <a:pt x="163" y="4888"/>
                  </a:lnTo>
                  <a:lnTo>
                    <a:pt x="220" y="5002"/>
                  </a:lnTo>
                  <a:lnTo>
                    <a:pt x="292" y="5121"/>
                  </a:lnTo>
                  <a:lnTo>
                    <a:pt x="355" y="5258"/>
                  </a:lnTo>
                  <a:lnTo>
                    <a:pt x="369" y="5453"/>
                  </a:lnTo>
                  <a:lnTo>
                    <a:pt x="413" y="5578"/>
                  </a:lnTo>
                  <a:lnTo>
                    <a:pt x="477" y="5695"/>
                  </a:lnTo>
                  <a:lnTo>
                    <a:pt x="477" y="5825"/>
                  </a:lnTo>
                  <a:lnTo>
                    <a:pt x="441" y="5944"/>
                  </a:lnTo>
                  <a:lnTo>
                    <a:pt x="405" y="6019"/>
                  </a:lnTo>
                  <a:lnTo>
                    <a:pt x="391" y="6138"/>
                  </a:lnTo>
                  <a:lnTo>
                    <a:pt x="355" y="6250"/>
                  </a:lnTo>
                  <a:lnTo>
                    <a:pt x="307" y="6323"/>
                  </a:lnTo>
                  <a:lnTo>
                    <a:pt x="280" y="6392"/>
                  </a:lnTo>
                  <a:lnTo>
                    <a:pt x="215" y="6459"/>
                  </a:lnTo>
                  <a:lnTo>
                    <a:pt x="80" y="6545"/>
                  </a:lnTo>
                  <a:lnTo>
                    <a:pt x="0" y="6592"/>
                  </a:lnTo>
                  <a:lnTo>
                    <a:pt x="0" y="6680"/>
                  </a:lnTo>
                  <a:lnTo>
                    <a:pt x="74" y="6761"/>
                  </a:lnTo>
                  <a:lnTo>
                    <a:pt x="110" y="6891"/>
                  </a:lnTo>
                  <a:lnTo>
                    <a:pt x="117" y="7009"/>
                  </a:lnTo>
                  <a:lnTo>
                    <a:pt x="117" y="7138"/>
                  </a:lnTo>
                  <a:lnTo>
                    <a:pt x="61" y="7213"/>
                  </a:lnTo>
                  <a:lnTo>
                    <a:pt x="54" y="7299"/>
                  </a:lnTo>
                  <a:lnTo>
                    <a:pt x="185" y="7447"/>
                  </a:lnTo>
                  <a:lnTo>
                    <a:pt x="278" y="7578"/>
                  </a:lnTo>
                  <a:lnTo>
                    <a:pt x="459" y="7641"/>
                  </a:lnTo>
                  <a:lnTo>
                    <a:pt x="564" y="7676"/>
                  </a:lnTo>
                  <a:lnTo>
                    <a:pt x="670" y="7805"/>
                  </a:lnTo>
                  <a:lnTo>
                    <a:pt x="779" y="7951"/>
                  </a:lnTo>
                  <a:lnTo>
                    <a:pt x="880" y="8070"/>
                  </a:lnTo>
                  <a:lnTo>
                    <a:pt x="1010" y="8216"/>
                  </a:lnTo>
                  <a:lnTo>
                    <a:pt x="1152" y="8321"/>
                  </a:lnTo>
                  <a:lnTo>
                    <a:pt x="1238" y="8546"/>
                  </a:lnTo>
                  <a:lnTo>
                    <a:pt x="1195" y="8652"/>
                  </a:lnTo>
                  <a:lnTo>
                    <a:pt x="1275" y="8822"/>
                  </a:lnTo>
                  <a:lnTo>
                    <a:pt x="1378" y="8876"/>
                  </a:lnTo>
                  <a:lnTo>
                    <a:pt x="1513" y="8970"/>
                  </a:lnTo>
                  <a:lnTo>
                    <a:pt x="1679" y="9195"/>
                  </a:lnTo>
                  <a:lnTo>
                    <a:pt x="1843" y="9284"/>
                  </a:lnTo>
                  <a:lnTo>
                    <a:pt x="1963" y="9393"/>
                  </a:lnTo>
                  <a:lnTo>
                    <a:pt x="2026" y="9468"/>
                  </a:lnTo>
                  <a:lnTo>
                    <a:pt x="2137" y="9480"/>
                  </a:lnTo>
                  <a:lnTo>
                    <a:pt x="2185" y="9549"/>
                  </a:lnTo>
                  <a:lnTo>
                    <a:pt x="2387" y="9655"/>
                  </a:lnTo>
                  <a:lnTo>
                    <a:pt x="2546" y="9722"/>
                  </a:lnTo>
                  <a:lnTo>
                    <a:pt x="2676" y="9747"/>
                  </a:lnTo>
                  <a:lnTo>
                    <a:pt x="2864" y="9801"/>
                  </a:lnTo>
                  <a:lnTo>
                    <a:pt x="3059" y="9868"/>
                  </a:lnTo>
                  <a:lnTo>
                    <a:pt x="3321" y="9803"/>
                  </a:lnTo>
                  <a:lnTo>
                    <a:pt x="3355" y="9741"/>
                  </a:lnTo>
                  <a:lnTo>
                    <a:pt x="3514" y="9656"/>
                  </a:lnTo>
                  <a:lnTo>
                    <a:pt x="3671" y="9656"/>
                  </a:lnTo>
                  <a:lnTo>
                    <a:pt x="3834" y="9668"/>
                  </a:lnTo>
                  <a:lnTo>
                    <a:pt x="3928" y="9618"/>
                  </a:lnTo>
                  <a:lnTo>
                    <a:pt x="4065" y="9568"/>
                  </a:lnTo>
                  <a:lnTo>
                    <a:pt x="4183" y="9562"/>
                  </a:lnTo>
                  <a:lnTo>
                    <a:pt x="4264" y="9614"/>
                  </a:lnTo>
                  <a:lnTo>
                    <a:pt x="4399" y="9656"/>
                  </a:lnTo>
                  <a:lnTo>
                    <a:pt x="4491" y="9685"/>
                  </a:lnTo>
                  <a:lnTo>
                    <a:pt x="4570" y="9697"/>
                  </a:lnTo>
                  <a:lnTo>
                    <a:pt x="4741" y="9672"/>
                  </a:lnTo>
                  <a:lnTo>
                    <a:pt x="4835" y="9629"/>
                  </a:lnTo>
                  <a:lnTo>
                    <a:pt x="5049" y="9541"/>
                  </a:lnTo>
                  <a:lnTo>
                    <a:pt x="5236" y="9504"/>
                  </a:lnTo>
                  <a:lnTo>
                    <a:pt x="5409" y="9560"/>
                  </a:lnTo>
                  <a:lnTo>
                    <a:pt x="5568" y="9456"/>
                  </a:lnTo>
                  <a:lnTo>
                    <a:pt x="5900" y="9362"/>
                  </a:lnTo>
                  <a:lnTo>
                    <a:pt x="6211" y="9231"/>
                  </a:lnTo>
                  <a:lnTo>
                    <a:pt x="6387" y="9206"/>
                  </a:lnTo>
                  <a:lnTo>
                    <a:pt x="6552" y="9212"/>
                  </a:lnTo>
                  <a:lnTo>
                    <a:pt x="6746" y="9256"/>
                  </a:lnTo>
                  <a:lnTo>
                    <a:pt x="6865" y="9309"/>
                  </a:lnTo>
                  <a:lnTo>
                    <a:pt x="6951" y="9353"/>
                  </a:lnTo>
                  <a:lnTo>
                    <a:pt x="7023" y="9409"/>
                  </a:lnTo>
                  <a:lnTo>
                    <a:pt x="7103" y="9497"/>
                  </a:lnTo>
                  <a:lnTo>
                    <a:pt x="7134" y="9626"/>
                  </a:lnTo>
                  <a:lnTo>
                    <a:pt x="7148" y="9713"/>
                  </a:lnTo>
                  <a:lnTo>
                    <a:pt x="7170" y="9786"/>
                  </a:lnTo>
                  <a:lnTo>
                    <a:pt x="7298" y="9829"/>
                  </a:lnTo>
                  <a:lnTo>
                    <a:pt x="7435" y="9842"/>
                  </a:lnTo>
                  <a:lnTo>
                    <a:pt x="7584" y="9786"/>
                  </a:lnTo>
                  <a:lnTo>
                    <a:pt x="7980" y="9786"/>
                  </a:lnTo>
                  <a:lnTo>
                    <a:pt x="8202" y="9831"/>
                  </a:lnTo>
                  <a:lnTo>
                    <a:pt x="8289" y="9968"/>
                  </a:lnTo>
                  <a:lnTo>
                    <a:pt x="8455" y="10087"/>
                  </a:lnTo>
                  <a:lnTo>
                    <a:pt x="8491" y="10175"/>
                  </a:lnTo>
                  <a:lnTo>
                    <a:pt x="8498" y="10323"/>
                  </a:lnTo>
                  <a:lnTo>
                    <a:pt x="8534" y="10455"/>
                  </a:lnTo>
                  <a:lnTo>
                    <a:pt x="8534" y="10567"/>
                  </a:lnTo>
                  <a:lnTo>
                    <a:pt x="8486" y="10709"/>
                  </a:lnTo>
                  <a:lnTo>
                    <a:pt x="8438" y="10877"/>
                  </a:lnTo>
                  <a:lnTo>
                    <a:pt x="8421" y="11008"/>
                  </a:lnTo>
                  <a:lnTo>
                    <a:pt x="8356" y="11171"/>
                  </a:lnTo>
                  <a:lnTo>
                    <a:pt x="8236" y="11348"/>
                  </a:lnTo>
                  <a:lnTo>
                    <a:pt x="8272" y="11458"/>
                  </a:lnTo>
                  <a:lnTo>
                    <a:pt x="8279" y="11545"/>
                  </a:lnTo>
                  <a:lnTo>
                    <a:pt x="8322" y="11649"/>
                  </a:lnTo>
                  <a:lnTo>
                    <a:pt x="8387" y="11749"/>
                  </a:lnTo>
                  <a:lnTo>
                    <a:pt x="8437" y="11849"/>
                  </a:lnTo>
                  <a:lnTo>
                    <a:pt x="8567" y="11936"/>
                  </a:lnTo>
                  <a:lnTo>
                    <a:pt x="8726" y="12086"/>
                  </a:lnTo>
                  <a:lnTo>
                    <a:pt x="8935" y="12257"/>
                  </a:lnTo>
                  <a:lnTo>
                    <a:pt x="9193" y="12538"/>
                  </a:lnTo>
                  <a:lnTo>
                    <a:pt x="9222" y="12667"/>
                  </a:lnTo>
                  <a:lnTo>
                    <a:pt x="9215" y="12761"/>
                  </a:lnTo>
                  <a:lnTo>
                    <a:pt x="9229" y="12888"/>
                  </a:lnTo>
                  <a:lnTo>
                    <a:pt x="9266" y="13018"/>
                  </a:lnTo>
                  <a:lnTo>
                    <a:pt x="9302" y="13097"/>
                  </a:lnTo>
                  <a:lnTo>
                    <a:pt x="9403" y="13235"/>
                  </a:lnTo>
                  <a:lnTo>
                    <a:pt x="9453" y="13316"/>
                  </a:lnTo>
                  <a:lnTo>
                    <a:pt x="9566" y="13451"/>
                  </a:lnTo>
                  <a:lnTo>
                    <a:pt x="9766" y="13633"/>
                  </a:lnTo>
                  <a:lnTo>
                    <a:pt x="9692" y="13770"/>
                  </a:lnTo>
                  <a:lnTo>
                    <a:pt x="9591" y="13864"/>
                  </a:lnTo>
                  <a:lnTo>
                    <a:pt x="9591" y="13962"/>
                  </a:lnTo>
                  <a:lnTo>
                    <a:pt x="9620" y="14068"/>
                  </a:lnTo>
                  <a:lnTo>
                    <a:pt x="9710" y="14197"/>
                  </a:lnTo>
                  <a:lnTo>
                    <a:pt x="9780" y="14370"/>
                  </a:lnTo>
                  <a:lnTo>
                    <a:pt x="9795" y="14482"/>
                  </a:lnTo>
                  <a:lnTo>
                    <a:pt x="9802" y="14588"/>
                  </a:lnTo>
                  <a:lnTo>
                    <a:pt x="9775" y="14690"/>
                  </a:lnTo>
                  <a:lnTo>
                    <a:pt x="9739" y="14790"/>
                  </a:lnTo>
                  <a:lnTo>
                    <a:pt x="9667" y="14915"/>
                  </a:lnTo>
                  <a:lnTo>
                    <a:pt x="9609" y="15021"/>
                  </a:lnTo>
                  <a:lnTo>
                    <a:pt x="9530" y="15132"/>
                  </a:lnTo>
                  <a:lnTo>
                    <a:pt x="9479" y="15276"/>
                  </a:lnTo>
                  <a:lnTo>
                    <a:pt x="9395" y="15443"/>
                  </a:lnTo>
                  <a:lnTo>
                    <a:pt x="9345" y="15586"/>
                  </a:lnTo>
                  <a:lnTo>
                    <a:pt x="9275" y="15726"/>
                  </a:lnTo>
                  <a:lnTo>
                    <a:pt x="9162" y="15929"/>
                  </a:lnTo>
                  <a:lnTo>
                    <a:pt x="9125" y="16060"/>
                  </a:lnTo>
                  <a:lnTo>
                    <a:pt x="9118" y="16204"/>
                  </a:lnTo>
                  <a:lnTo>
                    <a:pt x="9133" y="16366"/>
                  </a:lnTo>
                  <a:lnTo>
                    <a:pt x="9145" y="16558"/>
                  </a:lnTo>
                  <a:lnTo>
                    <a:pt x="9224" y="16671"/>
                  </a:lnTo>
                  <a:lnTo>
                    <a:pt x="9275" y="16808"/>
                  </a:lnTo>
                  <a:lnTo>
                    <a:pt x="9364" y="16942"/>
                  </a:lnTo>
                  <a:lnTo>
                    <a:pt x="9448" y="17105"/>
                  </a:lnTo>
                  <a:lnTo>
                    <a:pt x="9540" y="17211"/>
                  </a:lnTo>
                  <a:lnTo>
                    <a:pt x="9663" y="17399"/>
                  </a:lnTo>
                  <a:lnTo>
                    <a:pt x="9739" y="17522"/>
                  </a:lnTo>
                  <a:lnTo>
                    <a:pt x="9826" y="17703"/>
                  </a:lnTo>
                  <a:lnTo>
                    <a:pt x="9978" y="17846"/>
                  </a:lnTo>
                  <a:lnTo>
                    <a:pt x="9978" y="17984"/>
                  </a:lnTo>
                  <a:lnTo>
                    <a:pt x="10014" y="18084"/>
                  </a:lnTo>
                  <a:lnTo>
                    <a:pt x="10050" y="18240"/>
                  </a:lnTo>
                  <a:lnTo>
                    <a:pt x="10081" y="18371"/>
                  </a:lnTo>
                  <a:lnTo>
                    <a:pt x="10146" y="18518"/>
                  </a:lnTo>
                  <a:lnTo>
                    <a:pt x="10197" y="18674"/>
                  </a:lnTo>
                  <a:lnTo>
                    <a:pt x="10223" y="18828"/>
                  </a:lnTo>
                  <a:lnTo>
                    <a:pt x="10173" y="18905"/>
                  </a:lnTo>
                  <a:cubicBezTo>
                    <a:pt x="10161" y="18932"/>
                    <a:pt x="10154" y="18960"/>
                    <a:pt x="10154" y="18989"/>
                  </a:cubicBezTo>
                  <a:cubicBezTo>
                    <a:pt x="10153" y="19050"/>
                    <a:pt x="10179" y="19109"/>
                    <a:pt x="10226" y="19154"/>
                  </a:cubicBezTo>
                  <a:lnTo>
                    <a:pt x="10226" y="19319"/>
                  </a:lnTo>
                  <a:lnTo>
                    <a:pt x="10198" y="19438"/>
                  </a:lnTo>
                  <a:lnTo>
                    <a:pt x="10205" y="19569"/>
                  </a:lnTo>
                  <a:lnTo>
                    <a:pt x="10335" y="19657"/>
                  </a:lnTo>
                  <a:cubicBezTo>
                    <a:pt x="10390" y="19680"/>
                    <a:pt x="10437" y="19714"/>
                    <a:pt x="10472" y="19757"/>
                  </a:cubicBezTo>
                  <a:cubicBezTo>
                    <a:pt x="10520" y="19816"/>
                    <a:pt x="10543" y="19887"/>
                    <a:pt x="10537" y="19959"/>
                  </a:cubicBezTo>
                  <a:cubicBezTo>
                    <a:pt x="10582" y="19972"/>
                    <a:pt x="10624" y="19991"/>
                    <a:pt x="10662" y="20015"/>
                  </a:cubicBezTo>
                  <a:cubicBezTo>
                    <a:pt x="10709" y="20045"/>
                    <a:pt x="10748" y="20083"/>
                    <a:pt x="10778" y="20126"/>
                  </a:cubicBezTo>
                  <a:lnTo>
                    <a:pt x="10833" y="20258"/>
                  </a:lnTo>
                  <a:lnTo>
                    <a:pt x="10886" y="20443"/>
                  </a:lnTo>
                  <a:lnTo>
                    <a:pt x="10987" y="20518"/>
                  </a:lnTo>
                  <a:lnTo>
                    <a:pt x="11146" y="20643"/>
                  </a:lnTo>
                  <a:lnTo>
                    <a:pt x="11228" y="20767"/>
                  </a:lnTo>
                  <a:lnTo>
                    <a:pt x="11192" y="20929"/>
                  </a:lnTo>
                  <a:lnTo>
                    <a:pt x="11116" y="20979"/>
                  </a:lnTo>
                  <a:lnTo>
                    <a:pt x="11094" y="21129"/>
                  </a:lnTo>
                  <a:lnTo>
                    <a:pt x="11138" y="21216"/>
                  </a:lnTo>
                  <a:lnTo>
                    <a:pt x="11232" y="21323"/>
                  </a:lnTo>
                  <a:lnTo>
                    <a:pt x="11296" y="21404"/>
                  </a:lnTo>
                  <a:lnTo>
                    <a:pt x="11398" y="21485"/>
                  </a:lnTo>
                  <a:lnTo>
                    <a:pt x="11510" y="21554"/>
                  </a:lnTo>
                  <a:lnTo>
                    <a:pt x="11611" y="21600"/>
                  </a:lnTo>
                  <a:lnTo>
                    <a:pt x="11710" y="21587"/>
                  </a:lnTo>
                  <a:lnTo>
                    <a:pt x="11885" y="21519"/>
                  </a:lnTo>
                  <a:lnTo>
                    <a:pt x="12056" y="21494"/>
                  </a:lnTo>
                  <a:lnTo>
                    <a:pt x="12201" y="21481"/>
                  </a:lnTo>
                  <a:lnTo>
                    <a:pt x="12338" y="21418"/>
                  </a:lnTo>
                  <a:lnTo>
                    <a:pt x="12439" y="21389"/>
                  </a:lnTo>
                  <a:lnTo>
                    <a:pt x="12576" y="21408"/>
                  </a:lnTo>
                  <a:lnTo>
                    <a:pt x="12739" y="21426"/>
                  </a:lnTo>
                  <a:lnTo>
                    <a:pt x="12983" y="21499"/>
                  </a:lnTo>
                  <a:lnTo>
                    <a:pt x="13082" y="21535"/>
                  </a:lnTo>
                  <a:lnTo>
                    <a:pt x="13262" y="21478"/>
                  </a:lnTo>
                  <a:lnTo>
                    <a:pt x="13457" y="21372"/>
                  </a:lnTo>
                  <a:lnTo>
                    <a:pt x="13645" y="21293"/>
                  </a:lnTo>
                  <a:lnTo>
                    <a:pt x="13855" y="21184"/>
                  </a:lnTo>
                  <a:lnTo>
                    <a:pt x="13917" y="21124"/>
                  </a:lnTo>
                  <a:lnTo>
                    <a:pt x="14020" y="21112"/>
                  </a:lnTo>
                  <a:lnTo>
                    <a:pt x="14140" y="20918"/>
                  </a:lnTo>
                  <a:lnTo>
                    <a:pt x="14308" y="20841"/>
                  </a:lnTo>
                  <a:lnTo>
                    <a:pt x="14496" y="20735"/>
                  </a:lnTo>
                  <a:lnTo>
                    <a:pt x="14532" y="20631"/>
                  </a:lnTo>
                  <a:cubicBezTo>
                    <a:pt x="14523" y="20597"/>
                    <a:pt x="14526" y="20563"/>
                    <a:pt x="14539" y="20531"/>
                  </a:cubicBezTo>
                  <a:cubicBezTo>
                    <a:pt x="14575" y="20440"/>
                    <a:pt x="14682" y="20384"/>
                    <a:pt x="14791" y="20399"/>
                  </a:cubicBezTo>
                  <a:lnTo>
                    <a:pt x="14996" y="20260"/>
                  </a:lnTo>
                  <a:lnTo>
                    <a:pt x="15107" y="20110"/>
                  </a:lnTo>
                  <a:lnTo>
                    <a:pt x="15150" y="19997"/>
                  </a:lnTo>
                  <a:lnTo>
                    <a:pt x="15186" y="19891"/>
                  </a:lnTo>
                  <a:lnTo>
                    <a:pt x="15369" y="19792"/>
                  </a:lnTo>
                  <a:lnTo>
                    <a:pt x="15454" y="19676"/>
                  </a:lnTo>
                  <a:lnTo>
                    <a:pt x="15576" y="19632"/>
                  </a:lnTo>
                  <a:lnTo>
                    <a:pt x="15638" y="19549"/>
                  </a:lnTo>
                  <a:lnTo>
                    <a:pt x="15609" y="19482"/>
                  </a:lnTo>
                  <a:lnTo>
                    <a:pt x="15554" y="19391"/>
                  </a:lnTo>
                  <a:lnTo>
                    <a:pt x="15540" y="19247"/>
                  </a:lnTo>
                  <a:lnTo>
                    <a:pt x="15594" y="18994"/>
                  </a:lnTo>
                  <a:lnTo>
                    <a:pt x="15680" y="18888"/>
                  </a:lnTo>
                  <a:lnTo>
                    <a:pt x="15783" y="18803"/>
                  </a:lnTo>
                  <a:lnTo>
                    <a:pt x="16108" y="18703"/>
                  </a:lnTo>
                  <a:lnTo>
                    <a:pt x="16294" y="18563"/>
                  </a:lnTo>
                  <a:lnTo>
                    <a:pt x="16356" y="18482"/>
                  </a:lnTo>
                  <a:lnTo>
                    <a:pt x="16450" y="18419"/>
                  </a:lnTo>
                  <a:lnTo>
                    <a:pt x="16505" y="18325"/>
                  </a:lnTo>
                  <a:lnTo>
                    <a:pt x="16541" y="18156"/>
                  </a:lnTo>
                  <a:lnTo>
                    <a:pt x="16548" y="18043"/>
                  </a:lnTo>
                  <a:lnTo>
                    <a:pt x="16548" y="17943"/>
                  </a:lnTo>
                  <a:lnTo>
                    <a:pt x="16457" y="17826"/>
                  </a:lnTo>
                  <a:lnTo>
                    <a:pt x="16334" y="17670"/>
                  </a:lnTo>
                  <a:lnTo>
                    <a:pt x="16240" y="17538"/>
                  </a:lnTo>
                  <a:lnTo>
                    <a:pt x="16254" y="17449"/>
                  </a:lnTo>
                  <a:lnTo>
                    <a:pt x="16304" y="17342"/>
                  </a:lnTo>
                  <a:lnTo>
                    <a:pt x="16369" y="17186"/>
                  </a:lnTo>
                  <a:lnTo>
                    <a:pt x="16451" y="17084"/>
                  </a:lnTo>
                  <a:lnTo>
                    <a:pt x="16585" y="16986"/>
                  </a:lnTo>
                  <a:lnTo>
                    <a:pt x="16672" y="16904"/>
                  </a:lnTo>
                  <a:lnTo>
                    <a:pt x="16819" y="16806"/>
                  </a:lnTo>
                  <a:lnTo>
                    <a:pt x="16908" y="16667"/>
                  </a:lnTo>
                  <a:lnTo>
                    <a:pt x="17014" y="16561"/>
                  </a:lnTo>
                  <a:lnTo>
                    <a:pt x="17093" y="16492"/>
                  </a:lnTo>
                  <a:lnTo>
                    <a:pt x="17208" y="16417"/>
                  </a:lnTo>
                  <a:lnTo>
                    <a:pt x="17512" y="16298"/>
                  </a:lnTo>
                  <a:lnTo>
                    <a:pt x="17764" y="16173"/>
                  </a:lnTo>
                  <a:lnTo>
                    <a:pt x="17834" y="16130"/>
                  </a:lnTo>
                  <a:lnTo>
                    <a:pt x="18026" y="15990"/>
                  </a:lnTo>
                  <a:cubicBezTo>
                    <a:pt x="18082" y="15956"/>
                    <a:pt x="18127" y="15911"/>
                    <a:pt x="18157" y="15859"/>
                  </a:cubicBezTo>
                  <a:cubicBezTo>
                    <a:pt x="18188" y="15803"/>
                    <a:pt x="18203" y="15741"/>
                    <a:pt x="18198" y="15679"/>
                  </a:cubicBezTo>
                  <a:lnTo>
                    <a:pt x="18246" y="15583"/>
                  </a:lnTo>
                  <a:lnTo>
                    <a:pt x="18366" y="15487"/>
                  </a:lnTo>
                  <a:lnTo>
                    <a:pt x="18345" y="15404"/>
                  </a:lnTo>
                  <a:lnTo>
                    <a:pt x="18243" y="15335"/>
                  </a:lnTo>
                  <a:lnTo>
                    <a:pt x="18279" y="15179"/>
                  </a:lnTo>
                  <a:lnTo>
                    <a:pt x="18265" y="15022"/>
                  </a:lnTo>
                  <a:lnTo>
                    <a:pt x="18188" y="14962"/>
                  </a:lnTo>
                  <a:cubicBezTo>
                    <a:pt x="18199" y="14916"/>
                    <a:pt x="18210" y="14869"/>
                    <a:pt x="18222" y="14823"/>
                  </a:cubicBezTo>
                  <a:cubicBezTo>
                    <a:pt x="18246" y="14730"/>
                    <a:pt x="18271" y="14638"/>
                    <a:pt x="18299" y="14547"/>
                  </a:cubicBezTo>
                  <a:lnTo>
                    <a:pt x="18285" y="14483"/>
                  </a:lnTo>
                  <a:lnTo>
                    <a:pt x="18215" y="14353"/>
                  </a:lnTo>
                  <a:lnTo>
                    <a:pt x="18136" y="14247"/>
                  </a:lnTo>
                  <a:lnTo>
                    <a:pt x="18078" y="14173"/>
                  </a:lnTo>
                  <a:lnTo>
                    <a:pt x="18002" y="14079"/>
                  </a:lnTo>
                  <a:lnTo>
                    <a:pt x="17843" y="13717"/>
                  </a:lnTo>
                  <a:lnTo>
                    <a:pt x="17758" y="13550"/>
                  </a:lnTo>
                  <a:lnTo>
                    <a:pt x="17758" y="13409"/>
                  </a:lnTo>
                  <a:lnTo>
                    <a:pt x="17751" y="13334"/>
                  </a:lnTo>
                  <a:lnTo>
                    <a:pt x="17751" y="13215"/>
                  </a:lnTo>
                  <a:lnTo>
                    <a:pt x="17758" y="13096"/>
                  </a:lnTo>
                  <a:lnTo>
                    <a:pt x="17763" y="12990"/>
                  </a:lnTo>
                  <a:lnTo>
                    <a:pt x="17785" y="12871"/>
                  </a:lnTo>
                  <a:lnTo>
                    <a:pt x="17806" y="12777"/>
                  </a:lnTo>
                  <a:lnTo>
                    <a:pt x="17847" y="12656"/>
                  </a:lnTo>
                  <a:lnTo>
                    <a:pt x="17869" y="12508"/>
                  </a:lnTo>
                  <a:lnTo>
                    <a:pt x="17948" y="12397"/>
                  </a:lnTo>
                  <a:lnTo>
                    <a:pt x="17975" y="12341"/>
                  </a:lnTo>
                  <a:lnTo>
                    <a:pt x="18025" y="12266"/>
                  </a:lnTo>
                  <a:lnTo>
                    <a:pt x="18119" y="12160"/>
                  </a:lnTo>
                  <a:lnTo>
                    <a:pt x="18213" y="12103"/>
                  </a:lnTo>
                  <a:lnTo>
                    <a:pt x="18266" y="11989"/>
                  </a:lnTo>
                  <a:lnTo>
                    <a:pt x="18374" y="11916"/>
                  </a:lnTo>
                  <a:lnTo>
                    <a:pt x="18483" y="11840"/>
                  </a:lnTo>
                  <a:lnTo>
                    <a:pt x="18706" y="11666"/>
                  </a:lnTo>
                  <a:lnTo>
                    <a:pt x="18844" y="11494"/>
                  </a:lnTo>
                  <a:lnTo>
                    <a:pt x="18938" y="11331"/>
                  </a:lnTo>
                  <a:lnTo>
                    <a:pt x="19010" y="11281"/>
                  </a:lnTo>
                  <a:lnTo>
                    <a:pt x="19096" y="11194"/>
                  </a:lnTo>
                  <a:lnTo>
                    <a:pt x="19175" y="11131"/>
                  </a:lnTo>
                  <a:lnTo>
                    <a:pt x="19282" y="10996"/>
                  </a:lnTo>
                  <a:lnTo>
                    <a:pt x="19324" y="10940"/>
                  </a:lnTo>
                  <a:lnTo>
                    <a:pt x="19389" y="10872"/>
                  </a:lnTo>
                  <a:lnTo>
                    <a:pt x="19524" y="10799"/>
                  </a:lnTo>
                  <a:cubicBezTo>
                    <a:pt x="19560" y="10778"/>
                    <a:pt x="19596" y="10758"/>
                    <a:pt x="19632" y="10738"/>
                  </a:cubicBezTo>
                  <a:cubicBezTo>
                    <a:pt x="19704" y="10698"/>
                    <a:pt x="19777" y="10660"/>
                    <a:pt x="19849" y="10621"/>
                  </a:cubicBezTo>
                  <a:lnTo>
                    <a:pt x="20001" y="10465"/>
                  </a:lnTo>
                  <a:lnTo>
                    <a:pt x="20044" y="10396"/>
                  </a:lnTo>
                  <a:lnTo>
                    <a:pt x="20145" y="10315"/>
                  </a:lnTo>
                  <a:lnTo>
                    <a:pt x="20246" y="10299"/>
                  </a:lnTo>
                  <a:lnTo>
                    <a:pt x="20366" y="10226"/>
                  </a:lnTo>
                  <a:cubicBezTo>
                    <a:pt x="20392" y="10200"/>
                    <a:pt x="20416" y="10173"/>
                    <a:pt x="20438" y="10144"/>
                  </a:cubicBezTo>
                  <a:cubicBezTo>
                    <a:pt x="20479" y="10093"/>
                    <a:pt x="20513" y="10038"/>
                    <a:pt x="20540" y="9980"/>
                  </a:cubicBezTo>
                  <a:lnTo>
                    <a:pt x="20669" y="9713"/>
                  </a:lnTo>
                  <a:lnTo>
                    <a:pt x="20763" y="9627"/>
                  </a:lnTo>
                  <a:lnTo>
                    <a:pt x="20850" y="9427"/>
                  </a:lnTo>
                  <a:lnTo>
                    <a:pt x="21053" y="9218"/>
                  </a:lnTo>
                  <a:lnTo>
                    <a:pt x="21106" y="9101"/>
                  </a:lnTo>
                  <a:lnTo>
                    <a:pt x="21207" y="8920"/>
                  </a:lnTo>
                  <a:lnTo>
                    <a:pt x="21270" y="8773"/>
                  </a:lnTo>
                  <a:lnTo>
                    <a:pt x="21345" y="8665"/>
                  </a:lnTo>
                  <a:lnTo>
                    <a:pt x="21410" y="8525"/>
                  </a:lnTo>
                  <a:lnTo>
                    <a:pt x="21516" y="8371"/>
                  </a:lnTo>
                  <a:lnTo>
                    <a:pt x="21542" y="8283"/>
                  </a:lnTo>
                  <a:lnTo>
                    <a:pt x="21600" y="8133"/>
                  </a:lnTo>
                  <a:lnTo>
                    <a:pt x="21600" y="8003"/>
                  </a:lnTo>
                  <a:lnTo>
                    <a:pt x="21549" y="7866"/>
                  </a:lnTo>
                  <a:lnTo>
                    <a:pt x="21537" y="7747"/>
                  </a:lnTo>
                  <a:lnTo>
                    <a:pt x="21528" y="7674"/>
                  </a:lnTo>
                  <a:lnTo>
                    <a:pt x="21417" y="7699"/>
                  </a:lnTo>
                  <a:lnTo>
                    <a:pt x="21251" y="7784"/>
                  </a:lnTo>
                  <a:lnTo>
                    <a:pt x="20953" y="7845"/>
                  </a:lnTo>
                  <a:lnTo>
                    <a:pt x="20707" y="7931"/>
                  </a:lnTo>
                  <a:lnTo>
                    <a:pt x="20477" y="7987"/>
                  </a:lnTo>
                  <a:lnTo>
                    <a:pt x="20226" y="8018"/>
                  </a:lnTo>
                  <a:lnTo>
                    <a:pt x="19987" y="8056"/>
                  </a:lnTo>
                  <a:lnTo>
                    <a:pt x="19901" y="8080"/>
                  </a:lnTo>
                  <a:lnTo>
                    <a:pt x="19803" y="8110"/>
                  </a:lnTo>
                  <a:lnTo>
                    <a:pt x="19721" y="8116"/>
                  </a:lnTo>
                  <a:lnTo>
                    <a:pt x="19490" y="8053"/>
                  </a:lnTo>
                  <a:cubicBezTo>
                    <a:pt x="19444" y="8038"/>
                    <a:pt x="19398" y="8022"/>
                    <a:pt x="19353" y="8003"/>
                  </a:cubicBezTo>
                  <a:cubicBezTo>
                    <a:pt x="19301" y="7982"/>
                    <a:pt x="19251" y="7959"/>
                    <a:pt x="19202" y="7934"/>
                  </a:cubicBezTo>
                  <a:lnTo>
                    <a:pt x="19144" y="7826"/>
                  </a:lnTo>
                  <a:lnTo>
                    <a:pt x="19151" y="7733"/>
                  </a:lnTo>
                  <a:lnTo>
                    <a:pt x="19091" y="7614"/>
                  </a:lnTo>
                  <a:lnTo>
                    <a:pt x="19062" y="7518"/>
                  </a:lnTo>
                  <a:lnTo>
                    <a:pt x="19033" y="7385"/>
                  </a:lnTo>
                  <a:lnTo>
                    <a:pt x="18862" y="7343"/>
                  </a:lnTo>
                  <a:lnTo>
                    <a:pt x="18805" y="7243"/>
                  </a:lnTo>
                  <a:lnTo>
                    <a:pt x="18783" y="7166"/>
                  </a:lnTo>
                  <a:lnTo>
                    <a:pt x="18632" y="7073"/>
                  </a:lnTo>
                  <a:lnTo>
                    <a:pt x="18605" y="6906"/>
                  </a:lnTo>
                  <a:lnTo>
                    <a:pt x="18519" y="6897"/>
                  </a:lnTo>
                  <a:cubicBezTo>
                    <a:pt x="18492" y="6901"/>
                    <a:pt x="18465" y="6899"/>
                    <a:pt x="18439" y="6891"/>
                  </a:cubicBezTo>
                  <a:cubicBezTo>
                    <a:pt x="18366" y="6870"/>
                    <a:pt x="18317" y="6810"/>
                    <a:pt x="18316" y="6743"/>
                  </a:cubicBezTo>
                  <a:cubicBezTo>
                    <a:pt x="18302" y="6716"/>
                    <a:pt x="18283" y="6691"/>
                    <a:pt x="18261" y="6668"/>
                  </a:cubicBezTo>
                  <a:cubicBezTo>
                    <a:pt x="18230" y="6636"/>
                    <a:pt x="18191" y="6609"/>
                    <a:pt x="18148" y="6589"/>
                  </a:cubicBezTo>
                  <a:lnTo>
                    <a:pt x="18030" y="6579"/>
                  </a:lnTo>
                  <a:lnTo>
                    <a:pt x="17871" y="6463"/>
                  </a:lnTo>
                  <a:lnTo>
                    <a:pt x="17771" y="6355"/>
                  </a:lnTo>
                  <a:lnTo>
                    <a:pt x="17792" y="6247"/>
                  </a:lnTo>
                  <a:lnTo>
                    <a:pt x="17721" y="6185"/>
                  </a:lnTo>
                  <a:lnTo>
                    <a:pt x="17713" y="6087"/>
                  </a:lnTo>
                  <a:lnTo>
                    <a:pt x="17711" y="6006"/>
                  </a:lnTo>
                  <a:lnTo>
                    <a:pt x="17530" y="5908"/>
                  </a:lnTo>
                  <a:lnTo>
                    <a:pt x="17460" y="5774"/>
                  </a:lnTo>
                  <a:lnTo>
                    <a:pt x="17402" y="5680"/>
                  </a:lnTo>
                  <a:lnTo>
                    <a:pt x="17258" y="5530"/>
                  </a:lnTo>
                  <a:lnTo>
                    <a:pt x="17183" y="5451"/>
                  </a:lnTo>
                  <a:lnTo>
                    <a:pt x="17082" y="5351"/>
                  </a:lnTo>
                  <a:lnTo>
                    <a:pt x="17048" y="5222"/>
                  </a:lnTo>
                  <a:lnTo>
                    <a:pt x="17048" y="5089"/>
                  </a:lnTo>
                  <a:cubicBezTo>
                    <a:pt x="17065" y="5018"/>
                    <a:pt x="17060" y="4945"/>
                    <a:pt x="17034" y="4876"/>
                  </a:cubicBezTo>
                  <a:cubicBezTo>
                    <a:pt x="17013" y="4820"/>
                    <a:pt x="16978" y="4769"/>
                    <a:pt x="16933" y="4726"/>
                  </a:cubicBezTo>
                  <a:lnTo>
                    <a:pt x="16889" y="4630"/>
                  </a:lnTo>
                  <a:lnTo>
                    <a:pt x="16775" y="4458"/>
                  </a:lnTo>
                  <a:lnTo>
                    <a:pt x="16501" y="4341"/>
                  </a:lnTo>
                  <a:lnTo>
                    <a:pt x="16472" y="4199"/>
                  </a:lnTo>
                  <a:cubicBezTo>
                    <a:pt x="16470" y="4140"/>
                    <a:pt x="16461" y="4082"/>
                    <a:pt x="16443" y="4024"/>
                  </a:cubicBezTo>
                  <a:cubicBezTo>
                    <a:pt x="16425" y="3965"/>
                    <a:pt x="16398" y="3909"/>
                    <a:pt x="16363" y="3855"/>
                  </a:cubicBezTo>
                  <a:lnTo>
                    <a:pt x="16291" y="3674"/>
                  </a:lnTo>
                  <a:cubicBezTo>
                    <a:pt x="16289" y="3647"/>
                    <a:pt x="16285" y="3621"/>
                    <a:pt x="16277" y="3595"/>
                  </a:cubicBezTo>
                  <a:cubicBezTo>
                    <a:pt x="16256" y="3522"/>
                    <a:pt x="16213" y="3455"/>
                    <a:pt x="16154" y="3401"/>
                  </a:cubicBezTo>
                  <a:lnTo>
                    <a:pt x="16039" y="3250"/>
                  </a:lnTo>
                  <a:lnTo>
                    <a:pt x="15769" y="2894"/>
                  </a:lnTo>
                  <a:lnTo>
                    <a:pt x="15611" y="2670"/>
                  </a:lnTo>
                  <a:lnTo>
                    <a:pt x="15517" y="2564"/>
                  </a:lnTo>
                  <a:lnTo>
                    <a:pt x="15445" y="2442"/>
                  </a:lnTo>
                  <a:lnTo>
                    <a:pt x="15435" y="2351"/>
                  </a:lnTo>
                  <a:lnTo>
                    <a:pt x="15507" y="2268"/>
                  </a:lnTo>
                  <a:lnTo>
                    <a:pt x="15557" y="2174"/>
                  </a:lnTo>
                  <a:lnTo>
                    <a:pt x="15579" y="2095"/>
                  </a:lnTo>
                  <a:lnTo>
                    <a:pt x="15476" y="1983"/>
                  </a:lnTo>
                  <a:lnTo>
                    <a:pt x="15276" y="1854"/>
                  </a:lnTo>
                  <a:lnTo>
                    <a:pt x="15163" y="1798"/>
                  </a:lnTo>
                  <a:lnTo>
                    <a:pt x="15004" y="1798"/>
                  </a:lnTo>
                  <a:lnTo>
                    <a:pt x="14882" y="1810"/>
                  </a:lnTo>
                  <a:lnTo>
                    <a:pt x="14680" y="1867"/>
                  </a:lnTo>
                  <a:lnTo>
                    <a:pt x="14502" y="1898"/>
                  </a:lnTo>
                  <a:lnTo>
                    <a:pt x="14335" y="1902"/>
                  </a:lnTo>
                  <a:lnTo>
                    <a:pt x="14156" y="1858"/>
                  </a:lnTo>
                  <a:lnTo>
                    <a:pt x="13954" y="1827"/>
                  </a:lnTo>
                  <a:lnTo>
                    <a:pt x="13826" y="1795"/>
                  </a:lnTo>
                  <a:lnTo>
                    <a:pt x="13650" y="1741"/>
                  </a:lnTo>
                  <a:lnTo>
                    <a:pt x="13521" y="1716"/>
                  </a:lnTo>
                  <a:lnTo>
                    <a:pt x="13389" y="1716"/>
                  </a:lnTo>
                  <a:lnTo>
                    <a:pt x="13240" y="1681"/>
                  </a:lnTo>
                  <a:lnTo>
                    <a:pt x="13103" y="1668"/>
                  </a:lnTo>
                  <a:lnTo>
                    <a:pt x="12934" y="1606"/>
                  </a:lnTo>
                  <a:lnTo>
                    <a:pt x="12749" y="1481"/>
                  </a:lnTo>
                  <a:lnTo>
                    <a:pt x="12590" y="1418"/>
                  </a:lnTo>
                  <a:lnTo>
                    <a:pt x="12457" y="1374"/>
                  </a:lnTo>
                  <a:lnTo>
                    <a:pt x="12308" y="1331"/>
                  </a:lnTo>
                  <a:lnTo>
                    <a:pt x="12072" y="1318"/>
                  </a:lnTo>
                  <a:lnTo>
                    <a:pt x="11905" y="1298"/>
                  </a:lnTo>
                  <a:close/>
                </a:path>
              </a:pathLst>
            </a:custGeom>
            <a:grpFill/>
            <a:ln w="25400" cap="flat">
              <a:noFill/>
              <a:prstDash val="solid"/>
              <a:miter lim="400000"/>
            </a:ln>
            <a:effectLst/>
          </p:spPr>
          <p:txBody>
            <a:bodyPr anchor="ctr"/>
            <a:lstStyle/>
            <a:p>
              <a:pPr algn="ctr"/>
              <a:endParaRPr/>
            </a:p>
          </p:txBody>
        </p:sp>
        <p:sp>
          <p:nvSpPr>
            <p:cNvPr id="62" name="任意多边形: 形状 61">
              <a:extLst>
                <a:ext uri="{FF2B5EF4-FFF2-40B4-BE49-F238E27FC236}">
                  <a16:creationId xmlns:a16="http://schemas.microsoft.com/office/drawing/2014/main" id="{AB06EDDF-8A65-478A-BA65-F92F12B1CAE4}"/>
                </a:ext>
              </a:extLst>
            </p:cNvPr>
            <p:cNvSpPr/>
            <p:nvPr/>
          </p:nvSpPr>
          <p:spPr>
            <a:xfrm>
              <a:off x="7392962" y="4263491"/>
              <a:ext cx="22472" cy="27321"/>
            </a:xfrm>
            <a:custGeom>
              <a:avLst/>
              <a:gdLst/>
              <a:ahLst/>
              <a:cxnLst>
                <a:cxn ang="0">
                  <a:pos x="wd2" y="hd2"/>
                </a:cxn>
                <a:cxn ang="5400000">
                  <a:pos x="wd2" y="hd2"/>
                </a:cxn>
                <a:cxn ang="10800000">
                  <a:pos x="wd2" y="hd2"/>
                </a:cxn>
                <a:cxn ang="16200000">
                  <a:pos x="wd2" y="hd2"/>
                </a:cxn>
              </a:cxnLst>
              <a:rect l="0" t="0" r="r" b="b"/>
              <a:pathLst>
                <a:path w="21600" h="21600" extrusionOk="0">
                  <a:moveTo>
                    <a:pt x="6326" y="0"/>
                  </a:moveTo>
                  <a:lnTo>
                    <a:pt x="0" y="9333"/>
                  </a:lnTo>
                  <a:lnTo>
                    <a:pt x="1832" y="16236"/>
                  </a:lnTo>
                  <a:lnTo>
                    <a:pt x="15030" y="21600"/>
                  </a:lnTo>
                  <a:lnTo>
                    <a:pt x="21600" y="15013"/>
                  </a:lnTo>
                  <a:lnTo>
                    <a:pt x="21600" y="3233"/>
                  </a:lnTo>
                  <a:lnTo>
                    <a:pt x="6326" y="0"/>
                  </a:lnTo>
                  <a:close/>
                </a:path>
              </a:pathLst>
            </a:custGeom>
            <a:grpFill/>
            <a:ln w="25400" cap="flat">
              <a:noFill/>
              <a:prstDash val="solid"/>
              <a:miter lim="400000"/>
            </a:ln>
            <a:effectLst/>
          </p:spPr>
          <p:txBody>
            <a:bodyPr anchor="ctr"/>
            <a:lstStyle/>
            <a:p>
              <a:pPr algn="ctr"/>
              <a:endParaRPr/>
            </a:p>
          </p:txBody>
        </p:sp>
        <p:sp>
          <p:nvSpPr>
            <p:cNvPr id="63" name="任意多边形: 形状 62">
              <a:extLst>
                <a:ext uri="{FF2B5EF4-FFF2-40B4-BE49-F238E27FC236}">
                  <a16:creationId xmlns:a16="http://schemas.microsoft.com/office/drawing/2014/main" id="{307C8AB9-F5A6-4615-8C69-3D689ED8DC49}"/>
                </a:ext>
              </a:extLst>
            </p:cNvPr>
            <p:cNvSpPr/>
            <p:nvPr/>
          </p:nvSpPr>
          <p:spPr>
            <a:xfrm>
              <a:off x="6950702" y="4538501"/>
              <a:ext cx="248466" cy="475742"/>
            </a:xfrm>
            <a:custGeom>
              <a:avLst/>
              <a:gdLst/>
              <a:ahLst/>
              <a:cxnLst>
                <a:cxn ang="0">
                  <a:pos x="wd2" y="hd2"/>
                </a:cxn>
                <a:cxn ang="5400000">
                  <a:pos x="wd2" y="hd2"/>
                </a:cxn>
                <a:cxn ang="10800000">
                  <a:pos x="wd2" y="hd2"/>
                </a:cxn>
                <a:cxn ang="16200000">
                  <a:pos x="wd2" y="hd2"/>
                </a:cxn>
              </a:cxnLst>
              <a:rect l="0" t="0" r="r" b="b"/>
              <a:pathLst>
                <a:path w="21600" h="21600" extrusionOk="0">
                  <a:moveTo>
                    <a:pt x="18696" y="0"/>
                  </a:moveTo>
                  <a:lnTo>
                    <a:pt x="19918" y="733"/>
                  </a:lnTo>
                  <a:lnTo>
                    <a:pt x="20738" y="1839"/>
                  </a:lnTo>
                  <a:lnTo>
                    <a:pt x="21268" y="2687"/>
                  </a:lnTo>
                  <a:lnTo>
                    <a:pt x="21600" y="3981"/>
                  </a:lnTo>
                  <a:lnTo>
                    <a:pt x="20826" y="5023"/>
                  </a:lnTo>
                  <a:cubicBezTo>
                    <a:pt x="20609" y="5376"/>
                    <a:pt x="20366" y="5724"/>
                    <a:pt x="20097" y="6066"/>
                  </a:cubicBezTo>
                  <a:cubicBezTo>
                    <a:pt x="19662" y="6621"/>
                    <a:pt x="19160" y="7160"/>
                    <a:pt x="18594" y="7681"/>
                  </a:cubicBezTo>
                  <a:lnTo>
                    <a:pt x="17802" y="9136"/>
                  </a:lnTo>
                  <a:lnTo>
                    <a:pt x="17031" y="10592"/>
                  </a:lnTo>
                  <a:cubicBezTo>
                    <a:pt x="16764" y="10920"/>
                    <a:pt x="16499" y="11249"/>
                    <a:pt x="16235" y="11578"/>
                  </a:cubicBezTo>
                  <a:cubicBezTo>
                    <a:pt x="15888" y="12012"/>
                    <a:pt x="15544" y="12446"/>
                    <a:pt x="15203" y="12881"/>
                  </a:cubicBezTo>
                  <a:lnTo>
                    <a:pt x="14606" y="13728"/>
                  </a:lnTo>
                  <a:lnTo>
                    <a:pt x="14010" y="14760"/>
                  </a:lnTo>
                  <a:lnTo>
                    <a:pt x="13215" y="16308"/>
                  </a:lnTo>
                  <a:lnTo>
                    <a:pt x="12950" y="17339"/>
                  </a:lnTo>
                  <a:lnTo>
                    <a:pt x="12553" y="18473"/>
                  </a:lnTo>
                  <a:lnTo>
                    <a:pt x="11359" y="19536"/>
                  </a:lnTo>
                  <a:lnTo>
                    <a:pt x="10161" y="20327"/>
                  </a:lnTo>
                  <a:lnTo>
                    <a:pt x="8567" y="20671"/>
                  </a:lnTo>
                  <a:lnTo>
                    <a:pt x="6435" y="21394"/>
                  </a:lnTo>
                  <a:lnTo>
                    <a:pt x="5446" y="21600"/>
                  </a:lnTo>
                  <a:cubicBezTo>
                    <a:pt x="4959" y="21573"/>
                    <a:pt x="4489" y="21491"/>
                    <a:pt x="4070" y="21359"/>
                  </a:cubicBezTo>
                  <a:cubicBezTo>
                    <a:pt x="3557" y="21198"/>
                    <a:pt x="3137" y="20969"/>
                    <a:pt x="2852" y="20696"/>
                  </a:cubicBezTo>
                  <a:cubicBezTo>
                    <a:pt x="2444" y="20653"/>
                    <a:pt x="2063" y="20558"/>
                    <a:pt x="1743" y="20420"/>
                  </a:cubicBezTo>
                  <a:cubicBezTo>
                    <a:pt x="1252" y="20209"/>
                    <a:pt x="932" y="19911"/>
                    <a:pt x="844" y="19584"/>
                  </a:cubicBezTo>
                  <a:cubicBezTo>
                    <a:pt x="905" y="19197"/>
                    <a:pt x="866" y="18807"/>
                    <a:pt x="730" y="18426"/>
                  </a:cubicBezTo>
                  <a:cubicBezTo>
                    <a:pt x="598" y="18058"/>
                    <a:pt x="376" y="17701"/>
                    <a:pt x="69" y="17362"/>
                  </a:cubicBezTo>
                  <a:lnTo>
                    <a:pt x="0" y="16892"/>
                  </a:lnTo>
                  <a:lnTo>
                    <a:pt x="534" y="16137"/>
                  </a:lnTo>
                  <a:lnTo>
                    <a:pt x="1656" y="15246"/>
                  </a:lnTo>
                  <a:lnTo>
                    <a:pt x="2695" y="14432"/>
                  </a:lnTo>
                  <a:lnTo>
                    <a:pt x="3422" y="13745"/>
                  </a:lnTo>
                  <a:lnTo>
                    <a:pt x="4350" y="12713"/>
                  </a:lnTo>
                  <a:cubicBezTo>
                    <a:pt x="4439" y="12532"/>
                    <a:pt x="4506" y="12348"/>
                    <a:pt x="4549" y="12163"/>
                  </a:cubicBezTo>
                  <a:cubicBezTo>
                    <a:pt x="4652" y="11728"/>
                    <a:pt x="4630" y="11288"/>
                    <a:pt x="4483" y="10857"/>
                  </a:cubicBezTo>
                  <a:lnTo>
                    <a:pt x="3687" y="9791"/>
                  </a:lnTo>
                  <a:cubicBezTo>
                    <a:pt x="3616" y="9483"/>
                    <a:pt x="3616" y="9171"/>
                    <a:pt x="3687" y="8862"/>
                  </a:cubicBezTo>
                  <a:cubicBezTo>
                    <a:pt x="3777" y="8475"/>
                    <a:pt x="3978" y="8097"/>
                    <a:pt x="4284" y="7740"/>
                  </a:cubicBezTo>
                  <a:lnTo>
                    <a:pt x="4594" y="6756"/>
                  </a:lnTo>
                  <a:lnTo>
                    <a:pt x="5588" y="5967"/>
                  </a:lnTo>
                  <a:cubicBezTo>
                    <a:pt x="5955" y="5974"/>
                    <a:pt x="6322" y="5974"/>
                    <a:pt x="6688" y="5967"/>
                  </a:cubicBezTo>
                  <a:cubicBezTo>
                    <a:pt x="7526" y="5953"/>
                    <a:pt x="8361" y="5907"/>
                    <a:pt x="9186" y="5830"/>
                  </a:cubicBezTo>
                  <a:lnTo>
                    <a:pt x="11131" y="5176"/>
                  </a:lnTo>
                  <a:lnTo>
                    <a:pt x="12454" y="4236"/>
                  </a:lnTo>
                  <a:cubicBezTo>
                    <a:pt x="12687" y="3853"/>
                    <a:pt x="13251" y="3548"/>
                    <a:pt x="13980" y="3411"/>
                  </a:cubicBezTo>
                  <a:cubicBezTo>
                    <a:pt x="14318" y="3347"/>
                    <a:pt x="14680" y="3324"/>
                    <a:pt x="15038" y="3342"/>
                  </a:cubicBezTo>
                  <a:cubicBezTo>
                    <a:pt x="15356" y="3221"/>
                    <a:pt x="15665" y="3095"/>
                    <a:pt x="15966" y="2964"/>
                  </a:cubicBezTo>
                  <a:cubicBezTo>
                    <a:pt x="16733" y="2629"/>
                    <a:pt x="17443" y="2261"/>
                    <a:pt x="18088" y="1863"/>
                  </a:cubicBezTo>
                  <a:lnTo>
                    <a:pt x="18685" y="866"/>
                  </a:lnTo>
                  <a:lnTo>
                    <a:pt x="18354" y="341"/>
                  </a:lnTo>
                  <a:lnTo>
                    <a:pt x="18696" y="0"/>
                  </a:lnTo>
                  <a:close/>
                </a:path>
              </a:pathLst>
            </a:custGeom>
            <a:grpFill/>
            <a:ln w="25400" cap="flat">
              <a:noFill/>
              <a:prstDash val="solid"/>
              <a:miter lim="400000"/>
            </a:ln>
            <a:effectLst/>
          </p:spPr>
          <p:txBody>
            <a:bodyPr anchor="ctr"/>
            <a:lstStyle/>
            <a:p>
              <a:pPr algn="ctr"/>
              <a:endParaRPr/>
            </a:p>
          </p:txBody>
        </p:sp>
        <p:sp>
          <p:nvSpPr>
            <p:cNvPr id="64" name="任意多边形: 形状 63">
              <a:extLst>
                <a:ext uri="{FF2B5EF4-FFF2-40B4-BE49-F238E27FC236}">
                  <a16:creationId xmlns:a16="http://schemas.microsoft.com/office/drawing/2014/main" id="{F71D153F-6B53-4202-A7CD-25CAC1864580}"/>
                </a:ext>
              </a:extLst>
            </p:cNvPr>
            <p:cNvSpPr/>
            <p:nvPr/>
          </p:nvSpPr>
          <p:spPr>
            <a:xfrm>
              <a:off x="7015877" y="4582107"/>
              <a:ext cx="16360" cy="25666"/>
            </a:xfrm>
            <a:custGeom>
              <a:avLst/>
              <a:gdLst/>
              <a:ahLst/>
              <a:cxnLst>
                <a:cxn ang="0">
                  <a:pos x="wd2" y="hd2"/>
                </a:cxn>
                <a:cxn ang="5400000">
                  <a:pos x="wd2" y="hd2"/>
                </a:cxn>
                <a:cxn ang="10800000">
                  <a:pos x="wd2" y="hd2"/>
                </a:cxn>
                <a:cxn ang="16200000">
                  <a:pos x="wd2" y="hd2"/>
                </a:cxn>
              </a:cxnLst>
              <a:rect l="0" t="0" r="r" b="b"/>
              <a:pathLst>
                <a:path w="21600" h="21600" extrusionOk="0">
                  <a:moveTo>
                    <a:pt x="18802" y="0"/>
                  </a:moveTo>
                  <a:lnTo>
                    <a:pt x="4813" y="1913"/>
                  </a:lnTo>
                  <a:lnTo>
                    <a:pt x="0" y="12064"/>
                  </a:lnTo>
                  <a:lnTo>
                    <a:pt x="5083" y="21600"/>
                  </a:lnTo>
                  <a:lnTo>
                    <a:pt x="21600" y="9513"/>
                  </a:lnTo>
                  <a:lnTo>
                    <a:pt x="18802" y="0"/>
                  </a:lnTo>
                  <a:close/>
                </a:path>
              </a:pathLst>
            </a:custGeom>
            <a:grpFill/>
            <a:ln w="25400" cap="flat">
              <a:noFill/>
              <a:prstDash val="solid"/>
              <a:miter lim="400000"/>
            </a:ln>
            <a:effectLst/>
          </p:spPr>
          <p:txBody>
            <a:bodyPr anchor="ctr"/>
            <a:lstStyle/>
            <a:p>
              <a:pPr algn="ctr"/>
              <a:endParaRPr/>
            </a:p>
          </p:txBody>
        </p:sp>
        <p:sp>
          <p:nvSpPr>
            <p:cNvPr id="65" name="任意多边形: 形状 64">
              <a:extLst>
                <a:ext uri="{FF2B5EF4-FFF2-40B4-BE49-F238E27FC236}">
                  <a16:creationId xmlns:a16="http://schemas.microsoft.com/office/drawing/2014/main" id="{102AD9A0-F588-4FA4-B97D-AFE92AC3973A}"/>
                </a:ext>
              </a:extLst>
            </p:cNvPr>
            <p:cNvSpPr/>
            <p:nvPr/>
          </p:nvSpPr>
          <p:spPr>
            <a:xfrm>
              <a:off x="6990181" y="4542570"/>
              <a:ext cx="21071" cy="20646"/>
            </a:xfrm>
            <a:custGeom>
              <a:avLst/>
              <a:gdLst/>
              <a:ahLst/>
              <a:cxnLst>
                <a:cxn ang="0">
                  <a:pos x="wd2" y="hd2"/>
                </a:cxn>
                <a:cxn ang="5400000">
                  <a:pos x="wd2" y="hd2"/>
                </a:cxn>
                <a:cxn ang="10800000">
                  <a:pos x="wd2" y="hd2"/>
                </a:cxn>
                <a:cxn ang="16200000">
                  <a:pos x="wd2" y="hd2"/>
                </a:cxn>
              </a:cxnLst>
              <a:rect l="0" t="0" r="r" b="b"/>
              <a:pathLst>
                <a:path w="21600" h="21600" extrusionOk="0">
                  <a:moveTo>
                    <a:pt x="18128" y="8886"/>
                  </a:moveTo>
                  <a:lnTo>
                    <a:pt x="8318" y="0"/>
                  </a:lnTo>
                  <a:lnTo>
                    <a:pt x="0" y="6625"/>
                  </a:lnTo>
                  <a:lnTo>
                    <a:pt x="9071" y="16880"/>
                  </a:lnTo>
                  <a:lnTo>
                    <a:pt x="21600" y="21600"/>
                  </a:lnTo>
                  <a:lnTo>
                    <a:pt x="18128" y="8886"/>
                  </a:lnTo>
                  <a:close/>
                </a:path>
              </a:pathLst>
            </a:custGeom>
            <a:grpFill/>
            <a:ln w="25400" cap="flat">
              <a:noFill/>
              <a:prstDash val="solid"/>
              <a:miter lim="400000"/>
            </a:ln>
            <a:effectLst/>
          </p:spPr>
          <p:txBody>
            <a:bodyPr anchor="ctr"/>
            <a:lstStyle/>
            <a:p>
              <a:pPr algn="ctr"/>
              <a:endParaRPr/>
            </a:p>
          </p:txBody>
        </p:sp>
        <p:sp>
          <p:nvSpPr>
            <p:cNvPr id="66" name="任意多边形: 形状 65">
              <a:extLst>
                <a:ext uri="{FF2B5EF4-FFF2-40B4-BE49-F238E27FC236}">
                  <a16:creationId xmlns:a16="http://schemas.microsoft.com/office/drawing/2014/main" id="{69F8779F-D485-4D3E-B2D4-10176FE02C7A}"/>
                </a:ext>
              </a:extLst>
            </p:cNvPr>
            <p:cNvSpPr/>
            <p:nvPr/>
          </p:nvSpPr>
          <p:spPr>
            <a:xfrm>
              <a:off x="6964606" y="4555580"/>
              <a:ext cx="20339" cy="16639"/>
            </a:xfrm>
            <a:custGeom>
              <a:avLst/>
              <a:gdLst/>
              <a:ahLst/>
              <a:cxnLst>
                <a:cxn ang="0">
                  <a:pos x="wd2" y="hd2"/>
                </a:cxn>
                <a:cxn ang="5400000">
                  <a:pos x="wd2" y="hd2"/>
                </a:cxn>
                <a:cxn ang="10800000">
                  <a:pos x="wd2" y="hd2"/>
                </a:cxn>
                <a:cxn ang="16200000">
                  <a:pos x="wd2" y="hd2"/>
                </a:cxn>
              </a:cxnLst>
              <a:rect l="0" t="0" r="r" b="b"/>
              <a:pathLst>
                <a:path w="21600" h="21600" extrusionOk="0">
                  <a:moveTo>
                    <a:pt x="7800" y="0"/>
                  </a:moveTo>
                  <a:lnTo>
                    <a:pt x="0" y="2623"/>
                  </a:lnTo>
                  <a:lnTo>
                    <a:pt x="9524" y="21600"/>
                  </a:lnTo>
                  <a:lnTo>
                    <a:pt x="21600" y="20616"/>
                  </a:lnTo>
                  <a:lnTo>
                    <a:pt x="19979" y="3243"/>
                  </a:lnTo>
                  <a:lnTo>
                    <a:pt x="7800" y="0"/>
                  </a:lnTo>
                  <a:close/>
                </a:path>
              </a:pathLst>
            </a:custGeom>
            <a:grpFill/>
            <a:ln w="25400" cap="flat">
              <a:noFill/>
              <a:prstDash val="solid"/>
              <a:miter lim="400000"/>
            </a:ln>
            <a:effectLst/>
          </p:spPr>
          <p:txBody>
            <a:bodyPr anchor="ctr"/>
            <a:lstStyle/>
            <a:p>
              <a:pPr algn="ctr"/>
              <a:endParaRPr/>
            </a:p>
          </p:txBody>
        </p:sp>
        <p:sp>
          <p:nvSpPr>
            <p:cNvPr id="67" name="任意多边形: 形状 66">
              <a:extLst>
                <a:ext uri="{FF2B5EF4-FFF2-40B4-BE49-F238E27FC236}">
                  <a16:creationId xmlns:a16="http://schemas.microsoft.com/office/drawing/2014/main" id="{38DEC5F8-7444-495D-A30E-231A7292A0E5}"/>
                </a:ext>
              </a:extLst>
            </p:cNvPr>
            <p:cNvSpPr/>
            <p:nvPr/>
          </p:nvSpPr>
          <p:spPr>
            <a:xfrm>
              <a:off x="6946134" y="4515244"/>
              <a:ext cx="16360" cy="24039"/>
            </a:xfrm>
            <a:custGeom>
              <a:avLst/>
              <a:gdLst/>
              <a:ahLst/>
              <a:cxnLst>
                <a:cxn ang="0">
                  <a:pos x="wd2" y="hd2"/>
                </a:cxn>
                <a:cxn ang="5400000">
                  <a:pos x="wd2" y="hd2"/>
                </a:cxn>
                <a:cxn ang="10800000">
                  <a:pos x="wd2" y="hd2"/>
                </a:cxn>
                <a:cxn ang="16200000">
                  <a:pos x="wd2" y="hd2"/>
                </a:cxn>
              </a:cxnLst>
              <a:rect l="0" t="0" r="r" b="b"/>
              <a:pathLst>
                <a:path w="21600" h="21600" extrusionOk="0">
                  <a:moveTo>
                    <a:pt x="13062" y="0"/>
                  </a:moveTo>
                  <a:lnTo>
                    <a:pt x="3048" y="6808"/>
                  </a:lnTo>
                  <a:lnTo>
                    <a:pt x="0" y="16890"/>
                  </a:lnTo>
                  <a:lnTo>
                    <a:pt x="17411" y="21600"/>
                  </a:lnTo>
                  <a:lnTo>
                    <a:pt x="21600" y="12326"/>
                  </a:lnTo>
                  <a:lnTo>
                    <a:pt x="13062" y="0"/>
                  </a:lnTo>
                  <a:close/>
                </a:path>
              </a:pathLst>
            </a:custGeom>
            <a:grpFill/>
            <a:ln w="25400" cap="flat">
              <a:noFill/>
              <a:prstDash val="solid"/>
              <a:miter lim="400000"/>
            </a:ln>
            <a:effectLst/>
          </p:spPr>
          <p:txBody>
            <a:bodyPr anchor="ctr"/>
            <a:lstStyle/>
            <a:p>
              <a:pPr algn="ctr"/>
              <a:endParaRPr/>
            </a:p>
          </p:txBody>
        </p:sp>
        <p:sp>
          <p:nvSpPr>
            <p:cNvPr id="68" name="任意多边形: 形状 67">
              <a:extLst>
                <a:ext uri="{FF2B5EF4-FFF2-40B4-BE49-F238E27FC236}">
                  <a16:creationId xmlns:a16="http://schemas.microsoft.com/office/drawing/2014/main" id="{85C0A539-4A00-4A05-8254-F8025EECA92B}"/>
                </a:ext>
              </a:extLst>
            </p:cNvPr>
            <p:cNvSpPr/>
            <p:nvPr/>
          </p:nvSpPr>
          <p:spPr>
            <a:xfrm>
              <a:off x="7355849" y="4831107"/>
              <a:ext cx="26760" cy="35791"/>
            </a:xfrm>
            <a:custGeom>
              <a:avLst/>
              <a:gdLst/>
              <a:ahLst/>
              <a:cxnLst>
                <a:cxn ang="0">
                  <a:pos x="wd2" y="hd2"/>
                </a:cxn>
                <a:cxn ang="5400000">
                  <a:pos x="wd2" y="hd2"/>
                </a:cxn>
                <a:cxn ang="10800000">
                  <a:pos x="wd2" y="hd2"/>
                </a:cxn>
                <a:cxn ang="16200000">
                  <a:pos x="wd2" y="hd2"/>
                </a:cxn>
              </a:cxnLst>
              <a:rect l="0" t="0" r="r" b="b"/>
              <a:pathLst>
                <a:path w="21600" h="21600" extrusionOk="0">
                  <a:moveTo>
                    <a:pt x="9532" y="0"/>
                  </a:moveTo>
                  <a:lnTo>
                    <a:pt x="1397" y="5278"/>
                  </a:lnTo>
                  <a:lnTo>
                    <a:pt x="0" y="13559"/>
                  </a:lnTo>
                  <a:lnTo>
                    <a:pt x="6822" y="21600"/>
                  </a:lnTo>
                  <a:lnTo>
                    <a:pt x="21600" y="17485"/>
                  </a:lnTo>
                  <a:lnTo>
                    <a:pt x="21600" y="7445"/>
                  </a:lnTo>
                  <a:lnTo>
                    <a:pt x="9532" y="0"/>
                  </a:lnTo>
                  <a:close/>
                </a:path>
              </a:pathLst>
            </a:custGeom>
            <a:grpFill/>
            <a:ln w="25400" cap="flat">
              <a:noFill/>
              <a:prstDash val="solid"/>
              <a:miter lim="400000"/>
            </a:ln>
            <a:effectLst/>
          </p:spPr>
          <p:txBody>
            <a:bodyPr anchor="ctr"/>
            <a:lstStyle/>
            <a:p>
              <a:pPr algn="ctr"/>
              <a:endParaRPr/>
            </a:p>
          </p:txBody>
        </p:sp>
        <p:sp>
          <p:nvSpPr>
            <p:cNvPr id="69" name="任意多边形: 形状 68">
              <a:extLst>
                <a:ext uri="{FF2B5EF4-FFF2-40B4-BE49-F238E27FC236}">
                  <a16:creationId xmlns:a16="http://schemas.microsoft.com/office/drawing/2014/main" id="{AA0929F9-7944-4E27-A4DB-B7C764B8DDD1}"/>
                </a:ext>
              </a:extLst>
            </p:cNvPr>
            <p:cNvSpPr/>
            <p:nvPr/>
          </p:nvSpPr>
          <p:spPr>
            <a:xfrm>
              <a:off x="7418815" y="4803555"/>
              <a:ext cx="16360" cy="23507"/>
            </a:xfrm>
            <a:custGeom>
              <a:avLst/>
              <a:gdLst/>
              <a:ahLst/>
              <a:cxnLst>
                <a:cxn ang="0">
                  <a:pos x="wd2" y="hd2"/>
                </a:cxn>
                <a:cxn ang="5400000">
                  <a:pos x="wd2" y="hd2"/>
                </a:cxn>
                <a:cxn ang="10800000">
                  <a:pos x="wd2" y="hd2"/>
                </a:cxn>
                <a:cxn ang="16200000">
                  <a:pos x="wd2" y="hd2"/>
                </a:cxn>
              </a:cxnLst>
              <a:rect l="0" t="0" r="r" b="b"/>
              <a:pathLst>
                <a:path w="21600" h="21600" extrusionOk="0">
                  <a:moveTo>
                    <a:pt x="17956" y="0"/>
                  </a:moveTo>
                  <a:lnTo>
                    <a:pt x="1750" y="4177"/>
                  </a:lnTo>
                  <a:lnTo>
                    <a:pt x="0" y="18148"/>
                  </a:lnTo>
                  <a:lnTo>
                    <a:pt x="21600" y="21600"/>
                  </a:lnTo>
                  <a:lnTo>
                    <a:pt x="21555" y="10257"/>
                  </a:lnTo>
                  <a:lnTo>
                    <a:pt x="17956" y="0"/>
                  </a:lnTo>
                  <a:close/>
                </a:path>
              </a:pathLst>
            </a:custGeom>
            <a:grpFill/>
            <a:ln w="25400" cap="flat">
              <a:noFill/>
              <a:prstDash val="solid"/>
              <a:miter lim="400000"/>
            </a:ln>
            <a:effectLst/>
          </p:spPr>
          <p:txBody>
            <a:bodyPr anchor="ctr"/>
            <a:lstStyle/>
            <a:p>
              <a:pPr algn="ctr"/>
              <a:endParaRPr/>
            </a:p>
          </p:txBody>
        </p:sp>
        <p:sp>
          <p:nvSpPr>
            <p:cNvPr id="70" name="任意多边形: 形状 69">
              <a:extLst>
                <a:ext uri="{FF2B5EF4-FFF2-40B4-BE49-F238E27FC236}">
                  <a16:creationId xmlns:a16="http://schemas.microsoft.com/office/drawing/2014/main" id="{82F03671-21F8-4AD2-9969-ECD430DFDB50}"/>
                </a:ext>
              </a:extLst>
            </p:cNvPr>
            <p:cNvSpPr/>
            <p:nvPr/>
          </p:nvSpPr>
          <p:spPr>
            <a:xfrm>
              <a:off x="5322768" y="4656828"/>
              <a:ext cx="31865" cy="30264"/>
            </a:xfrm>
            <a:custGeom>
              <a:avLst/>
              <a:gdLst/>
              <a:ahLst/>
              <a:cxnLst>
                <a:cxn ang="0">
                  <a:pos x="wd2" y="hd2"/>
                </a:cxn>
                <a:cxn ang="5400000">
                  <a:pos x="wd2" y="hd2"/>
                </a:cxn>
                <a:cxn ang="10800000">
                  <a:pos x="wd2" y="hd2"/>
                </a:cxn>
                <a:cxn ang="16200000">
                  <a:pos x="wd2" y="hd2"/>
                </a:cxn>
              </a:cxnLst>
              <a:rect l="0" t="0" r="r" b="b"/>
              <a:pathLst>
                <a:path w="21600" h="21600" extrusionOk="0">
                  <a:moveTo>
                    <a:pt x="9397" y="0"/>
                  </a:moveTo>
                  <a:lnTo>
                    <a:pt x="0" y="19826"/>
                  </a:lnTo>
                  <a:lnTo>
                    <a:pt x="21600" y="21600"/>
                  </a:lnTo>
                  <a:lnTo>
                    <a:pt x="9397" y="0"/>
                  </a:lnTo>
                  <a:close/>
                </a:path>
              </a:pathLst>
            </a:custGeom>
            <a:grpFill/>
            <a:ln w="25400" cap="flat">
              <a:noFill/>
              <a:prstDash val="solid"/>
              <a:miter lim="400000"/>
            </a:ln>
            <a:effectLst/>
          </p:spPr>
          <p:txBody>
            <a:bodyPr anchor="ctr"/>
            <a:lstStyle/>
            <a:p>
              <a:pPr algn="ctr"/>
              <a:endParaRPr/>
            </a:p>
          </p:txBody>
        </p:sp>
        <p:sp>
          <p:nvSpPr>
            <p:cNvPr id="71" name="任意多边形: 形状 70">
              <a:extLst>
                <a:ext uri="{FF2B5EF4-FFF2-40B4-BE49-F238E27FC236}">
                  <a16:creationId xmlns:a16="http://schemas.microsoft.com/office/drawing/2014/main" id="{5946DAF9-0CBD-4B4B-9376-5C970C7FE063}"/>
                </a:ext>
              </a:extLst>
            </p:cNvPr>
            <p:cNvSpPr/>
            <p:nvPr/>
          </p:nvSpPr>
          <p:spPr>
            <a:xfrm>
              <a:off x="5724659" y="4042992"/>
              <a:ext cx="23245" cy="2134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824" y="4121"/>
                  </a:lnTo>
                  <a:lnTo>
                    <a:pt x="0" y="11667"/>
                  </a:lnTo>
                  <a:lnTo>
                    <a:pt x="9389" y="21600"/>
                  </a:lnTo>
                  <a:lnTo>
                    <a:pt x="20674" y="10869"/>
                  </a:lnTo>
                  <a:lnTo>
                    <a:pt x="21600" y="0"/>
                  </a:lnTo>
                  <a:close/>
                </a:path>
              </a:pathLst>
            </a:custGeom>
            <a:grpFill/>
            <a:ln w="25400" cap="flat">
              <a:noFill/>
              <a:prstDash val="solid"/>
              <a:miter lim="400000"/>
            </a:ln>
            <a:effectLst/>
          </p:spPr>
          <p:txBody>
            <a:bodyPr anchor="ctr"/>
            <a:lstStyle/>
            <a:p>
              <a:pPr algn="ctr"/>
              <a:endParaRPr/>
            </a:p>
          </p:txBody>
        </p:sp>
        <p:sp>
          <p:nvSpPr>
            <p:cNvPr id="72" name="任意多边形: 形状 71">
              <a:extLst>
                <a:ext uri="{FF2B5EF4-FFF2-40B4-BE49-F238E27FC236}">
                  <a16:creationId xmlns:a16="http://schemas.microsoft.com/office/drawing/2014/main" id="{36A0AB6F-C6FA-4326-AA2D-73574D6EC02E}"/>
                </a:ext>
              </a:extLst>
            </p:cNvPr>
            <p:cNvSpPr/>
            <p:nvPr/>
          </p:nvSpPr>
          <p:spPr>
            <a:xfrm>
              <a:off x="5797850" y="3949493"/>
              <a:ext cx="20701" cy="16360"/>
            </a:xfrm>
            <a:custGeom>
              <a:avLst/>
              <a:gdLst/>
              <a:ahLst/>
              <a:cxnLst>
                <a:cxn ang="0">
                  <a:pos x="wd2" y="hd2"/>
                </a:cxn>
                <a:cxn ang="5400000">
                  <a:pos x="wd2" y="hd2"/>
                </a:cxn>
                <a:cxn ang="10800000">
                  <a:pos x="wd2" y="hd2"/>
                </a:cxn>
                <a:cxn ang="16200000">
                  <a:pos x="wd2" y="hd2"/>
                </a:cxn>
              </a:cxnLst>
              <a:rect l="0" t="0" r="r" b="b"/>
              <a:pathLst>
                <a:path w="21600" h="21600" extrusionOk="0">
                  <a:moveTo>
                    <a:pt x="11047" y="0"/>
                  </a:moveTo>
                  <a:lnTo>
                    <a:pt x="0" y="5982"/>
                  </a:lnTo>
                  <a:lnTo>
                    <a:pt x="2019" y="20443"/>
                  </a:lnTo>
                  <a:lnTo>
                    <a:pt x="15499" y="21600"/>
                  </a:lnTo>
                  <a:lnTo>
                    <a:pt x="21600" y="4412"/>
                  </a:lnTo>
                  <a:lnTo>
                    <a:pt x="11047" y="0"/>
                  </a:lnTo>
                  <a:close/>
                </a:path>
              </a:pathLst>
            </a:custGeom>
            <a:grpFill/>
            <a:ln w="25400" cap="flat">
              <a:noFill/>
              <a:prstDash val="solid"/>
              <a:miter lim="400000"/>
            </a:ln>
            <a:effectLst/>
          </p:spPr>
          <p:txBody>
            <a:bodyPr anchor="ctr"/>
            <a:lstStyle/>
            <a:p>
              <a:pPr algn="ctr"/>
              <a:endParaRPr/>
            </a:p>
          </p:txBody>
        </p:sp>
        <p:sp>
          <p:nvSpPr>
            <p:cNvPr id="73" name="任意多边形: 形状 72">
              <a:extLst>
                <a:ext uri="{FF2B5EF4-FFF2-40B4-BE49-F238E27FC236}">
                  <a16:creationId xmlns:a16="http://schemas.microsoft.com/office/drawing/2014/main" id="{1D30DBF4-C85C-4A3F-846F-8138021FDF06}"/>
                </a:ext>
              </a:extLst>
            </p:cNvPr>
            <p:cNvSpPr/>
            <p:nvPr/>
          </p:nvSpPr>
          <p:spPr>
            <a:xfrm>
              <a:off x="5771093" y="4007307"/>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7211" y="0"/>
                  </a:moveTo>
                  <a:lnTo>
                    <a:pt x="0" y="9014"/>
                  </a:lnTo>
                  <a:lnTo>
                    <a:pt x="7385" y="21600"/>
                  </a:lnTo>
                  <a:lnTo>
                    <a:pt x="21600" y="12069"/>
                  </a:lnTo>
                  <a:lnTo>
                    <a:pt x="17567" y="1769"/>
                  </a:lnTo>
                  <a:lnTo>
                    <a:pt x="7211" y="0"/>
                  </a:lnTo>
                  <a:close/>
                </a:path>
              </a:pathLst>
            </a:custGeom>
            <a:grpFill/>
            <a:ln w="25400" cap="flat">
              <a:noFill/>
              <a:prstDash val="solid"/>
              <a:miter lim="400000"/>
            </a:ln>
            <a:effectLst/>
          </p:spPr>
          <p:txBody>
            <a:bodyPr anchor="ctr"/>
            <a:lstStyle/>
            <a:p>
              <a:pPr algn="ctr"/>
              <a:endParaRPr/>
            </a:p>
          </p:txBody>
        </p:sp>
        <p:sp>
          <p:nvSpPr>
            <p:cNvPr id="74" name="任意多边形: 形状 73">
              <a:extLst>
                <a:ext uri="{FF2B5EF4-FFF2-40B4-BE49-F238E27FC236}">
                  <a16:creationId xmlns:a16="http://schemas.microsoft.com/office/drawing/2014/main" id="{75AFC576-20F0-4292-BB2D-CB9E1E0D59EA}"/>
                </a:ext>
              </a:extLst>
            </p:cNvPr>
            <p:cNvSpPr/>
            <p:nvPr/>
          </p:nvSpPr>
          <p:spPr>
            <a:xfrm>
              <a:off x="4744799" y="3515700"/>
              <a:ext cx="23569" cy="20839"/>
            </a:xfrm>
            <a:custGeom>
              <a:avLst/>
              <a:gdLst/>
              <a:ahLst/>
              <a:cxnLst>
                <a:cxn ang="0">
                  <a:pos x="wd2" y="hd2"/>
                </a:cxn>
                <a:cxn ang="5400000">
                  <a:pos x="wd2" y="hd2"/>
                </a:cxn>
                <a:cxn ang="10800000">
                  <a:pos x="wd2" y="hd2"/>
                </a:cxn>
                <a:cxn ang="16200000">
                  <a:pos x="wd2" y="hd2"/>
                </a:cxn>
              </a:cxnLst>
              <a:rect l="0" t="0" r="r" b="b"/>
              <a:pathLst>
                <a:path w="21600" h="21600" extrusionOk="0">
                  <a:moveTo>
                    <a:pt x="18240" y="3109"/>
                  </a:moveTo>
                  <a:lnTo>
                    <a:pt x="7082" y="0"/>
                  </a:lnTo>
                  <a:lnTo>
                    <a:pt x="0" y="4651"/>
                  </a:lnTo>
                  <a:lnTo>
                    <a:pt x="2157" y="15611"/>
                  </a:lnTo>
                  <a:lnTo>
                    <a:pt x="14637" y="21600"/>
                  </a:lnTo>
                  <a:lnTo>
                    <a:pt x="21600" y="17214"/>
                  </a:lnTo>
                  <a:lnTo>
                    <a:pt x="18240" y="3109"/>
                  </a:lnTo>
                  <a:close/>
                </a:path>
              </a:pathLst>
            </a:custGeom>
            <a:grpFill/>
            <a:ln w="25400" cap="flat">
              <a:noFill/>
              <a:prstDash val="solid"/>
              <a:miter lim="400000"/>
            </a:ln>
            <a:effectLst/>
          </p:spPr>
          <p:txBody>
            <a:bodyPr anchor="ctr"/>
            <a:lstStyle/>
            <a:p>
              <a:pPr algn="ctr"/>
              <a:endParaRPr/>
            </a:p>
          </p:txBody>
        </p:sp>
        <p:sp>
          <p:nvSpPr>
            <p:cNvPr id="75" name="任意多边形: 形状 74">
              <a:extLst>
                <a:ext uri="{FF2B5EF4-FFF2-40B4-BE49-F238E27FC236}">
                  <a16:creationId xmlns:a16="http://schemas.microsoft.com/office/drawing/2014/main" id="{EB705661-A69C-4BC5-A000-28477AC4CB28}"/>
                </a:ext>
              </a:extLst>
            </p:cNvPr>
            <p:cNvSpPr/>
            <p:nvPr/>
          </p:nvSpPr>
          <p:spPr>
            <a:xfrm>
              <a:off x="4718288" y="3519867"/>
              <a:ext cx="18421" cy="17929"/>
            </a:xfrm>
            <a:custGeom>
              <a:avLst/>
              <a:gdLst/>
              <a:ahLst/>
              <a:cxnLst>
                <a:cxn ang="0">
                  <a:pos x="wd2" y="hd2"/>
                </a:cxn>
                <a:cxn ang="5400000">
                  <a:pos x="wd2" y="hd2"/>
                </a:cxn>
                <a:cxn ang="10800000">
                  <a:pos x="wd2" y="hd2"/>
                </a:cxn>
                <a:cxn ang="16200000">
                  <a:pos x="wd2" y="hd2"/>
                </a:cxn>
              </a:cxnLst>
              <a:rect l="0" t="0" r="r" b="b"/>
              <a:pathLst>
                <a:path w="21600" h="21600" extrusionOk="0">
                  <a:moveTo>
                    <a:pt x="10002" y="0"/>
                  </a:moveTo>
                  <a:lnTo>
                    <a:pt x="2249" y="4561"/>
                  </a:lnTo>
                  <a:lnTo>
                    <a:pt x="0" y="15210"/>
                  </a:lnTo>
                  <a:lnTo>
                    <a:pt x="16269" y="21600"/>
                  </a:lnTo>
                  <a:lnTo>
                    <a:pt x="21600" y="9771"/>
                  </a:lnTo>
                  <a:lnTo>
                    <a:pt x="10002" y="0"/>
                  </a:lnTo>
                  <a:close/>
                </a:path>
              </a:pathLst>
            </a:custGeom>
            <a:grpFill/>
            <a:ln w="25400" cap="flat">
              <a:noFill/>
              <a:prstDash val="solid"/>
              <a:miter lim="400000"/>
            </a:ln>
            <a:effectLst/>
          </p:spPr>
          <p:txBody>
            <a:bodyPr anchor="ctr"/>
            <a:lstStyle/>
            <a:p>
              <a:pPr algn="ctr"/>
              <a:endParaRPr/>
            </a:p>
          </p:txBody>
        </p:sp>
        <p:sp>
          <p:nvSpPr>
            <p:cNvPr id="76" name="任意多边形: 形状 75">
              <a:extLst>
                <a:ext uri="{FF2B5EF4-FFF2-40B4-BE49-F238E27FC236}">
                  <a16:creationId xmlns:a16="http://schemas.microsoft.com/office/drawing/2014/main" id="{4C8F337C-101F-4FBA-84AA-DCD229636880}"/>
                </a:ext>
              </a:extLst>
            </p:cNvPr>
            <p:cNvSpPr/>
            <p:nvPr/>
          </p:nvSpPr>
          <p:spPr>
            <a:xfrm>
              <a:off x="4711539" y="3478504"/>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5567" y="0"/>
                  </a:moveTo>
                  <a:lnTo>
                    <a:pt x="0" y="5790"/>
                  </a:lnTo>
                  <a:lnTo>
                    <a:pt x="269" y="21257"/>
                  </a:lnTo>
                  <a:lnTo>
                    <a:pt x="21600" y="21600"/>
                  </a:lnTo>
                  <a:lnTo>
                    <a:pt x="15567" y="0"/>
                  </a:lnTo>
                  <a:close/>
                </a:path>
              </a:pathLst>
            </a:custGeom>
            <a:grpFill/>
            <a:ln w="25400" cap="flat">
              <a:noFill/>
              <a:prstDash val="solid"/>
              <a:miter lim="400000"/>
            </a:ln>
            <a:effectLst/>
          </p:spPr>
          <p:txBody>
            <a:bodyPr anchor="ctr"/>
            <a:lstStyle/>
            <a:p>
              <a:pPr algn="ctr"/>
              <a:endParaRPr/>
            </a:p>
          </p:txBody>
        </p:sp>
        <p:sp>
          <p:nvSpPr>
            <p:cNvPr id="77" name="任意多边形: 形状 76">
              <a:extLst>
                <a:ext uri="{FF2B5EF4-FFF2-40B4-BE49-F238E27FC236}">
                  <a16:creationId xmlns:a16="http://schemas.microsoft.com/office/drawing/2014/main" id="{31488CF8-6330-4721-A20A-E0420F014D73}"/>
                </a:ext>
              </a:extLst>
            </p:cNvPr>
            <p:cNvSpPr/>
            <p:nvPr/>
          </p:nvSpPr>
          <p:spPr>
            <a:xfrm>
              <a:off x="4753604" y="348042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788" y="13213"/>
                  </a:lnTo>
                  <a:lnTo>
                    <a:pt x="15312" y="21600"/>
                  </a:lnTo>
                  <a:lnTo>
                    <a:pt x="21600" y="1906"/>
                  </a:lnTo>
                  <a:lnTo>
                    <a:pt x="0" y="0"/>
                  </a:lnTo>
                  <a:close/>
                </a:path>
              </a:pathLst>
            </a:custGeom>
            <a:grpFill/>
            <a:ln w="25400" cap="flat">
              <a:noFill/>
              <a:prstDash val="solid"/>
              <a:miter lim="400000"/>
            </a:ln>
            <a:effectLst/>
          </p:spPr>
          <p:txBody>
            <a:bodyPr anchor="ctr"/>
            <a:lstStyle/>
            <a:p>
              <a:pPr algn="ctr"/>
              <a:endParaRPr/>
            </a:p>
          </p:txBody>
        </p:sp>
        <p:sp>
          <p:nvSpPr>
            <p:cNvPr id="78" name="任意多边形: 形状 77">
              <a:extLst>
                <a:ext uri="{FF2B5EF4-FFF2-40B4-BE49-F238E27FC236}">
                  <a16:creationId xmlns:a16="http://schemas.microsoft.com/office/drawing/2014/main" id="{A753E696-122C-4723-BCEE-214A01F4E1D9}"/>
                </a:ext>
              </a:extLst>
            </p:cNvPr>
            <p:cNvSpPr/>
            <p:nvPr/>
          </p:nvSpPr>
          <p:spPr>
            <a:xfrm>
              <a:off x="4664619" y="3447009"/>
              <a:ext cx="16360" cy="22098"/>
            </a:xfrm>
            <a:custGeom>
              <a:avLst/>
              <a:gdLst/>
              <a:ahLst/>
              <a:cxnLst>
                <a:cxn ang="0">
                  <a:pos x="wd2" y="hd2"/>
                </a:cxn>
                <a:cxn ang="5400000">
                  <a:pos x="wd2" y="hd2"/>
                </a:cxn>
                <a:cxn ang="10800000">
                  <a:pos x="wd2" y="hd2"/>
                </a:cxn>
                <a:cxn ang="16200000">
                  <a:pos x="wd2" y="hd2"/>
                </a:cxn>
              </a:cxnLst>
              <a:rect l="0" t="0" r="r" b="b"/>
              <a:pathLst>
                <a:path w="21600" h="21600" extrusionOk="0">
                  <a:moveTo>
                    <a:pt x="0" y="3742"/>
                  </a:moveTo>
                  <a:lnTo>
                    <a:pt x="4329" y="14327"/>
                  </a:lnTo>
                  <a:lnTo>
                    <a:pt x="16819" y="21600"/>
                  </a:lnTo>
                  <a:lnTo>
                    <a:pt x="21600" y="10493"/>
                  </a:lnTo>
                  <a:lnTo>
                    <a:pt x="13195" y="0"/>
                  </a:lnTo>
                  <a:lnTo>
                    <a:pt x="0" y="3742"/>
                  </a:lnTo>
                  <a:close/>
                </a:path>
              </a:pathLst>
            </a:custGeom>
            <a:grpFill/>
            <a:ln w="25400" cap="flat">
              <a:noFill/>
              <a:prstDash val="solid"/>
              <a:miter lim="400000"/>
            </a:ln>
            <a:effectLst/>
          </p:spPr>
          <p:txBody>
            <a:bodyPr anchor="ctr"/>
            <a:lstStyle/>
            <a:p>
              <a:pPr algn="ctr"/>
              <a:endParaRPr/>
            </a:p>
          </p:txBody>
        </p:sp>
        <p:sp>
          <p:nvSpPr>
            <p:cNvPr id="79" name="任意多边形: 形状 78">
              <a:extLst>
                <a:ext uri="{FF2B5EF4-FFF2-40B4-BE49-F238E27FC236}">
                  <a16:creationId xmlns:a16="http://schemas.microsoft.com/office/drawing/2014/main" id="{5478FB94-7A31-46AD-B1EE-EC2454249717}"/>
                </a:ext>
              </a:extLst>
            </p:cNvPr>
            <p:cNvSpPr/>
            <p:nvPr/>
          </p:nvSpPr>
          <p:spPr>
            <a:xfrm>
              <a:off x="6355015" y="1385657"/>
              <a:ext cx="4055030" cy="2652259"/>
            </a:xfrm>
            <a:custGeom>
              <a:avLst/>
              <a:gdLst/>
              <a:ahLst/>
              <a:cxnLst>
                <a:cxn ang="0">
                  <a:pos x="wd2" y="hd2"/>
                </a:cxn>
                <a:cxn ang="5400000">
                  <a:pos x="wd2" y="hd2"/>
                </a:cxn>
                <a:cxn ang="10800000">
                  <a:pos x="wd2" y="hd2"/>
                </a:cxn>
                <a:cxn ang="16200000">
                  <a:pos x="wd2" y="hd2"/>
                </a:cxn>
              </a:cxnLst>
              <a:rect l="0" t="0" r="r" b="b"/>
              <a:pathLst>
                <a:path w="21600" h="21600" extrusionOk="0">
                  <a:moveTo>
                    <a:pt x="3888" y="10223"/>
                  </a:moveTo>
                  <a:lnTo>
                    <a:pt x="3759" y="10132"/>
                  </a:lnTo>
                  <a:lnTo>
                    <a:pt x="3569" y="10003"/>
                  </a:lnTo>
                  <a:lnTo>
                    <a:pt x="3374" y="9884"/>
                  </a:lnTo>
                  <a:lnTo>
                    <a:pt x="3246" y="9786"/>
                  </a:lnTo>
                  <a:lnTo>
                    <a:pt x="3076" y="9629"/>
                  </a:lnTo>
                  <a:lnTo>
                    <a:pt x="2911" y="9493"/>
                  </a:lnTo>
                  <a:lnTo>
                    <a:pt x="2761" y="9429"/>
                  </a:lnTo>
                  <a:lnTo>
                    <a:pt x="2496" y="9413"/>
                  </a:lnTo>
                  <a:lnTo>
                    <a:pt x="2488" y="9536"/>
                  </a:lnTo>
                  <a:lnTo>
                    <a:pt x="2488" y="9685"/>
                  </a:lnTo>
                  <a:lnTo>
                    <a:pt x="2440" y="9710"/>
                  </a:lnTo>
                  <a:lnTo>
                    <a:pt x="2438" y="9806"/>
                  </a:lnTo>
                  <a:lnTo>
                    <a:pt x="2404" y="9868"/>
                  </a:lnTo>
                  <a:lnTo>
                    <a:pt x="2281" y="9898"/>
                  </a:lnTo>
                  <a:lnTo>
                    <a:pt x="2204" y="9935"/>
                  </a:lnTo>
                  <a:lnTo>
                    <a:pt x="2136" y="9972"/>
                  </a:lnTo>
                  <a:lnTo>
                    <a:pt x="2027" y="9972"/>
                  </a:lnTo>
                  <a:lnTo>
                    <a:pt x="2002" y="9923"/>
                  </a:lnTo>
                  <a:lnTo>
                    <a:pt x="1910" y="9911"/>
                  </a:lnTo>
                  <a:lnTo>
                    <a:pt x="1838" y="9882"/>
                  </a:lnTo>
                  <a:lnTo>
                    <a:pt x="1737" y="9753"/>
                  </a:lnTo>
                  <a:lnTo>
                    <a:pt x="1662" y="9674"/>
                  </a:lnTo>
                  <a:lnTo>
                    <a:pt x="1566" y="9632"/>
                  </a:lnTo>
                  <a:lnTo>
                    <a:pt x="1456" y="9632"/>
                  </a:lnTo>
                  <a:lnTo>
                    <a:pt x="1311" y="9556"/>
                  </a:lnTo>
                  <a:lnTo>
                    <a:pt x="1142" y="9550"/>
                  </a:lnTo>
                  <a:lnTo>
                    <a:pt x="1029" y="9601"/>
                  </a:lnTo>
                  <a:lnTo>
                    <a:pt x="892" y="9755"/>
                  </a:lnTo>
                  <a:lnTo>
                    <a:pt x="746" y="9853"/>
                  </a:lnTo>
                  <a:lnTo>
                    <a:pt x="686" y="9775"/>
                  </a:lnTo>
                  <a:lnTo>
                    <a:pt x="637" y="9781"/>
                  </a:lnTo>
                  <a:lnTo>
                    <a:pt x="517" y="9840"/>
                  </a:lnTo>
                  <a:lnTo>
                    <a:pt x="497" y="9942"/>
                  </a:lnTo>
                  <a:lnTo>
                    <a:pt x="434" y="10016"/>
                  </a:lnTo>
                  <a:lnTo>
                    <a:pt x="372" y="10094"/>
                  </a:lnTo>
                  <a:lnTo>
                    <a:pt x="333" y="10172"/>
                  </a:lnTo>
                  <a:lnTo>
                    <a:pt x="266" y="10168"/>
                  </a:lnTo>
                  <a:lnTo>
                    <a:pt x="217" y="10086"/>
                  </a:lnTo>
                  <a:lnTo>
                    <a:pt x="134" y="10086"/>
                  </a:lnTo>
                  <a:lnTo>
                    <a:pt x="77" y="10159"/>
                  </a:lnTo>
                  <a:lnTo>
                    <a:pt x="17" y="10178"/>
                  </a:lnTo>
                  <a:lnTo>
                    <a:pt x="0" y="10303"/>
                  </a:lnTo>
                  <a:lnTo>
                    <a:pt x="78" y="10326"/>
                  </a:lnTo>
                  <a:lnTo>
                    <a:pt x="133" y="10326"/>
                  </a:lnTo>
                  <a:lnTo>
                    <a:pt x="213" y="10443"/>
                  </a:lnTo>
                  <a:lnTo>
                    <a:pt x="190" y="10662"/>
                  </a:lnTo>
                  <a:lnTo>
                    <a:pt x="231" y="10788"/>
                  </a:lnTo>
                  <a:lnTo>
                    <a:pt x="262" y="10847"/>
                  </a:lnTo>
                  <a:lnTo>
                    <a:pt x="282" y="10968"/>
                  </a:lnTo>
                  <a:lnTo>
                    <a:pt x="337" y="11040"/>
                  </a:lnTo>
                  <a:lnTo>
                    <a:pt x="424" y="11071"/>
                  </a:lnTo>
                  <a:lnTo>
                    <a:pt x="465" y="11186"/>
                  </a:lnTo>
                  <a:lnTo>
                    <a:pt x="540" y="11180"/>
                  </a:lnTo>
                  <a:lnTo>
                    <a:pt x="596" y="11201"/>
                  </a:lnTo>
                  <a:lnTo>
                    <a:pt x="645" y="11223"/>
                  </a:lnTo>
                  <a:lnTo>
                    <a:pt x="735" y="11198"/>
                  </a:lnTo>
                  <a:lnTo>
                    <a:pt x="776" y="11089"/>
                  </a:lnTo>
                  <a:lnTo>
                    <a:pt x="857" y="11047"/>
                  </a:lnTo>
                  <a:lnTo>
                    <a:pt x="954" y="11071"/>
                  </a:lnTo>
                  <a:lnTo>
                    <a:pt x="993" y="11139"/>
                  </a:lnTo>
                  <a:lnTo>
                    <a:pt x="1119" y="11238"/>
                  </a:lnTo>
                  <a:lnTo>
                    <a:pt x="1269" y="11219"/>
                  </a:lnTo>
                  <a:lnTo>
                    <a:pt x="1313" y="11207"/>
                  </a:lnTo>
                  <a:lnTo>
                    <a:pt x="1390" y="11119"/>
                  </a:lnTo>
                  <a:lnTo>
                    <a:pt x="1486" y="11040"/>
                  </a:lnTo>
                  <a:lnTo>
                    <a:pt x="1581" y="11016"/>
                  </a:lnTo>
                  <a:lnTo>
                    <a:pt x="1654" y="11065"/>
                  </a:lnTo>
                  <a:lnTo>
                    <a:pt x="1739" y="11096"/>
                  </a:lnTo>
                  <a:lnTo>
                    <a:pt x="1739" y="11260"/>
                  </a:lnTo>
                  <a:lnTo>
                    <a:pt x="1702" y="11340"/>
                  </a:lnTo>
                  <a:lnTo>
                    <a:pt x="1719" y="11558"/>
                  </a:lnTo>
                  <a:lnTo>
                    <a:pt x="1711" y="11714"/>
                  </a:lnTo>
                  <a:lnTo>
                    <a:pt x="1701" y="11890"/>
                  </a:lnTo>
                  <a:lnTo>
                    <a:pt x="1645" y="12051"/>
                  </a:lnTo>
                  <a:lnTo>
                    <a:pt x="1657" y="12205"/>
                  </a:lnTo>
                  <a:cubicBezTo>
                    <a:pt x="1663" y="12254"/>
                    <a:pt x="1664" y="12305"/>
                    <a:pt x="1661" y="12355"/>
                  </a:cubicBezTo>
                  <a:cubicBezTo>
                    <a:pt x="1657" y="12420"/>
                    <a:pt x="1645" y="12483"/>
                    <a:pt x="1626" y="12542"/>
                  </a:cubicBezTo>
                  <a:lnTo>
                    <a:pt x="1585" y="12622"/>
                  </a:lnTo>
                  <a:lnTo>
                    <a:pt x="1546" y="12708"/>
                  </a:lnTo>
                  <a:lnTo>
                    <a:pt x="1479" y="12732"/>
                  </a:lnTo>
                  <a:lnTo>
                    <a:pt x="1386" y="12744"/>
                  </a:lnTo>
                  <a:lnTo>
                    <a:pt x="1285" y="12855"/>
                  </a:lnTo>
                  <a:lnTo>
                    <a:pt x="1201" y="12825"/>
                  </a:lnTo>
                  <a:lnTo>
                    <a:pt x="1164" y="12855"/>
                  </a:lnTo>
                  <a:lnTo>
                    <a:pt x="1228" y="12954"/>
                  </a:lnTo>
                  <a:lnTo>
                    <a:pt x="1263" y="13016"/>
                  </a:lnTo>
                  <a:lnTo>
                    <a:pt x="1239" y="13122"/>
                  </a:lnTo>
                  <a:lnTo>
                    <a:pt x="1307" y="13243"/>
                  </a:lnTo>
                  <a:lnTo>
                    <a:pt x="1359" y="13286"/>
                  </a:lnTo>
                  <a:lnTo>
                    <a:pt x="1408" y="13345"/>
                  </a:lnTo>
                  <a:lnTo>
                    <a:pt x="1404" y="13429"/>
                  </a:lnTo>
                  <a:lnTo>
                    <a:pt x="1404" y="13509"/>
                  </a:lnTo>
                  <a:lnTo>
                    <a:pt x="1481" y="13572"/>
                  </a:lnTo>
                  <a:lnTo>
                    <a:pt x="1558" y="13731"/>
                  </a:lnTo>
                  <a:lnTo>
                    <a:pt x="1602" y="13657"/>
                  </a:lnTo>
                  <a:lnTo>
                    <a:pt x="1602" y="13398"/>
                  </a:lnTo>
                  <a:lnTo>
                    <a:pt x="1659" y="13331"/>
                  </a:lnTo>
                  <a:lnTo>
                    <a:pt x="1705" y="13420"/>
                  </a:lnTo>
                  <a:lnTo>
                    <a:pt x="1741" y="13555"/>
                  </a:lnTo>
                  <a:lnTo>
                    <a:pt x="1778" y="13837"/>
                  </a:lnTo>
                  <a:lnTo>
                    <a:pt x="1857" y="13946"/>
                  </a:lnTo>
                  <a:lnTo>
                    <a:pt x="1897" y="14113"/>
                  </a:lnTo>
                  <a:lnTo>
                    <a:pt x="1945" y="14215"/>
                  </a:lnTo>
                  <a:lnTo>
                    <a:pt x="1995" y="14373"/>
                  </a:lnTo>
                  <a:lnTo>
                    <a:pt x="2107" y="14477"/>
                  </a:lnTo>
                  <a:lnTo>
                    <a:pt x="2161" y="14557"/>
                  </a:lnTo>
                  <a:lnTo>
                    <a:pt x="2205" y="14753"/>
                  </a:lnTo>
                  <a:lnTo>
                    <a:pt x="2226" y="14836"/>
                  </a:lnTo>
                  <a:lnTo>
                    <a:pt x="2263" y="14879"/>
                  </a:lnTo>
                  <a:lnTo>
                    <a:pt x="2376" y="14996"/>
                  </a:lnTo>
                  <a:cubicBezTo>
                    <a:pt x="2426" y="15014"/>
                    <a:pt x="2466" y="15070"/>
                    <a:pt x="2482" y="15144"/>
                  </a:cubicBezTo>
                  <a:cubicBezTo>
                    <a:pt x="2497" y="15214"/>
                    <a:pt x="2488" y="15290"/>
                    <a:pt x="2459" y="15348"/>
                  </a:cubicBezTo>
                  <a:lnTo>
                    <a:pt x="2471" y="15538"/>
                  </a:lnTo>
                  <a:lnTo>
                    <a:pt x="2507" y="15643"/>
                  </a:lnTo>
                  <a:lnTo>
                    <a:pt x="2572" y="15815"/>
                  </a:lnTo>
                  <a:lnTo>
                    <a:pt x="2569" y="15885"/>
                  </a:lnTo>
                  <a:lnTo>
                    <a:pt x="2642" y="16007"/>
                  </a:lnTo>
                  <a:lnTo>
                    <a:pt x="2642" y="16132"/>
                  </a:lnTo>
                  <a:lnTo>
                    <a:pt x="2752" y="16182"/>
                  </a:lnTo>
                  <a:lnTo>
                    <a:pt x="2832" y="16227"/>
                  </a:lnTo>
                  <a:lnTo>
                    <a:pt x="2913" y="16387"/>
                  </a:lnTo>
                  <a:lnTo>
                    <a:pt x="2927" y="16529"/>
                  </a:lnTo>
                  <a:lnTo>
                    <a:pt x="2966" y="16723"/>
                  </a:lnTo>
                  <a:lnTo>
                    <a:pt x="3043" y="16785"/>
                  </a:lnTo>
                  <a:lnTo>
                    <a:pt x="3087" y="16846"/>
                  </a:lnTo>
                  <a:lnTo>
                    <a:pt x="3139" y="16957"/>
                  </a:lnTo>
                  <a:lnTo>
                    <a:pt x="3191" y="17089"/>
                  </a:lnTo>
                  <a:lnTo>
                    <a:pt x="3118" y="17304"/>
                  </a:lnTo>
                  <a:lnTo>
                    <a:pt x="3139" y="17419"/>
                  </a:lnTo>
                  <a:lnTo>
                    <a:pt x="3194" y="17508"/>
                  </a:lnTo>
                  <a:lnTo>
                    <a:pt x="3227" y="17680"/>
                  </a:lnTo>
                  <a:lnTo>
                    <a:pt x="3227" y="17814"/>
                  </a:lnTo>
                  <a:lnTo>
                    <a:pt x="3293" y="17911"/>
                  </a:lnTo>
                  <a:lnTo>
                    <a:pt x="3336" y="18030"/>
                  </a:lnTo>
                  <a:lnTo>
                    <a:pt x="3409" y="18178"/>
                  </a:lnTo>
                  <a:lnTo>
                    <a:pt x="3565" y="18190"/>
                  </a:lnTo>
                  <a:lnTo>
                    <a:pt x="3748" y="18135"/>
                  </a:lnTo>
                  <a:lnTo>
                    <a:pt x="3935" y="18014"/>
                  </a:lnTo>
                  <a:lnTo>
                    <a:pt x="4073" y="17896"/>
                  </a:lnTo>
                  <a:lnTo>
                    <a:pt x="4184" y="17812"/>
                  </a:lnTo>
                  <a:cubicBezTo>
                    <a:pt x="4199" y="17796"/>
                    <a:pt x="4214" y="17780"/>
                    <a:pt x="4230" y="17765"/>
                  </a:cubicBezTo>
                  <a:cubicBezTo>
                    <a:pt x="4287" y="17711"/>
                    <a:pt x="4350" y="17669"/>
                    <a:pt x="4415" y="17640"/>
                  </a:cubicBezTo>
                  <a:lnTo>
                    <a:pt x="4544" y="17598"/>
                  </a:lnTo>
                  <a:lnTo>
                    <a:pt x="4658" y="17456"/>
                  </a:lnTo>
                  <a:lnTo>
                    <a:pt x="4758" y="17382"/>
                  </a:lnTo>
                  <a:lnTo>
                    <a:pt x="4839" y="17253"/>
                  </a:lnTo>
                  <a:lnTo>
                    <a:pt x="4875" y="17128"/>
                  </a:lnTo>
                  <a:lnTo>
                    <a:pt x="4961" y="17019"/>
                  </a:lnTo>
                  <a:cubicBezTo>
                    <a:pt x="4995" y="16986"/>
                    <a:pt x="5032" y="16960"/>
                    <a:pt x="5070" y="16941"/>
                  </a:cubicBezTo>
                  <a:cubicBezTo>
                    <a:pt x="5110" y="16921"/>
                    <a:pt x="5151" y="16908"/>
                    <a:pt x="5192" y="16903"/>
                  </a:cubicBezTo>
                  <a:cubicBezTo>
                    <a:pt x="5225" y="16899"/>
                    <a:pt x="5257" y="16887"/>
                    <a:pt x="5288" y="16869"/>
                  </a:cubicBezTo>
                  <a:cubicBezTo>
                    <a:pt x="5328" y="16844"/>
                    <a:pt x="5365" y="16809"/>
                    <a:pt x="5396" y="16764"/>
                  </a:cubicBezTo>
                  <a:lnTo>
                    <a:pt x="5451" y="16651"/>
                  </a:lnTo>
                  <a:lnTo>
                    <a:pt x="5538" y="16468"/>
                  </a:lnTo>
                  <a:lnTo>
                    <a:pt x="5657" y="16322"/>
                  </a:lnTo>
                  <a:cubicBezTo>
                    <a:pt x="5670" y="16286"/>
                    <a:pt x="5682" y="16249"/>
                    <a:pt x="5694" y="16212"/>
                  </a:cubicBezTo>
                  <a:cubicBezTo>
                    <a:pt x="5710" y="16157"/>
                    <a:pt x="5726" y="16102"/>
                    <a:pt x="5740" y="16045"/>
                  </a:cubicBezTo>
                  <a:lnTo>
                    <a:pt x="5776" y="15879"/>
                  </a:lnTo>
                  <a:cubicBezTo>
                    <a:pt x="5808" y="15838"/>
                    <a:pt x="5839" y="15797"/>
                    <a:pt x="5869" y="15756"/>
                  </a:cubicBezTo>
                  <a:cubicBezTo>
                    <a:pt x="5901" y="15713"/>
                    <a:pt x="5933" y="15670"/>
                    <a:pt x="5964" y="15626"/>
                  </a:cubicBezTo>
                  <a:lnTo>
                    <a:pt x="6029" y="15553"/>
                  </a:lnTo>
                  <a:lnTo>
                    <a:pt x="6063" y="15485"/>
                  </a:lnTo>
                  <a:lnTo>
                    <a:pt x="6063" y="15401"/>
                  </a:lnTo>
                  <a:lnTo>
                    <a:pt x="5965" y="15268"/>
                  </a:lnTo>
                  <a:lnTo>
                    <a:pt x="5871" y="15159"/>
                  </a:lnTo>
                  <a:lnTo>
                    <a:pt x="5830" y="15003"/>
                  </a:lnTo>
                  <a:lnTo>
                    <a:pt x="5748" y="14940"/>
                  </a:lnTo>
                  <a:lnTo>
                    <a:pt x="5631" y="14861"/>
                  </a:lnTo>
                  <a:lnTo>
                    <a:pt x="5505" y="14786"/>
                  </a:lnTo>
                  <a:lnTo>
                    <a:pt x="5437" y="14638"/>
                  </a:lnTo>
                  <a:lnTo>
                    <a:pt x="5414" y="14547"/>
                  </a:lnTo>
                  <a:lnTo>
                    <a:pt x="5434" y="14455"/>
                  </a:lnTo>
                  <a:lnTo>
                    <a:pt x="5487" y="14377"/>
                  </a:lnTo>
                  <a:lnTo>
                    <a:pt x="5436" y="14294"/>
                  </a:lnTo>
                  <a:lnTo>
                    <a:pt x="5436" y="14214"/>
                  </a:lnTo>
                  <a:lnTo>
                    <a:pt x="5394" y="14183"/>
                  </a:lnTo>
                  <a:lnTo>
                    <a:pt x="5375" y="14243"/>
                  </a:lnTo>
                  <a:lnTo>
                    <a:pt x="5340" y="14329"/>
                  </a:lnTo>
                  <a:lnTo>
                    <a:pt x="5256" y="14499"/>
                  </a:lnTo>
                  <a:lnTo>
                    <a:pt x="5091" y="14727"/>
                  </a:lnTo>
                  <a:lnTo>
                    <a:pt x="5056" y="14801"/>
                  </a:lnTo>
                  <a:lnTo>
                    <a:pt x="4994" y="14801"/>
                  </a:lnTo>
                  <a:lnTo>
                    <a:pt x="4947" y="14807"/>
                  </a:lnTo>
                  <a:lnTo>
                    <a:pt x="4906" y="14856"/>
                  </a:lnTo>
                  <a:lnTo>
                    <a:pt x="4740" y="14875"/>
                  </a:lnTo>
                  <a:lnTo>
                    <a:pt x="4692" y="14807"/>
                  </a:lnTo>
                  <a:lnTo>
                    <a:pt x="4634" y="14766"/>
                  </a:lnTo>
                  <a:lnTo>
                    <a:pt x="4581" y="14679"/>
                  </a:lnTo>
                  <a:lnTo>
                    <a:pt x="4674" y="14568"/>
                  </a:lnTo>
                  <a:lnTo>
                    <a:pt x="4648" y="14475"/>
                  </a:lnTo>
                  <a:lnTo>
                    <a:pt x="4550" y="14438"/>
                  </a:lnTo>
                  <a:lnTo>
                    <a:pt x="4562" y="14367"/>
                  </a:lnTo>
                  <a:lnTo>
                    <a:pt x="4522" y="14348"/>
                  </a:lnTo>
                  <a:lnTo>
                    <a:pt x="4490" y="14410"/>
                  </a:lnTo>
                  <a:lnTo>
                    <a:pt x="4462" y="14502"/>
                  </a:lnTo>
                  <a:lnTo>
                    <a:pt x="4337" y="14533"/>
                  </a:lnTo>
                  <a:cubicBezTo>
                    <a:pt x="4331" y="14498"/>
                    <a:pt x="4323" y="14463"/>
                    <a:pt x="4314" y="14428"/>
                  </a:cubicBezTo>
                  <a:cubicBezTo>
                    <a:pt x="4298" y="14362"/>
                    <a:pt x="4278" y="14299"/>
                    <a:pt x="4255" y="14237"/>
                  </a:cubicBezTo>
                  <a:lnTo>
                    <a:pt x="4234" y="14018"/>
                  </a:lnTo>
                  <a:lnTo>
                    <a:pt x="4191" y="13904"/>
                  </a:lnTo>
                  <a:lnTo>
                    <a:pt x="4136" y="13783"/>
                  </a:lnTo>
                  <a:lnTo>
                    <a:pt x="4036" y="13581"/>
                  </a:lnTo>
                  <a:lnTo>
                    <a:pt x="3967" y="13457"/>
                  </a:lnTo>
                  <a:lnTo>
                    <a:pt x="3917" y="13357"/>
                  </a:lnTo>
                  <a:lnTo>
                    <a:pt x="3910" y="13265"/>
                  </a:lnTo>
                  <a:lnTo>
                    <a:pt x="3970" y="13125"/>
                  </a:lnTo>
                  <a:lnTo>
                    <a:pt x="3985" y="13013"/>
                  </a:lnTo>
                  <a:lnTo>
                    <a:pt x="4029" y="12939"/>
                  </a:lnTo>
                  <a:lnTo>
                    <a:pt x="4100" y="12939"/>
                  </a:lnTo>
                  <a:lnTo>
                    <a:pt x="4187" y="12956"/>
                  </a:lnTo>
                  <a:lnTo>
                    <a:pt x="4248" y="13017"/>
                  </a:lnTo>
                  <a:lnTo>
                    <a:pt x="4344" y="13091"/>
                  </a:lnTo>
                  <a:lnTo>
                    <a:pt x="4365" y="13162"/>
                  </a:lnTo>
                  <a:lnTo>
                    <a:pt x="4421" y="13266"/>
                  </a:lnTo>
                  <a:cubicBezTo>
                    <a:pt x="4450" y="13317"/>
                    <a:pt x="4470" y="13379"/>
                    <a:pt x="4479" y="13445"/>
                  </a:cubicBezTo>
                  <a:cubicBezTo>
                    <a:pt x="4485" y="13493"/>
                    <a:pt x="4485" y="13543"/>
                    <a:pt x="4479" y="13591"/>
                  </a:cubicBezTo>
                  <a:lnTo>
                    <a:pt x="4511" y="13696"/>
                  </a:lnTo>
                  <a:lnTo>
                    <a:pt x="4660" y="13788"/>
                  </a:lnTo>
                  <a:lnTo>
                    <a:pt x="4794" y="13899"/>
                  </a:lnTo>
                  <a:lnTo>
                    <a:pt x="4994" y="14024"/>
                  </a:lnTo>
                  <a:lnTo>
                    <a:pt x="5100" y="14092"/>
                  </a:lnTo>
                  <a:lnTo>
                    <a:pt x="5224" y="14082"/>
                  </a:lnTo>
                  <a:lnTo>
                    <a:pt x="5261" y="14033"/>
                  </a:lnTo>
                  <a:lnTo>
                    <a:pt x="5374" y="13959"/>
                  </a:lnTo>
                  <a:lnTo>
                    <a:pt x="5431" y="13947"/>
                  </a:lnTo>
                  <a:lnTo>
                    <a:pt x="5522" y="14062"/>
                  </a:lnTo>
                  <a:cubicBezTo>
                    <a:pt x="5537" y="14073"/>
                    <a:pt x="5550" y="14086"/>
                    <a:pt x="5562" y="14103"/>
                  </a:cubicBezTo>
                  <a:cubicBezTo>
                    <a:pt x="5586" y="14136"/>
                    <a:pt x="5605" y="14180"/>
                    <a:pt x="5614" y="14228"/>
                  </a:cubicBezTo>
                  <a:lnTo>
                    <a:pt x="5643" y="14331"/>
                  </a:lnTo>
                  <a:lnTo>
                    <a:pt x="5698" y="14433"/>
                  </a:lnTo>
                  <a:lnTo>
                    <a:pt x="5848" y="14477"/>
                  </a:lnTo>
                  <a:lnTo>
                    <a:pt x="6003" y="14470"/>
                  </a:lnTo>
                  <a:cubicBezTo>
                    <a:pt x="6040" y="14472"/>
                    <a:pt x="6077" y="14481"/>
                    <a:pt x="6112" y="14497"/>
                  </a:cubicBezTo>
                  <a:cubicBezTo>
                    <a:pt x="6145" y="14512"/>
                    <a:pt x="6176" y="14533"/>
                    <a:pt x="6206" y="14559"/>
                  </a:cubicBezTo>
                  <a:lnTo>
                    <a:pt x="6303" y="14547"/>
                  </a:lnTo>
                  <a:lnTo>
                    <a:pt x="6419" y="14487"/>
                  </a:lnTo>
                  <a:lnTo>
                    <a:pt x="6603" y="14487"/>
                  </a:lnTo>
                  <a:lnTo>
                    <a:pt x="6724" y="14567"/>
                  </a:lnTo>
                  <a:lnTo>
                    <a:pt x="6879" y="14555"/>
                  </a:lnTo>
                  <a:lnTo>
                    <a:pt x="6977" y="14489"/>
                  </a:lnTo>
                  <a:lnTo>
                    <a:pt x="7070" y="14403"/>
                  </a:lnTo>
                  <a:lnTo>
                    <a:pt x="7147" y="14409"/>
                  </a:lnTo>
                  <a:lnTo>
                    <a:pt x="7209" y="14502"/>
                  </a:lnTo>
                  <a:lnTo>
                    <a:pt x="7315" y="14543"/>
                  </a:lnTo>
                  <a:lnTo>
                    <a:pt x="7340" y="14604"/>
                  </a:lnTo>
                  <a:lnTo>
                    <a:pt x="7368" y="14721"/>
                  </a:lnTo>
                  <a:lnTo>
                    <a:pt x="7407" y="14857"/>
                  </a:lnTo>
                  <a:lnTo>
                    <a:pt x="7550" y="14913"/>
                  </a:lnTo>
                  <a:lnTo>
                    <a:pt x="7601" y="14995"/>
                  </a:lnTo>
                  <a:lnTo>
                    <a:pt x="7666" y="15131"/>
                  </a:lnTo>
                  <a:lnTo>
                    <a:pt x="7730" y="15227"/>
                  </a:lnTo>
                  <a:lnTo>
                    <a:pt x="7824" y="15221"/>
                  </a:lnTo>
                  <a:lnTo>
                    <a:pt x="7928" y="15166"/>
                  </a:lnTo>
                  <a:lnTo>
                    <a:pt x="7948" y="15245"/>
                  </a:lnTo>
                  <a:lnTo>
                    <a:pt x="7920" y="15356"/>
                  </a:lnTo>
                  <a:lnTo>
                    <a:pt x="7861" y="15391"/>
                  </a:lnTo>
                  <a:lnTo>
                    <a:pt x="7781" y="15366"/>
                  </a:lnTo>
                  <a:lnTo>
                    <a:pt x="7730" y="15391"/>
                  </a:lnTo>
                  <a:lnTo>
                    <a:pt x="7758" y="15489"/>
                  </a:lnTo>
                  <a:lnTo>
                    <a:pt x="7847" y="15538"/>
                  </a:lnTo>
                  <a:lnTo>
                    <a:pt x="7873" y="15682"/>
                  </a:lnTo>
                  <a:lnTo>
                    <a:pt x="7941" y="15770"/>
                  </a:lnTo>
                  <a:lnTo>
                    <a:pt x="8042" y="15801"/>
                  </a:lnTo>
                  <a:lnTo>
                    <a:pt x="8140" y="15801"/>
                  </a:lnTo>
                  <a:lnTo>
                    <a:pt x="8215" y="15735"/>
                  </a:lnTo>
                  <a:lnTo>
                    <a:pt x="8215" y="15647"/>
                  </a:lnTo>
                  <a:lnTo>
                    <a:pt x="8207" y="15558"/>
                  </a:lnTo>
                  <a:lnTo>
                    <a:pt x="8244" y="15441"/>
                  </a:lnTo>
                  <a:cubicBezTo>
                    <a:pt x="8257" y="15421"/>
                    <a:pt x="8274" y="15406"/>
                    <a:pt x="8293" y="15398"/>
                  </a:cubicBezTo>
                  <a:cubicBezTo>
                    <a:pt x="8324" y="15385"/>
                    <a:pt x="8357" y="15392"/>
                    <a:pt x="8385" y="15417"/>
                  </a:cubicBezTo>
                  <a:lnTo>
                    <a:pt x="8429" y="15521"/>
                  </a:lnTo>
                  <a:lnTo>
                    <a:pt x="8417" y="15693"/>
                  </a:lnTo>
                  <a:lnTo>
                    <a:pt x="8397" y="15792"/>
                  </a:lnTo>
                  <a:lnTo>
                    <a:pt x="8386" y="15933"/>
                  </a:lnTo>
                  <a:lnTo>
                    <a:pt x="8386" y="16079"/>
                  </a:lnTo>
                  <a:lnTo>
                    <a:pt x="8398" y="16182"/>
                  </a:lnTo>
                  <a:lnTo>
                    <a:pt x="8473" y="16441"/>
                  </a:lnTo>
                  <a:lnTo>
                    <a:pt x="8502" y="16728"/>
                  </a:lnTo>
                  <a:lnTo>
                    <a:pt x="8510" y="16868"/>
                  </a:lnTo>
                  <a:lnTo>
                    <a:pt x="8607" y="17022"/>
                  </a:lnTo>
                  <a:lnTo>
                    <a:pt x="8663" y="17133"/>
                  </a:lnTo>
                  <a:lnTo>
                    <a:pt x="8679" y="17303"/>
                  </a:lnTo>
                  <a:lnTo>
                    <a:pt x="8703" y="17418"/>
                  </a:lnTo>
                  <a:lnTo>
                    <a:pt x="8759" y="17603"/>
                  </a:lnTo>
                  <a:lnTo>
                    <a:pt x="8799" y="17688"/>
                  </a:lnTo>
                  <a:lnTo>
                    <a:pt x="8858" y="17815"/>
                  </a:lnTo>
                  <a:lnTo>
                    <a:pt x="8894" y="17957"/>
                  </a:lnTo>
                  <a:lnTo>
                    <a:pt x="8919" y="18076"/>
                  </a:lnTo>
                  <a:lnTo>
                    <a:pt x="8963" y="18226"/>
                  </a:lnTo>
                  <a:lnTo>
                    <a:pt x="9034" y="18456"/>
                  </a:lnTo>
                  <a:lnTo>
                    <a:pt x="9088" y="18673"/>
                  </a:lnTo>
                  <a:lnTo>
                    <a:pt x="9120" y="18766"/>
                  </a:lnTo>
                  <a:lnTo>
                    <a:pt x="9157" y="18876"/>
                  </a:lnTo>
                  <a:lnTo>
                    <a:pt x="9165" y="18992"/>
                  </a:lnTo>
                  <a:lnTo>
                    <a:pt x="9224" y="19229"/>
                  </a:lnTo>
                  <a:lnTo>
                    <a:pt x="9265" y="19340"/>
                  </a:lnTo>
                  <a:lnTo>
                    <a:pt x="9335" y="19401"/>
                  </a:lnTo>
                  <a:lnTo>
                    <a:pt x="9398" y="19455"/>
                  </a:lnTo>
                  <a:lnTo>
                    <a:pt x="9435" y="19534"/>
                  </a:lnTo>
                  <a:lnTo>
                    <a:pt x="9499" y="19529"/>
                  </a:lnTo>
                  <a:cubicBezTo>
                    <a:pt x="9505" y="19494"/>
                    <a:pt x="9512" y="19459"/>
                    <a:pt x="9519" y="19424"/>
                  </a:cubicBezTo>
                  <a:cubicBezTo>
                    <a:pt x="9525" y="19391"/>
                    <a:pt x="9532" y="19357"/>
                    <a:pt x="9539" y="19324"/>
                  </a:cubicBezTo>
                  <a:cubicBezTo>
                    <a:pt x="9570" y="19289"/>
                    <a:pt x="9599" y="19249"/>
                    <a:pt x="9625" y="19204"/>
                  </a:cubicBezTo>
                  <a:cubicBezTo>
                    <a:pt x="9647" y="19167"/>
                    <a:pt x="9667" y="19127"/>
                    <a:pt x="9684" y="19085"/>
                  </a:cubicBezTo>
                  <a:cubicBezTo>
                    <a:pt x="9697" y="19045"/>
                    <a:pt x="9711" y="19006"/>
                    <a:pt x="9726" y="18966"/>
                  </a:cubicBezTo>
                  <a:cubicBezTo>
                    <a:pt x="9741" y="18924"/>
                    <a:pt x="9756" y="18882"/>
                    <a:pt x="9772" y="18841"/>
                  </a:cubicBezTo>
                  <a:cubicBezTo>
                    <a:pt x="9774" y="18775"/>
                    <a:pt x="9777" y="18710"/>
                    <a:pt x="9780" y="18644"/>
                  </a:cubicBezTo>
                  <a:cubicBezTo>
                    <a:pt x="9783" y="18560"/>
                    <a:pt x="9787" y="18477"/>
                    <a:pt x="9791" y="18393"/>
                  </a:cubicBezTo>
                  <a:lnTo>
                    <a:pt x="9799" y="18288"/>
                  </a:lnTo>
                  <a:cubicBezTo>
                    <a:pt x="9805" y="18246"/>
                    <a:pt x="9812" y="18203"/>
                    <a:pt x="9819" y="18161"/>
                  </a:cubicBezTo>
                  <a:cubicBezTo>
                    <a:pt x="9829" y="18099"/>
                    <a:pt x="9840" y="18037"/>
                    <a:pt x="9852" y="17976"/>
                  </a:cubicBezTo>
                  <a:lnTo>
                    <a:pt x="9839" y="17816"/>
                  </a:lnTo>
                  <a:lnTo>
                    <a:pt x="9791" y="17643"/>
                  </a:lnTo>
                  <a:lnTo>
                    <a:pt x="9831" y="17391"/>
                  </a:lnTo>
                  <a:lnTo>
                    <a:pt x="9876" y="17301"/>
                  </a:lnTo>
                  <a:lnTo>
                    <a:pt x="10002" y="17165"/>
                  </a:lnTo>
                  <a:lnTo>
                    <a:pt x="10132" y="17023"/>
                  </a:lnTo>
                  <a:lnTo>
                    <a:pt x="10237" y="16902"/>
                  </a:lnTo>
                  <a:lnTo>
                    <a:pt x="10262" y="16723"/>
                  </a:lnTo>
                  <a:lnTo>
                    <a:pt x="10286" y="16610"/>
                  </a:lnTo>
                  <a:lnTo>
                    <a:pt x="10412" y="16555"/>
                  </a:lnTo>
                  <a:lnTo>
                    <a:pt x="10492" y="16493"/>
                  </a:lnTo>
                  <a:lnTo>
                    <a:pt x="10549" y="16327"/>
                  </a:lnTo>
                  <a:cubicBezTo>
                    <a:pt x="10554" y="16271"/>
                    <a:pt x="10568" y="16218"/>
                    <a:pt x="10590" y="16173"/>
                  </a:cubicBezTo>
                  <a:cubicBezTo>
                    <a:pt x="10626" y="16098"/>
                    <a:pt x="10680" y="16049"/>
                    <a:pt x="10740" y="16037"/>
                  </a:cubicBezTo>
                  <a:lnTo>
                    <a:pt x="10874" y="15975"/>
                  </a:lnTo>
                  <a:lnTo>
                    <a:pt x="10909" y="15840"/>
                  </a:lnTo>
                  <a:lnTo>
                    <a:pt x="10885" y="15717"/>
                  </a:lnTo>
                  <a:lnTo>
                    <a:pt x="10892" y="15606"/>
                  </a:lnTo>
                  <a:lnTo>
                    <a:pt x="11030" y="15483"/>
                  </a:lnTo>
                  <a:lnTo>
                    <a:pt x="11172" y="15422"/>
                  </a:lnTo>
                  <a:lnTo>
                    <a:pt x="11283" y="15422"/>
                  </a:lnTo>
                  <a:lnTo>
                    <a:pt x="11432" y="15358"/>
                  </a:lnTo>
                  <a:cubicBezTo>
                    <a:pt x="11441" y="15314"/>
                    <a:pt x="11462" y="15277"/>
                    <a:pt x="11490" y="15257"/>
                  </a:cubicBezTo>
                  <a:cubicBezTo>
                    <a:pt x="11517" y="15237"/>
                    <a:pt x="11549" y="15235"/>
                    <a:pt x="11578" y="15251"/>
                  </a:cubicBezTo>
                  <a:lnTo>
                    <a:pt x="11664" y="15279"/>
                  </a:lnTo>
                  <a:cubicBezTo>
                    <a:pt x="11683" y="15305"/>
                    <a:pt x="11699" y="15334"/>
                    <a:pt x="11713" y="15365"/>
                  </a:cubicBezTo>
                  <a:cubicBezTo>
                    <a:pt x="11732" y="15408"/>
                    <a:pt x="11745" y="15456"/>
                    <a:pt x="11753" y="15507"/>
                  </a:cubicBezTo>
                  <a:lnTo>
                    <a:pt x="11800" y="15701"/>
                  </a:lnTo>
                  <a:lnTo>
                    <a:pt x="11828" y="15833"/>
                  </a:lnTo>
                  <a:cubicBezTo>
                    <a:pt x="11839" y="15860"/>
                    <a:pt x="11854" y="15883"/>
                    <a:pt x="11872" y="15899"/>
                  </a:cubicBezTo>
                  <a:cubicBezTo>
                    <a:pt x="11906" y="15927"/>
                    <a:pt x="11947" y="15931"/>
                    <a:pt x="11982" y="15909"/>
                  </a:cubicBezTo>
                  <a:lnTo>
                    <a:pt x="12043" y="15981"/>
                  </a:lnTo>
                  <a:lnTo>
                    <a:pt x="12197" y="16141"/>
                  </a:lnTo>
                  <a:cubicBezTo>
                    <a:pt x="12217" y="16216"/>
                    <a:pt x="12238" y="16289"/>
                    <a:pt x="12262" y="16361"/>
                  </a:cubicBezTo>
                  <a:cubicBezTo>
                    <a:pt x="12295" y="16459"/>
                    <a:pt x="12331" y="16555"/>
                    <a:pt x="12368" y="16650"/>
                  </a:cubicBezTo>
                  <a:cubicBezTo>
                    <a:pt x="12386" y="16699"/>
                    <a:pt x="12405" y="16748"/>
                    <a:pt x="12423" y="16798"/>
                  </a:cubicBezTo>
                  <a:lnTo>
                    <a:pt x="12395" y="16894"/>
                  </a:lnTo>
                  <a:lnTo>
                    <a:pt x="12331" y="16954"/>
                  </a:lnTo>
                  <a:lnTo>
                    <a:pt x="12335" y="17094"/>
                  </a:lnTo>
                  <a:cubicBezTo>
                    <a:pt x="12355" y="17119"/>
                    <a:pt x="12375" y="17144"/>
                    <a:pt x="12396" y="17168"/>
                  </a:cubicBezTo>
                  <a:cubicBezTo>
                    <a:pt x="12423" y="17200"/>
                    <a:pt x="12450" y="17230"/>
                    <a:pt x="12478" y="17260"/>
                  </a:cubicBezTo>
                  <a:lnTo>
                    <a:pt x="12575" y="17255"/>
                  </a:lnTo>
                  <a:lnTo>
                    <a:pt x="12636" y="17120"/>
                  </a:lnTo>
                  <a:lnTo>
                    <a:pt x="12693" y="16980"/>
                  </a:lnTo>
                  <a:lnTo>
                    <a:pt x="12800" y="16904"/>
                  </a:lnTo>
                  <a:lnTo>
                    <a:pt x="12877" y="17115"/>
                  </a:lnTo>
                  <a:lnTo>
                    <a:pt x="12945" y="17317"/>
                  </a:lnTo>
                  <a:lnTo>
                    <a:pt x="12957" y="17518"/>
                  </a:lnTo>
                  <a:lnTo>
                    <a:pt x="13008" y="17691"/>
                  </a:lnTo>
                  <a:lnTo>
                    <a:pt x="13054" y="17855"/>
                  </a:lnTo>
                  <a:lnTo>
                    <a:pt x="13127" y="18014"/>
                  </a:lnTo>
                  <a:lnTo>
                    <a:pt x="13171" y="18203"/>
                  </a:lnTo>
                  <a:lnTo>
                    <a:pt x="13183" y="18371"/>
                  </a:lnTo>
                  <a:lnTo>
                    <a:pt x="13148" y="18675"/>
                  </a:lnTo>
                  <a:lnTo>
                    <a:pt x="13144" y="18870"/>
                  </a:lnTo>
                  <a:lnTo>
                    <a:pt x="13159" y="19080"/>
                  </a:lnTo>
                  <a:lnTo>
                    <a:pt x="13159" y="19174"/>
                  </a:lnTo>
                  <a:lnTo>
                    <a:pt x="13117" y="19238"/>
                  </a:lnTo>
                  <a:lnTo>
                    <a:pt x="13113" y="19347"/>
                  </a:lnTo>
                  <a:lnTo>
                    <a:pt x="13125" y="19507"/>
                  </a:lnTo>
                  <a:lnTo>
                    <a:pt x="13186" y="19549"/>
                  </a:lnTo>
                  <a:cubicBezTo>
                    <a:pt x="13215" y="19555"/>
                    <a:pt x="13242" y="19574"/>
                    <a:pt x="13263" y="19604"/>
                  </a:cubicBezTo>
                  <a:cubicBezTo>
                    <a:pt x="13285" y="19635"/>
                    <a:pt x="13300" y="19676"/>
                    <a:pt x="13306" y="19721"/>
                  </a:cubicBezTo>
                  <a:lnTo>
                    <a:pt x="13420" y="19817"/>
                  </a:lnTo>
                  <a:lnTo>
                    <a:pt x="13492" y="19981"/>
                  </a:lnTo>
                  <a:lnTo>
                    <a:pt x="13536" y="20099"/>
                  </a:lnTo>
                  <a:lnTo>
                    <a:pt x="13550" y="20266"/>
                  </a:lnTo>
                  <a:lnTo>
                    <a:pt x="13596" y="20554"/>
                  </a:lnTo>
                  <a:lnTo>
                    <a:pt x="13625" y="20775"/>
                  </a:lnTo>
                  <a:lnTo>
                    <a:pt x="13682" y="20923"/>
                  </a:lnTo>
                  <a:lnTo>
                    <a:pt x="13714" y="21021"/>
                  </a:lnTo>
                  <a:lnTo>
                    <a:pt x="13772" y="21189"/>
                  </a:lnTo>
                  <a:lnTo>
                    <a:pt x="13829" y="21220"/>
                  </a:lnTo>
                  <a:lnTo>
                    <a:pt x="13914" y="21327"/>
                  </a:lnTo>
                  <a:lnTo>
                    <a:pt x="13982" y="21385"/>
                  </a:lnTo>
                  <a:lnTo>
                    <a:pt x="14071" y="21477"/>
                  </a:lnTo>
                  <a:lnTo>
                    <a:pt x="14136" y="21600"/>
                  </a:lnTo>
                  <a:lnTo>
                    <a:pt x="14168" y="21558"/>
                  </a:lnTo>
                  <a:lnTo>
                    <a:pt x="14144" y="21461"/>
                  </a:lnTo>
                  <a:lnTo>
                    <a:pt x="14220" y="21456"/>
                  </a:lnTo>
                  <a:lnTo>
                    <a:pt x="14242" y="21376"/>
                  </a:lnTo>
                  <a:lnTo>
                    <a:pt x="14195" y="21227"/>
                  </a:lnTo>
                  <a:lnTo>
                    <a:pt x="14149" y="21028"/>
                  </a:lnTo>
                  <a:lnTo>
                    <a:pt x="14121" y="20856"/>
                  </a:lnTo>
                  <a:lnTo>
                    <a:pt x="14064" y="20706"/>
                  </a:lnTo>
                  <a:cubicBezTo>
                    <a:pt x="14060" y="20650"/>
                    <a:pt x="14051" y="20596"/>
                    <a:pt x="14037" y="20544"/>
                  </a:cubicBezTo>
                  <a:cubicBezTo>
                    <a:pt x="14023" y="20489"/>
                    <a:pt x="14004" y="20437"/>
                    <a:pt x="13980" y="20389"/>
                  </a:cubicBezTo>
                  <a:lnTo>
                    <a:pt x="13916" y="20256"/>
                  </a:lnTo>
                  <a:lnTo>
                    <a:pt x="13796" y="20153"/>
                  </a:lnTo>
                  <a:lnTo>
                    <a:pt x="13711" y="20030"/>
                  </a:lnTo>
                  <a:lnTo>
                    <a:pt x="13609" y="19920"/>
                  </a:lnTo>
                  <a:cubicBezTo>
                    <a:pt x="13556" y="19920"/>
                    <a:pt x="13507" y="19872"/>
                    <a:pt x="13485" y="19798"/>
                  </a:cubicBezTo>
                  <a:cubicBezTo>
                    <a:pt x="13470" y="19751"/>
                    <a:pt x="13469" y="19697"/>
                    <a:pt x="13481" y="19648"/>
                  </a:cubicBezTo>
                  <a:lnTo>
                    <a:pt x="13460" y="19495"/>
                  </a:lnTo>
                  <a:lnTo>
                    <a:pt x="13452" y="19396"/>
                  </a:lnTo>
                  <a:lnTo>
                    <a:pt x="13387" y="19310"/>
                  </a:lnTo>
                  <a:lnTo>
                    <a:pt x="13305" y="19191"/>
                  </a:lnTo>
                  <a:lnTo>
                    <a:pt x="13276" y="19059"/>
                  </a:lnTo>
                  <a:cubicBezTo>
                    <a:pt x="13277" y="19012"/>
                    <a:pt x="13280" y="18965"/>
                    <a:pt x="13285" y="18918"/>
                  </a:cubicBezTo>
                  <a:cubicBezTo>
                    <a:pt x="13292" y="18843"/>
                    <a:pt x="13304" y="18769"/>
                    <a:pt x="13320" y="18698"/>
                  </a:cubicBezTo>
                  <a:lnTo>
                    <a:pt x="13344" y="18550"/>
                  </a:lnTo>
                  <a:lnTo>
                    <a:pt x="13373" y="18396"/>
                  </a:lnTo>
                  <a:lnTo>
                    <a:pt x="13344" y="18289"/>
                  </a:lnTo>
                  <a:lnTo>
                    <a:pt x="13320" y="18141"/>
                  </a:lnTo>
                  <a:lnTo>
                    <a:pt x="13317" y="18024"/>
                  </a:lnTo>
                  <a:lnTo>
                    <a:pt x="13378" y="17962"/>
                  </a:lnTo>
                  <a:lnTo>
                    <a:pt x="13468" y="17956"/>
                  </a:lnTo>
                  <a:lnTo>
                    <a:pt x="13512" y="18073"/>
                  </a:lnTo>
                  <a:lnTo>
                    <a:pt x="13562" y="18139"/>
                  </a:lnTo>
                  <a:lnTo>
                    <a:pt x="13671" y="18279"/>
                  </a:lnTo>
                  <a:lnTo>
                    <a:pt x="13730" y="18310"/>
                  </a:lnTo>
                  <a:lnTo>
                    <a:pt x="13812" y="18382"/>
                  </a:lnTo>
                  <a:lnTo>
                    <a:pt x="13875" y="18423"/>
                  </a:lnTo>
                  <a:lnTo>
                    <a:pt x="13920" y="18490"/>
                  </a:lnTo>
                  <a:lnTo>
                    <a:pt x="13956" y="18648"/>
                  </a:lnTo>
                  <a:lnTo>
                    <a:pt x="14008" y="18743"/>
                  </a:lnTo>
                  <a:lnTo>
                    <a:pt x="14063" y="18771"/>
                  </a:lnTo>
                  <a:lnTo>
                    <a:pt x="14091" y="18862"/>
                  </a:lnTo>
                  <a:lnTo>
                    <a:pt x="14107" y="18940"/>
                  </a:lnTo>
                  <a:lnTo>
                    <a:pt x="14172" y="18933"/>
                  </a:lnTo>
                  <a:lnTo>
                    <a:pt x="14221" y="18872"/>
                  </a:lnTo>
                  <a:lnTo>
                    <a:pt x="14260" y="18826"/>
                  </a:lnTo>
                  <a:lnTo>
                    <a:pt x="14320" y="18833"/>
                  </a:lnTo>
                  <a:lnTo>
                    <a:pt x="14345" y="18921"/>
                  </a:lnTo>
                  <a:lnTo>
                    <a:pt x="14360" y="19056"/>
                  </a:lnTo>
                  <a:lnTo>
                    <a:pt x="14331" y="19130"/>
                  </a:lnTo>
                  <a:lnTo>
                    <a:pt x="14319" y="19343"/>
                  </a:lnTo>
                  <a:lnTo>
                    <a:pt x="14412" y="19408"/>
                  </a:lnTo>
                  <a:lnTo>
                    <a:pt x="14456" y="19286"/>
                  </a:lnTo>
                  <a:lnTo>
                    <a:pt x="14548" y="19241"/>
                  </a:lnTo>
                  <a:lnTo>
                    <a:pt x="14577" y="19051"/>
                  </a:lnTo>
                  <a:lnTo>
                    <a:pt x="14624" y="18944"/>
                  </a:lnTo>
                  <a:lnTo>
                    <a:pt x="14784" y="18882"/>
                  </a:lnTo>
                  <a:lnTo>
                    <a:pt x="14859" y="18791"/>
                  </a:lnTo>
                  <a:lnTo>
                    <a:pt x="15001" y="18675"/>
                  </a:lnTo>
                  <a:lnTo>
                    <a:pt x="15018" y="18428"/>
                  </a:lnTo>
                  <a:cubicBezTo>
                    <a:pt x="15027" y="18358"/>
                    <a:pt x="15029" y="18286"/>
                    <a:pt x="15026" y="18214"/>
                  </a:cubicBezTo>
                  <a:cubicBezTo>
                    <a:pt x="15023" y="18158"/>
                    <a:pt x="15016" y="18102"/>
                    <a:pt x="15005" y="18048"/>
                  </a:cubicBezTo>
                  <a:lnTo>
                    <a:pt x="14951" y="17795"/>
                  </a:lnTo>
                  <a:lnTo>
                    <a:pt x="14866" y="17561"/>
                  </a:lnTo>
                  <a:lnTo>
                    <a:pt x="14850" y="17352"/>
                  </a:lnTo>
                  <a:lnTo>
                    <a:pt x="14784" y="17141"/>
                  </a:lnTo>
                  <a:lnTo>
                    <a:pt x="14703" y="17036"/>
                  </a:lnTo>
                  <a:lnTo>
                    <a:pt x="14574" y="16931"/>
                  </a:lnTo>
                  <a:lnTo>
                    <a:pt x="14515" y="16866"/>
                  </a:lnTo>
                  <a:lnTo>
                    <a:pt x="14356" y="16669"/>
                  </a:lnTo>
                  <a:lnTo>
                    <a:pt x="14313" y="16504"/>
                  </a:lnTo>
                  <a:lnTo>
                    <a:pt x="14270" y="16280"/>
                  </a:lnTo>
                  <a:lnTo>
                    <a:pt x="14249" y="16054"/>
                  </a:lnTo>
                  <a:lnTo>
                    <a:pt x="14249" y="15855"/>
                  </a:lnTo>
                  <a:lnTo>
                    <a:pt x="14310" y="15701"/>
                  </a:lnTo>
                  <a:lnTo>
                    <a:pt x="14404" y="15603"/>
                  </a:lnTo>
                  <a:lnTo>
                    <a:pt x="14539" y="15572"/>
                  </a:lnTo>
                  <a:lnTo>
                    <a:pt x="14646" y="15529"/>
                  </a:lnTo>
                  <a:lnTo>
                    <a:pt x="14709" y="15498"/>
                  </a:lnTo>
                  <a:lnTo>
                    <a:pt x="14801" y="15566"/>
                  </a:lnTo>
                  <a:lnTo>
                    <a:pt x="14849" y="15613"/>
                  </a:lnTo>
                  <a:lnTo>
                    <a:pt x="14905" y="15711"/>
                  </a:lnTo>
                  <a:lnTo>
                    <a:pt x="14913" y="15816"/>
                  </a:lnTo>
                  <a:lnTo>
                    <a:pt x="14978" y="15932"/>
                  </a:lnTo>
                  <a:lnTo>
                    <a:pt x="15034" y="15903"/>
                  </a:lnTo>
                  <a:lnTo>
                    <a:pt x="15067" y="15749"/>
                  </a:lnTo>
                  <a:lnTo>
                    <a:pt x="15119" y="15621"/>
                  </a:lnTo>
                  <a:lnTo>
                    <a:pt x="15197" y="15541"/>
                  </a:lnTo>
                  <a:lnTo>
                    <a:pt x="15236" y="15492"/>
                  </a:lnTo>
                  <a:lnTo>
                    <a:pt x="15356" y="15426"/>
                  </a:lnTo>
                  <a:lnTo>
                    <a:pt x="15409" y="15420"/>
                  </a:lnTo>
                  <a:lnTo>
                    <a:pt x="15506" y="15420"/>
                  </a:lnTo>
                  <a:cubicBezTo>
                    <a:pt x="15541" y="15410"/>
                    <a:pt x="15576" y="15402"/>
                    <a:pt x="15611" y="15395"/>
                  </a:cubicBezTo>
                  <a:cubicBezTo>
                    <a:pt x="15656" y="15387"/>
                    <a:pt x="15702" y="15382"/>
                    <a:pt x="15748" y="15381"/>
                  </a:cubicBezTo>
                  <a:lnTo>
                    <a:pt x="15797" y="15264"/>
                  </a:lnTo>
                  <a:lnTo>
                    <a:pt x="15824" y="15215"/>
                  </a:lnTo>
                  <a:lnTo>
                    <a:pt x="15922" y="15247"/>
                  </a:lnTo>
                  <a:lnTo>
                    <a:pt x="16095" y="15132"/>
                  </a:lnTo>
                  <a:lnTo>
                    <a:pt x="16192" y="15009"/>
                  </a:lnTo>
                  <a:lnTo>
                    <a:pt x="16270" y="14854"/>
                  </a:lnTo>
                  <a:lnTo>
                    <a:pt x="16310" y="14737"/>
                  </a:lnTo>
                  <a:lnTo>
                    <a:pt x="16407" y="14620"/>
                  </a:lnTo>
                  <a:lnTo>
                    <a:pt x="16439" y="14464"/>
                  </a:lnTo>
                  <a:lnTo>
                    <a:pt x="16441" y="14274"/>
                  </a:lnTo>
                  <a:lnTo>
                    <a:pt x="16474" y="14063"/>
                  </a:lnTo>
                  <a:lnTo>
                    <a:pt x="16523" y="13908"/>
                  </a:lnTo>
                  <a:cubicBezTo>
                    <a:pt x="16537" y="13860"/>
                    <a:pt x="16549" y="13811"/>
                    <a:pt x="16559" y="13760"/>
                  </a:cubicBezTo>
                  <a:cubicBezTo>
                    <a:pt x="16573" y="13694"/>
                    <a:pt x="16583" y="13626"/>
                    <a:pt x="16590" y="13557"/>
                  </a:cubicBezTo>
                  <a:lnTo>
                    <a:pt x="16618" y="13434"/>
                  </a:lnTo>
                  <a:lnTo>
                    <a:pt x="16612" y="13238"/>
                  </a:lnTo>
                  <a:lnTo>
                    <a:pt x="16579" y="13087"/>
                  </a:lnTo>
                  <a:lnTo>
                    <a:pt x="16463" y="13118"/>
                  </a:lnTo>
                  <a:lnTo>
                    <a:pt x="16401" y="13023"/>
                  </a:lnTo>
                  <a:lnTo>
                    <a:pt x="16404" y="12902"/>
                  </a:lnTo>
                  <a:lnTo>
                    <a:pt x="16500" y="12877"/>
                  </a:lnTo>
                  <a:lnTo>
                    <a:pt x="16499" y="12711"/>
                  </a:lnTo>
                  <a:lnTo>
                    <a:pt x="16452" y="12608"/>
                  </a:lnTo>
                  <a:lnTo>
                    <a:pt x="16290" y="12516"/>
                  </a:lnTo>
                  <a:lnTo>
                    <a:pt x="16202" y="12414"/>
                  </a:lnTo>
                  <a:lnTo>
                    <a:pt x="16127" y="12274"/>
                  </a:lnTo>
                  <a:lnTo>
                    <a:pt x="16079" y="12031"/>
                  </a:lnTo>
                  <a:lnTo>
                    <a:pt x="16006" y="11871"/>
                  </a:lnTo>
                  <a:lnTo>
                    <a:pt x="15922" y="11816"/>
                  </a:lnTo>
                  <a:lnTo>
                    <a:pt x="15808" y="11687"/>
                  </a:lnTo>
                  <a:lnTo>
                    <a:pt x="15821" y="11475"/>
                  </a:lnTo>
                  <a:lnTo>
                    <a:pt x="15861" y="11346"/>
                  </a:lnTo>
                  <a:lnTo>
                    <a:pt x="15955" y="11253"/>
                  </a:lnTo>
                  <a:lnTo>
                    <a:pt x="16048" y="11167"/>
                  </a:lnTo>
                  <a:lnTo>
                    <a:pt x="16158" y="11093"/>
                  </a:lnTo>
                  <a:lnTo>
                    <a:pt x="16213" y="11001"/>
                  </a:lnTo>
                  <a:lnTo>
                    <a:pt x="16121" y="10906"/>
                  </a:lnTo>
                  <a:lnTo>
                    <a:pt x="16057" y="10878"/>
                  </a:lnTo>
                  <a:lnTo>
                    <a:pt x="15876" y="10796"/>
                  </a:lnTo>
                  <a:lnTo>
                    <a:pt x="15787" y="10913"/>
                  </a:lnTo>
                  <a:lnTo>
                    <a:pt x="15726" y="10986"/>
                  </a:lnTo>
                  <a:lnTo>
                    <a:pt x="15616" y="10898"/>
                  </a:lnTo>
                  <a:lnTo>
                    <a:pt x="15572" y="10814"/>
                  </a:lnTo>
                  <a:lnTo>
                    <a:pt x="15466" y="10773"/>
                  </a:lnTo>
                  <a:lnTo>
                    <a:pt x="15240" y="10656"/>
                  </a:lnTo>
                  <a:lnTo>
                    <a:pt x="15246" y="10486"/>
                  </a:lnTo>
                  <a:lnTo>
                    <a:pt x="15242" y="10361"/>
                  </a:lnTo>
                  <a:lnTo>
                    <a:pt x="15301" y="10324"/>
                  </a:lnTo>
                  <a:lnTo>
                    <a:pt x="15407" y="10336"/>
                  </a:lnTo>
                  <a:lnTo>
                    <a:pt x="15531" y="10149"/>
                  </a:lnTo>
                  <a:lnTo>
                    <a:pt x="15564" y="10015"/>
                  </a:lnTo>
                  <a:lnTo>
                    <a:pt x="15631" y="9837"/>
                  </a:lnTo>
                  <a:lnTo>
                    <a:pt x="15707" y="9806"/>
                  </a:lnTo>
                  <a:lnTo>
                    <a:pt x="15791" y="9837"/>
                  </a:lnTo>
                  <a:lnTo>
                    <a:pt x="15841" y="9943"/>
                  </a:lnTo>
                  <a:lnTo>
                    <a:pt x="15848" y="10050"/>
                  </a:lnTo>
                  <a:lnTo>
                    <a:pt x="15863" y="10231"/>
                  </a:lnTo>
                  <a:lnTo>
                    <a:pt x="15907" y="10340"/>
                  </a:lnTo>
                  <a:lnTo>
                    <a:pt x="15948" y="10401"/>
                  </a:lnTo>
                  <a:lnTo>
                    <a:pt x="16001" y="10382"/>
                  </a:lnTo>
                  <a:lnTo>
                    <a:pt x="16072" y="10288"/>
                  </a:lnTo>
                  <a:lnTo>
                    <a:pt x="16148" y="10200"/>
                  </a:lnTo>
                  <a:lnTo>
                    <a:pt x="16274" y="10150"/>
                  </a:lnTo>
                  <a:lnTo>
                    <a:pt x="16333" y="10181"/>
                  </a:lnTo>
                  <a:lnTo>
                    <a:pt x="16409" y="10234"/>
                  </a:lnTo>
                  <a:lnTo>
                    <a:pt x="16525" y="10312"/>
                  </a:lnTo>
                  <a:lnTo>
                    <a:pt x="16590" y="10442"/>
                  </a:lnTo>
                  <a:lnTo>
                    <a:pt x="16527" y="10497"/>
                  </a:lnTo>
                  <a:lnTo>
                    <a:pt x="16523" y="10644"/>
                  </a:lnTo>
                  <a:lnTo>
                    <a:pt x="16588" y="10729"/>
                  </a:lnTo>
                  <a:lnTo>
                    <a:pt x="16695" y="10722"/>
                  </a:lnTo>
                  <a:lnTo>
                    <a:pt x="16853" y="10809"/>
                  </a:lnTo>
                  <a:lnTo>
                    <a:pt x="16926" y="10987"/>
                  </a:lnTo>
                  <a:lnTo>
                    <a:pt x="16986" y="11078"/>
                  </a:lnTo>
                  <a:lnTo>
                    <a:pt x="17010" y="11232"/>
                  </a:lnTo>
                  <a:lnTo>
                    <a:pt x="17031" y="11349"/>
                  </a:lnTo>
                  <a:lnTo>
                    <a:pt x="17059" y="11498"/>
                  </a:lnTo>
                  <a:lnTo>
                    <a:pt x="17071" y="11651"/>
                  </a:lnTo>
                  <a:lnTo>
                    <a:pt x="17130" y="11766"/>
                  </a:lnTo>
                  <a:lnTo>
                    <a:pt x="17195" y="11815"/>
                  </a:lnTo>
                  <a:lnTo>
                    <a:pt x="17296" y="11702"/>
                  </a:lnTo>
                  <a:lnTo>
                    <a:pt x="17415" y="11614"/>
                  </a:lnTo>
                  <a:lnTo>
                    <a:pt x="17496" y="11558"/>
                  </a:lnTo>
                  <a:lnTo>
                    <a:pt x="17559" y="11499"/>
                  </a:lnTo>
                  <a:cubicBezTo>
                    <a:pt x="17562" y="11433"/>
                    <a:pt x="17556" y="11367"/>
                    <a:pt x="17540" y="11306"/>
                  </a:cubicBezTo>
                  <a:cubicBezTo>
                    <a:pt x="17525" y="11249"/>
                    <a:pt x="17502" y="11197"/>
                    <a:pt x="17473" y="11154"/>
                  </a:cubicBezTo>
                  <a:lnTo>
                    <a:pt x="17400" y="10964"/>
                  </a:lnTo>
                  <a:lnTo>
                    <a:pt x="17298" y="10799"/>
                  </a:lnTo>
                  <a:lnTo>
                    <a:pt x="17248" y="10793"/>
                  </a:lnTo>
                  <a:lnTo>
                    <a:pt x="17072" y="10623"/>
                  </a:lnTo>
                  <a:lnTo>
                    <a:pt x="16989" y="10544"/>
                  </a:lnTo>
                  <a:lnTo>
                    <a:pt x="16900" y="10423"/>
                  </a:lnTo>
                  <a:lnTo>
                    <a:pt x="16820" y="10351"/>
                  </a:lnTo>
                  <a:lnTo>
                    <a:pt x="16820" y="10220"/>
                  </a:lnTo>
                  <a:lnTo>
                    <a:pt x="16933" y="10133"/>
                  </a:lnTo>
                  <a:lnTo>
                    <a:pt x="17068" y="10029"/>
                  </a:lnTo>
                  <a:lnTo>
                    <a:pt x="17083" y="9914"/>
                  </a:lnTo>
                  <a:lnTo>
                    <a:pt x="17049" y="9761"/>
                  </a:lnTo>
                  <a:lnTo>
                    <a:pt x="16957" y="9770"/>
                  </a:lnTo>
                  <a:cubicBezTo>
                    <a:pt x="16942" y="9699"/>
                    <a:pt x="16956" y="9621"/>
                    <a:pt x="16992" y="9571"/>
                  </a:cubicBezTo>
                  <a:cubicBezTo>
                    <a:pt x="17020" y="9533"/>
                    <a:pt x="17058" y="9517"/>
                    <a:pt x="17095" y="9528"/>
                  </a:cubicBezTo>
                  <a:cubicBezTo>
                    <a:pt x="17106" y="9498"/>
                    <a:pt x="17116" y="9467"/>
                    <a:pt x="17123" y="9435"/>
                  </a:cubicBezTo>
                  <a:cubicBezTo>
                    <a:pt x="17139" y="9373"/>
                    <a:pt x="17147" y="9308"/>
                    <a:pt x="17149" y="9242"/>
                  </a:cubicBezTo>
                  <a:lnTo>
                    <a:pt x="17174" y="9110"/>
                  </a:lnTo>
                  <a:lnTo>
                    <a:pt x="17248" y="9178"/>
                  </a:lnTo>
                  <a:lnTo>
                    <a:pt x="17347" y="9270"/>
                  </a:lnTo>
                  <a:lnTo>
                    <a:pt x="17392" y="9297"/>
                  </a:lnTo>
                  <a:lnTo>
                    <a:pt x="17514" y="9286"/>
                  </a:lnTo>
                  <a:lnTo>
                    <a:pt x="17568" y="9177"/>
                  </a:lnTo>
                  <a:cubicBezTo>
                    <a:pt x="17590" y="9119"/>
                    <a:pt x="17610" y="9059"/>
                    <a:pt x="17626" y="8997"/>
                  </a:cubicBezTo>
                  <a:cubicBezTo>
                    <a:pt x="17641" y="8944"/>
                    <a:pt x="17653" y="8890"/>
                    <a:pt x="17663" y="8835"/>
                  </a:cubicBezTo>
                  <a:lnTo>
                    <a:pt x="17709" y="8691"/>
                  </a:lnTo>
                  <a:lnTo>
                    <a:pt x="17732" y="8540"/>
                  </a:lnTo>
                  <a:lnTo>
                    <a:pt x="17783" y="8406"/>
                  </a:lnTo>
                  <a:lnTo>
                    <a:pt x="17835" y="8208"/>
                  </a:lnTo>
                  <a:lnTo>
                    <a:pt x="17770" y="8060"/>
                  </a:lnTo>
                  <a:lnTo>
                    <a:pt x="17770" y="7890"/>
                  </a:lnTo>
                  <a:lnTo>
                    <a:pt x="17823" y="7767"/>
                  </a:lnTo>
                  <a:lnTo>
                    <a:pt x="17830" y="7600"/>
                  </a:lnTo>
                  <a:cubicBezTo>
                    <a:pt x="17813" y="7554"/>
                    <a:pt x="17796" y="7509"/>
                    <a:pt x="17778" y="7463"/>
                  </a:cubicBezTo>
                  <a:cubicBezTo>
                    <a:pt x="17763" y="7423"/>
                    <a:pt x="17747" y="7384"/>
                    <a:pt x="17735" y="7341"/>
                  </a:cubicBezTo>
                  <a:cubicBezTo>
                    <a:pt x="17715" y="7271"/>
                    <a:pt x="17705" y="7195"/>
                    <a:pt x="17707" y="7119"/>
                  </a:cubicBezTo>
                  <a:lnTo>
                    <a:pt x="17634" y="7044"/>
                  </a:lnTo>
                  <a:lnTo>
                    <a:pt x="17580" y="7052"/>
                  </a:lnTo>
                  <a:lnTo>
                    <a:pt x="17503" y="6849"/>
                  </a:lnTo>
                  <a:lnTo>
                    <a:pt x="17459" y="6758"/>
                  </a:lnTo>
                  <a:lnTo>
                    <a:pt x="17435" y="6611"/>
                  </a:lnTo>
                  <a:lnTo>
                    <a:pt x="17373" y="6495"/>
                  </a:lnTo>
                  <a:lnTo>
                    <a:pt x="17240" y="6324"/>
                  </a:lnTo>
                  <a:lnTo>
                    <a:pt x="17132" y="6263"/>
                  </a:lnTo>
                  <a:lnTo>
                    <a:pt x="17059" y="6103"/>
                  </a:lnTo>
                  <a:lnTo>
                    <a:pt x="16962" y="6028"/>
                  </a:lnTo>
                  <a:lnTo>
                    <a:pt x="16881" y="6047"/>
                  </a:lnTo>
                  <a:lnTo>
                    <a:pt x="16783" y="6115"/>
                  </a:lnTo>
                  <a:lnTo>
                    <a:pt x="16687" y="6140"/>
                  </a:lnTo>
                  <a:lnTo>
                    <a:pt x="16607" y="6103"/>
                  </a:lnTo>
                  <a:lnTo>
                    <a:pt x="16460" y="6072"/>
                  </a:lnTo>
                  <a:lnTo>
                    <a:pt x="16403" y="6004"/>
                  </a:lnTo>
                  <a:lnTo>
                    <a:pt x="16326" y="5924"/>
                  </a:lnTo>
                  <a:lnTo>
                    <a:pt x="16206" y="5924"/>
                  </a:lnTo>
                  <a:lnTo>
                    <a:pt x="16146" y="5807"/>
                  </a:lnTo>
                  <a:lnTo>
                    <a:pt x="16226" y="5720"/>
                  </a:lnTo>
                  <a:lnTo>
                    <a:pt x="16275" y="5634"/>
                  </a:lnTo>
                  <a:lnTo>
                    <a:pt x="16349" y="5282"/>
                  </a:lnTo>
                  <a:lnTo>
                    <a:pt x="16330" y="5106"/>
                  </a:lnTo>
                  <a:lnTo>
                    <a:pt x="16362" y="4989"/>
                  </a:lnTo>
                  <a:lnTo>
                    <a:pt x="16434" y="4856"/>
                  </a:lnTo>
                  <a:lnTo>
                    <a:pt x="16537" y="4743"/>
                  </a:lnTo>
                  <a:lnTo>
                    <a:pt x="16606" y="4658"/>
                  </a:lnTo>
                  <a:lnTo>
                    <a:pt x="16694" y="4611"/>
                  </a:lnTo>
                  <a:lnTo>
                    <a:pt x="16817" y="4582"/>
                  </a:lnTo>
                  <a:lnTo>
                    <a:pt x="16917" y="4582"/>
                  </a:lnTo>
                  <a:lnTo>
                    <a:pt x="17020" y="4619"/>
                  </a:lnTo>
                  <a:lnTo>
                    <a:pt x="17129" y="4632"/>
                  </a:lnTo>
                  <a:lnTo>
                    <a:pt x="17261" y="4626"/>
                  </a:lnTo>
                  <a:lnTo>
                    <a:pt x="17398" y="4558"/>
                  </a:lnTo>
                  <a:lnTo>
                    <a:pt x="17471" y="4527"/>
                  </a:lnTo>
                  <a:lnTo>
                    <a:pt x="17580" y="4490"/>
                  </a:lnTo>
                  <a:lnTo>
                    <a:pt x="17633" y="4527"/>
                  </a:lnTo>
                  <a:lnTo>
                    <a:pt x="17686" y="4607"/>
                  </a:lnTo>
                  <a:lnTo>
                    <a:pt x="17787" y="4674"/>
                  </a:lnTo>
                  <a:lnTo>
                    <a:pt x="17836" y="4724"/>
                  </a:lnTo>
                  <a:lnTo>
                    <a:pt x="17952" y="4730"/>
                  </a:lnTo>
                  <a:lnTo>
                    <a:pt x="18081" y="4644"/>
                  </a:lnTo>
                  <a:lnTo>
                    <a:pt x="18189" y="4625"/>
                  </a:lnTo>
                  <a:lnTo>
                    <a:pt x="18143" y="4366"/>
                  </a:lnTo>
                  <a:cubicBezTo>
                    <a:pt x="18105" y="4367"/>
                    <a:pt x="18070" y="4330"/>
                    <a:pt x="18058" y="4274"/>
                  </a:cubicBezTo>
                  <a:cubicBezTo>
                    <a:pt x="18044" y="4208"/>
                    <a:pt x="18064" y="4136"/>
                    <a:pt x="18106" y="4107"/>
                  </a:cubicBezTo>
                  <a:cubicBezTo>
                    <a:pt x="18105" y="4044"/>
                    <a:pt x="18122" y="3983"/>
                    <a:pt x="18153" y="3941"/>
                  </a:cubicBezTo>
                  <a:cubicBezTo>
                    <a:pt x="18184" y="3898"/>
                    <a:pt x="18225" y="3878"/>
                    <a:pt x="18266" y="3886"/>
                  </a:cubicBezTo>
                  <a:lnTo>
                    <a:pt x="18388" y="3912"/>
                  </a:lnTo>
                  <a:lnTo>
                    <a:pt x="18433" y="3986"/>
                  </a:lnTo>
                  <a:lnTo>
                    <a:pt x="18561" y="3941"/>
                  </a:lnTo>
                  <a:lnTo>
                    <a:pt x="18622" y="4058"/>
                  </a:lnTo>
                  <a:lnTo>
                    <a:pt x="18642" y="4156"/>
                  </a:lnTo>
                  <a:lnTo>
                    <a:pt x="18742" y="4173"/>
                  </a:lnTo>
                  <a:lnTo>
                    <a:pt x="18819" y="4105"/>
                  </a:lnTo>
                  <a:lnTo>
                    <a:pt x="18815" y="3967"/>
                  </a:lnTo>
                  <a:lnTo>
                    <a:pt x="18815" y="3844"/>
                  </a:lnTo>
                  <a:lnTo>
                    <a:pt x="18867" y="3773"/>
                  </a:lnTo>
                  <a:lnTo>
                    <a:pt x="18940" y="3726"/>
                  </a:lnTo>
                  <a:lnTo>
                    <a:pt x="19014" y="3739"/>
                  </a:lnTo>
                  <a:lnTo>
                    <a:pt x="19059" y="3881"/>
                  </a:lnTo>
                  <a:lnTo>
                    <a:pt x="19100" y="4056"/>
                  </a:lnTo>
                  <a:lnTo>
                    <a:pt x="19170" y="4183"/>
                  </a:lnTo>
                  <a:lnTo>
                    <a:pt x="19186" y="4282"/>
                  </a:lnTo>
                  <a:lnTo>
                    <a:pt x="19098" y="4430"/>
                  </a:lnTo>
                  <a:lnTo>
                    <a:pt x="19067" y="4607"/>
                  </a:lnTo>
                  <a:lnTo>
                    <a:pt x="19096" y="4814"/>
                  </a:lnTo>
                  <a:lnTo>
                    <a:pt x="19031" y="4991"/>
                  </a:lnTo>
                  <a:lnTo>
                    <a:pt x="18966" y="5108"/>
                  </a:lnTo>
                  <a:cubicBezTo>
                    <a:pt x="18954" y="5143"/>
                    <a:pt x="18950" y="5183"/>
                    <a:pt x="18953" y="5223"/>
                  </a:cubicBezTo>
                  <a:cubicBezTo>
                    <a:pt x="18962" y="5311"/>
                    <a:pt x="19008" y="5380"/>
                    <a:pt x="19066" y="5393"/>
                  </a:cubicBezTo>
                  <a:lnTo>
                    <a:pt x="19082" y="5556"/>
                  </a:lnTo>
                  <a:lnTo>
                    <a:pt x="19157" y="5665"/>
                  </a:lnTo>
                  <a:lnTo>
                    <a:pt x="19206" y="5747"/>
                  </a:lnTo>
                  <a:lnTo>
                    <a:pt x="19243" y="5909"/>
                  </a:lnTo>
                  <a:lnTo>
                    <a:pt x="19298" y="5952"/>
                  </a:lnTo>
                  <a:lnTo>
                    <a:pt x="19402" y="6100"/>
                  </a:lnTo>
                  <a:lnTo>
                    <a:pt x="19470" y="6174"/>
                  </a:lnTo>
                  <a:lnTo>
                    <a:pt x="19527" y="6193"/>
                  </a:lnTo>
                  <a:lnTo>
                    <a:pt x="19531" y="6369"/>
                  </a:lnTo>
                  <a:lnTo>
                    <a:pt x="19624" y="6357"/>
                  </a:lnTo>
                  <a:lnTo>
                    <a:pt x="19673" y="6369"/>
                  </a:lnTo>
                  <a:lnTo>
                    <a:pt x="19721" y="6499"/>
                  </a:lnTo>
                  <a:lnTo>
                    <a:pt x="19782" y="6579"/>
                  </a:lnTo>
                  <a:lnTo>
                    <a:pt x="19822" y="6747"/>
                  </a:lnTo>
                  <a:lnTo>
                    <a:pt x="19922" y="6825"/>
                  </a:lnTo>
                  <a:lnTo>
                    <a:pt x="19989" y="6912"/>
                  </a:lnTo>
                  <a:lnTo>
                    <a:pt x="20047" y="6840"/>
                  </a:lnTo>
                  <a:lnTo>
                    <a:pt x="20095" y="6770"/>
                  </a:lnTo>
                  <a:lnTo>
                    <a:pt x="20141" y="6776"/>
                  </a:lnTo>
                  <a:lnTo>
                    <a:pt x="20122" y="6661"/>
                  </a:lnTo>
                  <a:cubicBezTo>
                    <a:pt x="20096" y="6629"/>
                    <a:pt x="20076" y="6588"/>
                    <a:pt x="20063" y="6541"/>
                  </a:cubicBezTo>
                  <a:cubicBezTo>
                    <a:pt x="20048" y="6486"/>
                    <a:pt x="20044" y="6426"/>
                    <a:pt x="20051" y="6368"/>
                  </a:cubicBezTo>
                  <a:lnTo>
                    <a:pt x="20097" y="6333"/>
                  </a:lnTo>
                  <a:lnTo>
                    <a:pt x="20060" y="6229"/>
                  </a:lnTo>
                  <a:lnTo>
                    <a:pt x="20028" y="6130"/>
                  </a:lnTo>
                  <a:cubicBezTo>
                    <a:pt x="20017" y="6102"/>
                    <a:pt x="20015" y="6068"/>
                    <a:pt x="20024" y="6038"/>
                  </a:cubicBezTo>
                  <a:cubicBezTo>
                    <a:pt x="20032" y="6008"/>
                    <a:pt x="20050" y="5987"/>
                    <a:pt x="20071" y="5981"/>
                  </a:cubicBezTo>
                  <a:lnTo>
                    <a:pt x="20148" y="5952"/>
                  </a:lnTo>
                  <a:lnTo>
                    <a:pt x="20116" y="5824"/>
                  </a:lnTo>
                  <a:lnTo>
                    <a:pt x="20073" y="5726"/>
                  </a:lnTo>
                  <a:lnTo>
                    <a:pt x="20027" y="5675"/>
                  </a:lnTo>
                  <a:lnTo>
                    <a:pt x="19988" y="5459"/>
                  </a:lnTo>
                  <a:lnTo>
                    <a:pt x="19971" y="5357"/>
                  </a:lnTo>
                  <a:lnTo>
                    <a:pt x="19889" y="5276"/>
                  </a:lnTo>
                  <a:cubicBezTo>
                    <a:pt x="19848" y="5275"/>
                    <a:pt x="19809" y="5248"/>
                    <a:pt x="19781" y="5203"/>
                  </a:cubicBezTo>
                  <a:cubicBezTo>
                    <a:pt x="19758" y="5165"/>
                    <a:pt x="19743" y="5118"/>
                    <a:pt x="19740" y="5067"/>
                  </a:cubicBezTo>
                  <a:lnTo>
                    <a:pt x="19649" y="5030"/>
                  </a:lnTo>
                  <a:lnTo>
                    <a:pt x="19552" y="5065"/>
                  </a:lnTo>
                  <a:lnTo>
                    <a:pt x="19499" y="4954"/>
                  </a:lnTo>
                  <a:lnTo>
                    <a:pt x="19530" y="4815"/>
                  </a:lnTo>
                  <a:lnTo>
                    <a:pt x="19474" y="4739"/>
                  </a:lnTo>
                  <a:lnTo>
                    <a:pt x="19445" y="4653"/>
                  </a:lnTo>
                  <a:lnTo>
                    <a:pt x="19429" y="4566"/>
                  </a:lnTo>
                  <a:lnTo>
                    <a:pt x="19532" y="4463"/>
                  </a:lnTo>
                  <a:lnTo>
                    <a:pt x="19674" y="4445"/>
                  </a:lnTo>
                  <a:lnTo>
                    <a:pt x="19757" y="4410"/>
                  </a:lnTo>
                  <a:lnTo>
                    <a:pt x="19810" y="4391"/>
                  </a:lnTo>
                  <a:lnTo>
                    <a:pt x="19862" y="4330"/>
                  </a:lnTo>
                  <a:lnTo>
                    <a:pt x="19913" y="4237"/>
                  </a:lnTo>
                  <a:lnTo>
                    <a:pt x="19960" y="4135"/>
                  </a:lnTo>
                  <a:lnTo>
                    <a:pt x="20017" y="4135"/>
                  </a:lnTo>
                  <a:lnTo>
                    <a:pt x="20052" y="4258"/>
                  </a:lnTo>
                  <a:lnTo>
                    <a:pt x="20103" y="4307"/>
                  </a:lnTo>
                  <a:lnTo>
                    <a:pt x="20167" y="4360"/>
                  </a:lnTo>
                  <a:lnTo>
                    <a:pt x="20240" y="4360"/>
                  </a:lnTo>
                  <a:lnTo>
                    <a:pt x="20330" y="4258"/>
                  </a:lnTo>
                  <a:lnTo>
                    <a:pt x="20441" y="4155"/>
                  </a:lnTo>
                  <a:lnTo>
                    <a:pt x="20460" y="4007"/>
                  </a:lnTo>
                  <a:lnTo>
                    <a:pt x="20532" y="3897"/>
                  </a:lnTo>
                  <a:lnTo>
                    <a:pt x="20647" y="3796"/>
                  </a:lnTo>
                  <a:lnTo>
                    <a:pt x="20690" y="3796"/>
                  </a:lnTo>
                  <a:lnTo>
                    <a:pt x="20798" y="3815"/>
                  </a:lnTo>
                  <a:lnTo>
                    <a:pt x="20974" y="3825"/>
                  </a:lnTo>
                  <a:lnTo>
                    <a:pt x="21043" y="3689"/>
                  </a:lnTo>
                  <a:lnTo>
                    <a:pt x="20828" y="3616"/>
                  </a:lnTo>
                  <a:lnTo>
                    <a:pt x="20699" y="3488"/>
                  </a:lnTo>
                  <a:cubicBezTo>
                    <a:pt x="20651" y="3440"/>
                    <a:pt x="20598" y="3408"/>
                    <a:pt x="20541" y="3395"/>
                  </a:cubicBezTo>
                  <a:cubicBezTo>
                    <a:pt x="20487" y="3382"/>
                    <a:pt x="20431" y="3387"/>
                    <a:pt x="20377" y="3369"/>
                  </a:cubicBezTo>
                  <a:cubicBezTo>
                    <a:pt x="20319" y="3349"/>
                    <a:pt x="20265" y="3304"/>
                    <a:pt x="20223" y="3239"/>
                  </a:cubicBezTo>
                  <a:lnTo>
                    <a:pt x="20154" y="3103"/>
                  </a:lnTo>
                  <a:lnTo>
                    <a:pt x="20236" y="3024"/>
                  </a:lnTo>
                  <a:lnTo>
                    <a:pt x="20355" y="3107"/>
                  </a:lnTo>
                  <a:lnTo>
                    <a:pt x="20443" y="3134"/>
                  </a:lnTo>
                  <a:lnTo>
                    <a:pt x="20540" y="3140"/>
                  </a:lnTo>
                  <a:lnTo>
                    <a:pt x="20552" y="3056"/>
                  </a:lnTo>
                  <a:lnTo>
                    <a:pt x="20456" y="2990"/>
                  </a:lnTo>
                  <a:lnTo>
                    <a:pt x="20365" y="2851"/>
                  </a:lnTo>
                  <a:lnTo>
                    <a:pt x="20463" y="2783"/>
                  </a:lnTo>
                  <a:lnTo>
                    <a:pt x="20569" y="2870"/>
                  </a:lnTo>
                  <a:lnTo>
                    <a:pt x="20686" y="2876"/>
                  </a:lnTo>
                  <a:lnTo>
                    <a:pt x="20806" y="2925"/>
                  </a:lnTo>
                  <a:lnTo>
                    <a:pt x="20940" y="2947"/>
                  </a:lnTo>
                  <a:lnTo>
                    <a:pt x="21026" y="2924"/>
                  </a:lnTo>
                  <a:lnTo>
                    <a:pt x="21094" y="3032"/>
                  </a:lnTo>
                  <a:lnTo>
                    <a:pt x="21270" y="3145"/>
                  </a:lnTo>
                  <a:lnTo>
                    <a:pt x="21423" y="3219"/>
                  </a:lnTo>
                  <a:lnTo>
                    <a:pt x="21566" y="3127"/>
                  </a:lnTo>
                  <a:lnTo>
                    <a:pt x="21600" y="3078"/>
                  </a:lnTo>
                  <a:lnTo>
                    <a:pt x="21527" y="3010"/>
                  </a:lnTo>
                  <a:lnTo>
                    <a:pt x="21426" y="2891"/>
                  </a:lnTo>
                  <a:lnTo>
                    <a:pt x="21301" y="2737"/>
                  </a:lnTo>
                  <a:lnTo>
                    <a:pt x="21190" y="2630"/>
                  </a:lnTo>
                  <a:lnTo>
                    <a:pt x="21119" y="2630"/>
                  </a:lnTo>
                  <a:lnTo>
                    <a:pt x="21030" y="2636"/>
                  </a:lnTo>
                  <a:lnTo>
                    <a:pt x="20974" y="2686"/>
                  </a:lnTo>
                  <a:lnTo>
                    <a:pt x="20878" y="2770"/>
                  </a:lnTo>
                  <a:lnTo>
                    <a:pt x="20770" y="2686"/>
                  </a:lnTo>
                  <a:lnTo>
                    <a:pt x="20722" y="2588"/>
                  </a:lnTo>
                  <a:lnTo>
                    <a:pt x="20543" y="2472"/>
                  </a:lnTo>
                  <a:lnTo>
                    <a:pt x="20456" y="2425"/>
                  </a:lnTo>
                  <a:lnTo>
                    <a:pt x="20307" y="2425"/>
                  </a:lnTo>
                  <a:lnTo>
                    <a:pt x="20202" y="2382"/>
                  </a:lnTo>
                  <a:lnTo>
                    <a:pt x="20089" y="2339"/>
                  </a:lnTo>
                  <a:lnTo>
                    <a:pt x="19926" y="2311"/>
                  </a:lnTo>
                  <a:lnTo>
                    <a:pt x="19800" y="2213"/>
                  </a:lnTo>
                  <a:lnTo>
                    <a:pt x="19643" y="2083"/>
                  </a:lnTo>
                  <a:lnTo>
                    <a:pt x="19551" y="2052"/>
                  </a:lnTo>
                  <a:lnTo>
                    <a:pt x="19315" y="2034"/>
                  </a:lnTo>
                  <a:lnTo>
                    <a:pt x="19215" y="1997"/>
                  </a:lnTo>
                  <a:lnTo>
                    <a:pt x="19122" y="1921"/>
                  </a:lnTo>
                  <a:lnTo>
                    <a:pt x="18920" y="1933"/>
                  </a:lnTo>
                  <a:lnTo>
                    <a:pt x="18735" y="1921"/>
                  </a:lnTo>
                  <a:lnTo>
                    <a:pt x="18590" y="1909"/>
                  </a:lnTo>
                  <a:lnTo>
                    <a:pt x="18496" y="1822"/>
                  </a:lnTo>
                  <a:lnTo>
                    <a:pt x="18364" y="1797"/>
                  </a:lnTo>
                  <a:lnTo>
                    <a:pt x="18239" y="1810"/>
                  </a:lnTo>
                  <a:lnTo>
                    <a:pt x="18137" y="1829"/>
                  </a:lnTo>
                  <a:lnTo>
                    <a:pt x="18157" y="1902"/>
                  </a:lnTo>
                  <a:lnTo>
                    <a:pt x="18248" y="1991"/>
                  </a:lnTo>
                  <a:lnTo>
                    <a:pt x="18296" y="2120"/>
                  </a:lnTo>
                  <a:lnTo>
                    <a:pt x="18233" y="2151"/>
                  </a:lnTo>
                  <a:lnTo>
                    <a:pt x="18148" y="2110"/>
                  </a:lnTo>
                  <a:lnTo>
                    <a:pt x="18025" y="2036"/>
                  </a:lnTo>
                  <a:lnTo>
                    <a:pt x="17903" y="1987"/>
                  </a:lnTo>
                  <a:lnTo>
                    <a:pt x="17710" y="1891"/>
                  </a:lnTo>
                  <a:lnTo>
                    <a:pt x="17551" y="1878"/>
                  </a:lnTo>
                  <a:lnTo>
                    <a:pt x="17370" y="1915"/>
                  </a:lnTo>
                  <a:lnTo>
                    <a:pt x="17038" y="1989"/>
                  </a:lnTo>
                  <a:lnTo>
                    <a:pt x="16827" y="1926"/>
                  </a:lnTo>
                  <a:lnTo>
                    <a:pt x="16722" y="1858"/>
                  </a:lnTo>
                  <a:lnTo>
                    <a:pt x="16565" y="1799"/>
                  </a:lnTo>
                  <a:lnTo>
                    <a:pt x="16503" y="1709"/>
                  </a:lnTo>
                  <a:lnTo>
                    <a:pt x="16417" y="1665"/>
                  </a:lnTo>
                  <a:lnTo>
                    <a:pt x="16350" y="1665"/>
                  </a:lnTo>
                  <a:lnTo>
                    <a:pt x="16180" y="1702"/>
                  </a:lnTo>
                  <a:lnTo>
                    <a:pt x="15880" y="1706"/>
                  </a:lnTo>
                  <a:lnTo>
                    <a:pt x="15742" y="1620"/>
                  </a:lnTo>
                  <a:lnTo>
                    <a:pt x="15543" y="1620"/>
                  </a:lnTo>
                  <a:lnTo>
                    <a:pt x="15307" y="1595"/>
                  </a:lnTo>
                  <a:lnTo>
                    <a:pt x="15157" y="1620"/>
                  </a:lnTo>
                  <a:lnTo>
                    <a:pt x="15047" y="1501"/>
                  </a:lnTo>
                  <a:lnTo>
                    <a:pt x="14881" y="1420"/>
                  </a:lnTo>
                  <a:lnTo>
                    <a:pt x="14763" y="1303"/>
                  </a:lnTo>
                  <a:lnTo>
                    <a:pt x="14679" y="1266"/>
                  </a:lnTo>
                  <a:lnTo>
                    <a:pt x="14635" y="1352"/>
                  </a:lnTo>
                  <a:lnTo>
                    <a:pt x="14550" y="1352"/>
                  </a:lnTo>
                  <a:lnTo>
                    <a:pt x="14462" y="1297"/>
                  </a:lnTo>
                  <a:lnTo>
                    <a:pt x="14166" y="1211"/>
                  </a:lnTo>
                  <a:lnTo>
                    <a:pt x="14073" y="1169"/>
                  </a:lnTo>
                  <a:lnTo>
                    <a:pt x="13945" y="1162"/>
                  </a:lnTo>
                  <a:lnTo>
                    <a:pt x="13813" y="1181"/>
                  </a:lnTo>
                  <a:lnTo>
                    <a:pt x="13627" y="1224"/>
                  </a:lnTo>
                  <a:lnTo>
                    <a:pt x="13667" y="1317"/>
                  </a:lnTo>
                  <a:lnTo>
                    <a:pt x="13749" y="1403"/>
                  </a:lnTo>
                  <a:lnTo>
                    <a:pt x="13692" y="1507"/>
                  </a:lnTo>
                  <a:lnTo>
                    <a:pt x="13597" y="1536"/>
                  </a:lnTo>
                  <a:lnTo>
                    <a:pt x="13538" y="1628"/>
                  </a:lnTo>
                  <a:lnTo>
                    <a:pt x="13428" y="1659"/>
                  </a:lnTo>
                  <a:lnTo>
                    <a:pt x="13358" y="1560"/>
                  </a:lnTo>
                  <a:lnTo>
                    <a:pt x="13216" y="1548"/>
                  </a:lnTo>
                  <a:lnTo>
                    <a:pt x="13131" y="1566"/>
                  </a:lnTo>
                  <a:lnTo>
                    <a:pt x="13104" y="1505"/>
                  </a:lnTo>
                  <a:lnTo>
                    <a:pt x="12982" y="1530"/>
                  </a:lnTo>
                  <a:lnTo>
                    <a:pt x="12917" y="1609"/>
                  </a:lnTo>
                  <a:lnTo>
                    <a:pt x="12808" y="1661"/>
                  </a:lnTo>
                  <a:lnTo>
                    <a:pt x="12730" y="1716"/>
                  </a:lnTo>
                  <a:lnTo>
                    <a:pt x="12648" y="1673"/>
                  </a:lnTo>
                  <a:lnTo>
                    <a:pt x="12554" y="1612"/>
                  </a:lnTo>
                  <a:lnTo>
                    <a:pt x="12432" y="1501"/>
                  </a:lnTo>
                  <a:lnTo>
                    <a:pt x="12362" y="1435"/>
                  </a:lnTo>
                  <a:lnTo>
                    <a:pt x="12252" y="1303"/>
                  </a:lnTo>
                  <a:lnTo>
                    <a:pt x="12198" y="1196"/>
                  </a:lnTo>
                  <a:lnTo>
                    <a:pt x="12065" y="1147"/>
                  </a:lnTo>
                  <a:lnTo>
                    <a:pt x="11907" y="1091"/>
                  </a:lnTo>
                  <a:lnTo>
                    <a:pt x="11807" y="1027"/>
                  </a:lnTo>
                  <a:lnTo>
                    <a:pt x="11650" y="1040"/>
                  </a:lnTo>
                  <a:lnTo>
                    <a:pt x="11476" y="1046"/>
                  </a:lnTo>
                  <a:lnTo>
                    <a:pt x="11319" y="1107"/>
                  </a:lnTo>
                  <a:lnTo>
                    <a:pt x="11161" y="1175"/>
                  </a:lnTo>
                  <a:lnTo>
                    <a:pt x="11102" y="1212"/>
                  </a:lnTo>
                  <a:lnTo>
                    <a:pt x="10997" y="1157"/>
                  </a:lnTo>
                  <a:lnTo>
                    <a:pt x="10925" y="1085"/>
                  </a:lnTo>
                  <a:lnTo>
                    <a:pt x="10818" y="1062"/>
                  </a:lnTo>
                  <a:lnTo>
                    <a:pt x="10706" y="1005"/>
                  </a:lnTo>
                  <a:lnTo>
                    <a:pt x="10635" y="986"/>
                  </a:lnTo>
                  <a:lnTo>
                    <a:pt x="10534" y="1017"/>
                  </a:lnTo>
                  <a:lnTo>
                    <a:pt x="10460" y="1067"/>
                  </a:lnTo>
                  <a:lnTo>
                    <a:pt x="10390" y="1116"/>
                  </a:lnTo>
                  <a:lnTo>
                    <a:pt x="10258" y="1109"/>
                  </a:lnTo>
                  <a:lnTo>
                    <a:pt x="10185" y="1048"/>
                  </a:lnTo>
                  <a:lnTo>
                    <a:pt x="10067" y="999"/>
                  </a:lnTo>
                  <a:lnTo>
                    <a:pt x="10001" y="925"/>
                  </a:lnTo>
                  <a:lnTo>
                    <a:pt x="9915" y="908"/>
                  </a:lnTo>
                  <a:lnTo>
                    <a:pt x="9859" y="933"/>
                  </a:lnTo>
                  <a:lnTo>
                    <a:pt x="9750" y="999"/>
                  </a:lnTo>
                  <a:lnTo>
                    <a:pt x="9570" y="1077"/>
                  </a:lnTo>
                  <a:lnTo>
                    <a:pt x="9446" y="1137"/>
                  </a:lnTo>
                  <a:lnTo>
                    <a:pt x="9279" y="1137"/>
                  </a:lnTo>
                  <a:lnTo>
                    <a:pt x="9295" y="1014"/>
                  </a:lnTo>
                  <a:lnTo>
                    <a:pt x="9310" y="961"/>
                  </a:lnTo>
                  <a:lnTo>
                    <a:pt x="9378" y="871"/>
                  </a:lnTo>
                  <a:lnTo>
                    <a:pt x="9505" y="792"/>
                  </a:lnTo>
                  <a:lnTo>
                    <a:pt x="9585" y="731"/>
                  </a:lnTo>
                  <a:lnTo>
                    <a:pt x="9656" y="672"/>
                  </a:lnTo>
                  <a:lnTo>
                    <a:pt x="9727" y="607"/>
                  </a:lnTo>
                  <a:lnTo>
                    <a:pt x="9742" y="445"/>
                  </a:lnTo>
                  <a:lnTo>
                    <a:pt x="9582" y="412"/>
                  </a:lnTo>
                  <a:cubicBezTo>
                    <a:pt x="9560" y="371"/>
                    <a:pt x="9533" y="339"/>
                    <a:pt x="9502" y="316"/>
                  </a:cubicBezTo>
                  <a:cubicBezTo>
                    <a:pt x="9454" y="281"/>
                    <a:pt x="9400" y="272"/>
                    <a:pt x="9348" y="291"/>
                  </a:cubicBezTo>
                  <a:lnTo>
                    <a:pt x="9271" y="259"/>
                  </a:lnTo>
                  <a:lnTo>
                    <a:pt x="9024" y="240"/>
                  </a:lnTo>
                  <a:lnTo>
                    <a:pt x="8961" y="296"/>
                  </a:lnTo>
                  <a:lnTo>
                    <a:pt x="8878" y="321"/>
                  </a:lnTo>
                  <a:lnTo>
                    <a:pt x="8778" y="327"/>
                  </a:lnTo>
                  <a:lnTo>
                    <a:pt x="8669" y="321"/>
                  </a:lnTo>
                  <a:lnTo>
                    <a:pt x="8552" y="169"/>
                  </a:lnTo>
                  <a:lnTo>
                    <a:pt x="8382" y="61"/>
                  </a:lnTo>
                  <a:lnTo>
                    <a:pt x="8181" y="0"/>
                  </a:lnTo>
                  <a:lnTo>
                    <a:pt x="8118" y="111"/>
                  </a:lnTo>
                  <a:cubicBezTo>
                    <a:pt x="8095" y="146"/>
                    <a:pt x="8072" y="181"/>
                    <a:pt x="8049" y="216"/>
                  </a:cubicBezTo>
                  <a:cubicBezTo>
                    <a:pt x="8019" y="259"/>
                    <a:pt x="7990" y="302"/>
                    <a:pt x="7960" y="345"/>
                  </a:cubicBezTo>
                  <a:lnTo>
                    <a:pt x="7855" y="476"/>
                  </a:lnTo>
                  <a:lnTo>
                    <a:pt x="7722" y="482"/>
                  </a:lnTo>
                  <a:lnTo>
                    <a:pt x="7658" y="400"/>
                  </a:lnTo>
                  <a:lnTo>
                    <a:pt x="7484" y="373"/>
                  </a:lnTo>
                  <a:lnTo>
                    <a:pt x="7361" y="362"/>
                  </a:lnTo>
                  <a:lnTo>
                    <a:pt x="7275" y="430"/>
                  </a:lnTo>
                  <a:lnTo>
                    <a:pt x="7161" y="486"/>
                  </a:lnTo>
                  <a:lnTo>
                    <a:pt x="7012" y="523"/>
                  </a:lnTo>
                  <a:lnTo>
                    <a:pt x="6838" y="560"/>
                  </a:lnTo>
                  <a:lnTo>
                    <a:pt x="6726" y="578"/>
                  </a:lnTo>
                  <a:lnTo>
                    <a:pt x="6715" y="666"/>
                  </a:lnTo>
                  <a:lnTo>
                    <a:pt x="6751" y="734"/>
                  </a:lnTo>
                  <a:lnTo>
                    <a:pt x="6843" y="832"/>
                  </a:lnTo>
                  <a:lnTo>
                    <a:pt x="6786" y="906"/>
                  </a:lnTo>
                  <a:lnTo>
                    <a:pt x="6718" y="930"/>
                  </a:lnTo>
                  <a:lnTo>
                    <a:pt x="6637" y="973"/>
                  </a:lnTo>
                  <a:lnTo>
                    <a:pt x="6556" y="924"/>
                  </a:lnTo>
                  <a:lnTo>
                    <a:pt x="6471" y="887"/>
                  </a:lnTo>
                  <a:lnTo>
                    <a:pt x="6350" y="943"/>
                  </a:lnTo>
                  <a:lnTo>
                    <a:pt x="6279" y="996"/>
                  </a:lnTo>
                  <a:lnTo>
                    <a:pt x="6206" y="1051"/>
                  </a:lnTo>
                  <a:lnTo>
                    <a:pt x="6149" y="1132"/>
                  </a:lnTo>
                  <a:lnTo>
                    <a:pt x="6064" y="1205"/>
                  </a:lnTo>
                  <a:lnTo>
                    <a:pt x="5960" y="1295"/>
                  </a:lnTo>
                  <a:lnTo>
                    <a:pt x="5892" y="1351"/>
                  </a:lnTo>
                  <a:lnTo>
                    <a:pt x="5816" y="1400"/>
                  </a:lnTo>
                  <a:lnTo>
                    <a:pt x="5722" y="1449"/>
                  </a:lnTo>
                  <a:lnTo>
                    <a:pt x="5637" y="1449"/>
                  </a:lnTo>
                  <a:lnTo>
                    <a:pt x="5595" y="1413"/>
                  </a:lnTo>
                  <a:lnTo>
                    <a:pt x="5495" y="1413"/>
                  </a:lnTo>
                  <a:lnTo>
                    <a:pt x="5468" y="1536"/>
                  </a:lnTo>
                  <a:lnTo>
                    <a:pt x="5511" y="1683"/>
                  </a:lnTo>
                  <a:lnTo>
                    <a:pt x="5628" y="1858"/>
                  </a:lnTo>
                  <a:lnTo>
                    <a:pt x="5664" y="1907"/>
                  </a:lnTo>
                  <a:lnTo>
                    <a:pt x="5767" y="1929"/>
                  </a:lnTo>
                  <a:lnTo>
                    <a:pt x="5876" y="2075"/>
                  </a:lnTo>
                  <a:lnTo>
                    <a:pt x="5864" y="2215"/>
                  </a:lnTo>
                  <a:lnTo>
                    <a:pt x="5905" y="2289"/>
                  </a:lnTo>
                  <a:lnTo>
                    <a:pt x="5866" y="2477"/>
                  </a:lnTo>
                  <a:lnTo>
                    <a:pt x="5797" y="2656"/>
                  </a:lnTo>
                  <a:lnTo>
                    <a:pt x="5709" y="2755"/>
                  </a:lnTo>
                  <a:lnTo>
                    <a:pt x="5587" y="2810"/>
                  </a:lnTo>
                  <a:lnTo>
                    <a:pt x="5482" y="2822"/>
                  </a:lnTo>
                  <a:cubicBezTo>
                    <a:pt x="5453" y="2798"/>
                    <a:pt x="5444" y="2741"/>
                    <a:pt x="5463" y="2699"/>
                  </a:cubicBezTo>
                  <a:cubicBezTo>
                    <a:pt x="5481" y="2659"/>
                    <a:pt x="5516" y="2653"/>
                    <a:pt x="5544" y="2631"/>
                  </a:cubicBezTo>
                  <a:cubicBezTo>
                    <a:pt x="5592" y="2593"/>
                    <a:pt x="5617" y="2510"/>
                    <a:pt x="5603" y="2430"/>
                  </a:cubicBezTo>
                  <a:lnTo>
                    <a:pt x="5557" y="2208"/>
                  </a:lnTo>
                  <a:lnTo>
                    <a:pt x="5456" y="2066"/>
                  </a:lnTo>
                  <a:lnTo>
                    <a:pt x="5369" y="1842"/>
                  </a:lnTo>
                  <a:lnTo>
                    <a:pt x="5304" y="1651"/>
                  </a:lnTo>
                  <a:lnTo>
                    <a:pt x="5239" y="1515"/>
                  </a:lnTo>
                  <a:lnTo>
                    <a:pt x="5182" y="1355"/>
                  </a:lnTo>
                  <a:lnTo>
                    <a:pt x="5074" y="1252"/>
                  </a:lnTo>
                  <a:lnTo>
                    <a:pt x="4913" y="1178"/>
                  </a:lnTo>
                  <a:lnTo>
                    <a:pt x="4747" y="1246"/>
                  </a:lnTo>
                  <a:lnTo>
                    <a:pt x="4613" y="1388"/>
                  </a:lnTo>
                  <a:lnTo>
                    <a:pt x="4609" y="1523"/>
                  </a:lnTo>
                  <a:lnTo>
                    <a:pt x="4654" y="1702"/>
                  </a:lnTo>
                  <a:lnTo>
                    <a:pt x="4727" y="1825"/>
                  </a:lnTo>
                  <a:lnTo>
                    <a:pt x="4848" y="1874"/>
                  </a:lnTo>
                  <a:lnTo>
                    <a:pt x="4946" y="1942"/>
                  </a:lnTo>
                  <a:lnTo>
                    <a:pt x="5024" y="2032"/>
                  </a:lnTo>
                  <a:lnTo>
                    <a:pt x="5089" y="2143"/>
                  </a:lnTo>
                  <a:lnTo>
                    <a:pt x="5077" y="2241"/>
                  </a:lnTo>
                  <a:lnTo>
                    <a:pt x="4981" y="2276"/>
                  </a:lnTo>
                  <a:lnTo>
                    <a:pt x="4947" y="2348"/>
                  </a:lnTo>
                  <a:lnTo>
                    <a:pt x="4872" y="2286"/>
                  </a:lnTo>
                  <a:lnTo>
                    <a:pt x="4788" y="2194"/>
                  </a:lnTo>
                  <a:lnTo>
                    <a:pt x="4710" y="2163"/>
                  </a:lnTo>
                  <a:lnTo>
                    <a:pt x="4603" y="2151"/>
                  </a:lnTo>
                  <a:lnTo>
                    <a:pt x="4678" y="2284"/>
                  </a:lnTo>
                  <a:lnTo>
                    <a:pt x="4754" y="2363"/>
                  </a:lnTo>
                  <a:lnTo>
                    <a:pt x="4735" y="2522"/>
                  </a:lnTo>
                  <a:lnTo>
                    <a:pt x="4571" y="2643"/>
                  </a:lnTo>
                  <a:lnTo>
                    <a:pt x="4490" y="2738"/>
                  </a:lnTo>
                  <a:lnTo>
                    <a:pt x="4323" y="2820"/>
                  </a:lnTo>
                  <a:lnTo>
                    <a:pt x="4189" y="2900"/>
                  </a:lnTo>
                  <a:lnTo>
                    <a:pt x="4168" y="3010"/>
                  </a:lnTo>
                  <a:lnTo>
                    <a:pt x="4176" y="3166"/>
                  </a:lnTo>
                  <a:lnTo>
                    <a:pt x="4263" y="3589"/>
                  </a:lnTo>
                  <a:lnTo>
                    <a:pt x="4302" y="3809"/>
                  </a:lnTo>
                  <a:lnTo>
                    <a:pt x="4391" y="3967"/>
                  </a:lnTo>
                  <a:lnTo>
                    <a:pt x="4410" y="4139"/>
                  </a:lnTo>
                  <a:lnTo>
                    <a:pt x="4418" y="4379"/>
                  </a:lnTo>
                  <a:lnTo>
                    <a:pt x="4441" y="4560"/>
                  </a:lnTo>
                  <a:lnTo>
                    <a:pt x="4437" y="4864"/>
                  </a:lnTo>
                  <a:lnTo>
                    <a:pt x="4527" y="4941"/>
                  </a:lnTo>
                  <a:lnTo>
                    <a:pt x="4567" y="5097"/>
                  </a:lnTo>
                  <a:lnTo>
                    <a:pt x="4635" y="5183"/>
                  </a:lnTo>
                  <a:lnTo>
                    <a:pt x="4651" y="5256"/>
                  </a:lnTo>
                  <a:lnTo>
                    <a:pt x="4626" y="5367"/>
                  </a:lnTo>
                  <a:lnTo>
                    <a:pt x="4576" y="5443"/>
                  </a:lnTo>
                  <a:lnTo>
                    <a:pt x="4445" y="5463"/>
                  </a:lnTo>
                  <a:lnTo>
                    <a:pt x="4316" y="5596"/>
                  </a:lnTo>
                  <a:lnTo>
                    <a:pt x="4406" y="5724"/>
                  </a:lnTo>
                  <a:lnTo>
                    <a:pt x="4387" y="5836"/>
                  </a:lnTo>
                  <a:lnTo>
                    <a:pt x="4594" y="6114"/>
                  </a:lnTo>
                  <a:lnTo>
                    <a:pt x="4754" y="6030"/>
                  </a:lnTo>
                  <a:lnTo>
                    <a:pt x="4789" y="5840"/>
                  </a:lnTo>
                  <a:lnTo>
                    <a:pt x="4841" y="5803"/>
                  </a:lnTo>
                  <a:lnTo>
                    <a:pt x="4948" y="5879"/>
                  </a:lnTo>
                  <a:lnTo>
                    <a:pt x="5006" y="6012"/>
                  </a:lnTo>
                  <a:lnTo>
                    <a:pt x="4972" y="6178"/>
                  </a:lnTo>
                  <a:lnTo>
                    <a:pt x="4922" y="6262"/>
                  </a:lnTo>
                  <a:lnTo>
                    <a:pt x="4935" y="6389"/>
                  </a:lnTo>
                  <a:lnTo>
                    <a:pt x="4975" y="6457"/>
                  </a:lnTo>
                  <a:lnTo>
                    <a:pt x="4930" y="6525"/>
                  </a:lnTo>
                  <a:lnTo>
                    <a:pt x="4941" y="6684"/>
                  </a:lnTo>
                  <a:lnTo>
                    <a:pt x="4896" y="6822"/>
                  </a:lnTo>
                  <a:lnTo>
                    <a:pt x="4856" y="6858"/>
                  </a:lnTo>
                  <a:lnTo>
                    <a:pt x="4492" y="6703"/>
                  </a:lnTo>
                  <a:lnTo>
                    <a:pt x="4399" y="6602"/>
                  </a:lnTo>
                  <a:lnTo>
                    <a:pt x="4252" y="6584"/>
                  </a:lnTo>
                  <a:lnTo>
                    <a:pt x="4068" y="6730"/>
                  </a:lnTo>
                  <a:lnTo>
                    <a:pt x="3743" y="6603"/>
                  </a:lnTo>
                  <a:lnTo>
                    <a:pt x="3618" y="6656"/>
                  </a:lnTo>
                  <a:lnTo>
                    <a:pt x="3600" y="6823"/>
                  </a:lnTo>
                  <a:lnTo>
                    <a:pt x="3636" y="7187"/>
                  </a:lnTo>
                  <a:lnTo>
                    <a:pt x="3748" y="7239"/>
                  </a:lnTo>
                  <a:lnTo>
                    <a:pt x="3825" y="7347"/>
                  </a:lnTo>
                  <a:lnTo>
                    <a:pt x="3825" y="7604"/>
                  </a:lnTo>
                  <a:lnTo>
                    <a:pt x="3887" y="7855"/>
                  </a:lnTo>
                  <a:lnTo>
                    <a:pt x="3979" y="8012"/>
                  </a:lnTo>
                  <a:lnTo>
                    <a:pt x="4086" y="8093"/>
                  </a:lnTo>
                  <a:lnTo>
                    <a:pt x="4220" y="8136"/>
                  </a:lnTo>
                  <a:lnTo>
                    <a:pt x="4293" y="8263"/>
                  </a:lnTo>
                  <a:lnTo>
                    <a:pt x="4293" y="8394"/>
                  </a:lnTo>
                  <a:lnTo>
                    <a:pt x="4366" y="8540"/>
                  </a:lnTo>
                  <a:lnTo>
                    <a:pt x="4383" y="8629"/>
                  </a:lnTo>
                  <a:lnTo>
                    <a:pt x="4299" y="8664"/>
                  </a:lnTo>
                  <a:lnTo>
                    <a:pt x="4172" y="8604"/>
                  </a:lnTo>
                  <a:lnTo>
                    <a:pt x="4026" y="8653"/>
                  </a:lnTo>
                  <a:lnTo>
                    <a:pt x="3937" y="8795"/>
                  </a:lnTo>
                  <a:lnTo>
                    <a:pt x="3868" y="9042"/>
                  </a:lnTo>
                  <a:lnTo>
                    <a:pt x="4014" y="9200"/>
                  </a:lnTo>
                  <a:lnTo>
                    <a:pt x="4153" y="9272"/>
                  </a:lnTo>
                  <a:lnTo>
                    <a:pt x="4317" y="9447"/>
                  </a:lnTo>
                  <a:lnTo>
                    <a:pt x="4379" y="9595"/>
                  </a:lnTo>
                  <a:lnTo>
                    <a:pt x="4500" y="9504"/>
                  </a:lnTo>
                  <a:lnTo>
                    <a:pt x="4590" y="9545"/>
                  </a:lnTo>
                  <a:lnTo>
                    <a:pt x="4620" y="9647"/>
                  </a:lnTo>
                  <a:lnTo>
                    <a:pt x="4729" y="9807"/>
                  </a:lnTo>
                  <a:lnTo>
                    <a:pt x="4703" y="9934"/>
                  </a:lnTo>
                  <a:lnTo>
                    <a:pt x="4589" y="10028"/>
                  </a:lnTo>
                  <a:lnTo>
                    <a:pt x="4485" y="9905"/>
                  </a:lnTo>
                  <a:lnTo>
                    <a:pt x="4398" y="9948"/>
                  </a:lnTo>
                  <a:lnTo>
                    <a:pt x="4460" y="10099"/>
                  </a:lnTo>
                  <a:lnTo>
                    <a:pt x="4558" y="10237"/>
                  </a:lnTo>
                  <a:lnTo>
                    <a:pt x="4639" y="10407"/>
                  </a:lnTo>
                  <a:lnTo>
                    <a:pt x="4716" y="10732"/>
                  </a:lnTo>
                  <a:lnTo>
                    <a:pt x="4705" y="10997"/>
                  </a:lnTo>
                  <a:lnTo>
                    <a:pt x="4587" y="11154"/>
                  </a:lnTo>
                  <a:lnTo>
                    <a:pt x="4430" y="11160"/>
                  </a:lnTo>
                  <a:lnTo>
                    <a:pt x="4375" y="11281"/>
                  </a:lnTo>
                  <a:lnTo>
                    <a:pt x="4289" y="11156"/>
                  </a:lnTo>
                  <a:cubicBezTo>
                    <a:pt x="4252" y="11136"/>
                    <a:pt x="4216" y="11114"/>
                    <a:pt x="4180" y="11088"/>
                  </a:cubicBezTo>
                  <a:cubicBezTo>
                    <a:pt x="4134" y="11055"/>
                    <a:pt x="4089" y="11017"/>
                    <a:pt x="4044" y="10979"/>
                  </a:cubicBezTo>
                  <a:cubicBezTo>
                    <a:pt x="3984" y="10930"/>
                    <a:pt x="3923" y="10882"/>
                    <a:pt x="3862" y="10835"/>
                  </a:cubicBezTo>
                  <a:lnTo>
                    <a:pt x="3803" y="10661"/>
                  </a:lnTo>
                  <a:lnTo>
                    <a:pt x="3784" y="10495"/>
                  </a:lnTo>
                  <a:lnTo>
                    <a:pt x="3841" y="10339"/>
                  </a:lnTo>
                  <a:lnTo>
                    <a:pt x="3888" y="10223"/>
                  </a:lnTo>
                  <a:close/>
                </a:path>
              </a:pathLst>
            </a:custGeom>
            <a:grpFill/>
            <a:ln w="25400" cap="flat">
              <a:noFill/>
              <a:prstDash val="solid"/>
              <a:miter lim="400000"/>
            </a:ln>
            <a:effectLst/>
          </p:spPr>
          <p:txBody>
            <a:bodyPr anchor="ctr"/>
            <a:lstStyle/>
            <a:p>
              <a:pPr algn="ctr"/>
              <a:endParaRPr/>
            </a:p>
          </p:txBody>
        </p:sp>
        <p:sp>
          <p:nvSpPr>
            <p:cNvPr id="80" name="任意多边形: 形状 79">
              <a:extLst>
                <a:ext uri="{FF2B5EF4-FFF2-40B4-BE49-F238E27FC236}">
                  <a16:creationId xmlns:a16="http://schemas.microsoft.com/office/drawing/2014/main" id="{C53D3A71-B2D4-4111-A69C-932F5AEC95C2}"/>
                </a:ext>
              </a:extLst>
            </p:cNvPr>
            <p:cNvSpPr/>
            <p:nvPr/>
          </p:nvSpPr>
          <p:spPr>
            <a:xfrm>
              <a:off x="7558388" y="1310558"/>
              <a:ext cx="328933" cy="89526"/>
            </a:xfrm>
            <a:custGeom>
              <a:avLst/>
              <a:gdLst/>
              <a:ahLst/>
              <a:cxnLst>
                <a:cxn ang="0">
                  <a:pos x="wd2" y="hd2"/>
                </a:cxn>
                <a:cxn ang="5400000">
                  <a:pos x="wd2" y="hd2"/>
                </a:cxn>
                <a:cxn ang="10800000">
                  <a:pos x="wd2" y="hd2"/>
                </a:cxn>
                <a:cxn ang="16200000">
                  <a:pos x="wd2" y="hd2"/>
                </a:cxn>
              </a:cxnLst>
              <a:rect l="0" t="0" r="r" b="b"/>
              <a:pathLst>
                <a:path w="21600" h="21600" extrusionOk="0">
                  <a:moveTo>
                    <a:pt x="7778" y="6595"/>
                  </a:moveTo>
                  <a:lnTo>
                    <a:pt x="10446" y="7621"/>
                  </a:lnTo>
                  <a:lnTo>
                    <a:pt x="11913" y="8186"/>
                  </a:lnTo>
                  <a:lnTo>
                    <a:pt x="12620" y="11749"/>
                  </a:lnTo>
                  <a:lnTo>
                    <a:pt x="14481" y="12643"/>
                  </a:lnTo>
                  <a:lnTo>
                    <a:pt x="16772" y="11668"/>
                  </a:lnTo>
                  <a:lnTo>
                    <a:pt x="18486" y="11668"/>
                  </a:lnTo>
                  <a:lnTo>
                    <a:pt x="20801" y="12156"/>
                  </a:lnTo>
                  <a:lnTo>
                    <a:pt x="21600" y="13283"/>
                  </a:lnTo>
                  <a:lnTo>
                    <a:pt x="19933" y="15944"/>
                  </a:lnTo>
                  <a:lnTo>
                    <a:pt x="17089" y="15944"/>
                  </a:lnTo>
                  <a:lnTo>
                    <a:pt x="16332" y="19345"/>
                  </a:lnTo>
                  <a:lnTo>
                    <a:pt x="16001" y="21600"/>
                  </a:lnTo>
                  <a:lnTo>
                    <a:pt x="14718" y="20625"/>
                  </a:lnTo>
                  <a:lnTo>
                    <a:pt x="14985" y="16005"/>
                  </a:lnTo>
                  <a:lnTo>
                    <a:pt x="13115" y="14553"/>
                  </a:lnTo>
                  <a:lnTo>
                    <a:pt x="9998" y="14309"/>
                  </a:lnTo>
                  <a:lnTo>
                    <a:pt x="8554" y="13334"/>
                  </a:lnTo>
                  <a:lnTo>
                    <a:pt x="6375" y="9273"/>
                  </a:lnTo>
                  <a:lnTo>
                    <a:pt x="4455" y="10004"/>
                  </a:lnTo>
                  <a:lnTo>
                    <a:pt x="647" y="10490"/>
                  </a:lnTo>
                  <a:lnTo>
                    <a:pt x="0" y="7648"/>
                  </a:lnTo>
                  <a:lnTo>
                    <a:pt x="1373" y="1494"/>
                  </a:lnTo>
                  <a:lnTo>
                    <a:pt x="2843" y="0"/>
                  </a:lnTo>
                  <a:lnTo>
                    <a:pt x="5108" y="1491"/>
                  </a:lnTo>
                  <a:lnTo>
                    <a:pt x="5617" y="3189"/>
                  </a:lnTo>
                  <a:lnTo>
                    <a:pt x="6572" y="5128"/>
                  </a:lnTo>
                  <a:lnTo>
                    <a:pt x="7778" y="6595"/>
                  </a:lnTo>
                  <a:close/>
                </a:path>
              </a:pathLst>
            </a:custGeom>
            <a:grpFill/>
            <a:ln w="25400" cap="flat">
              <a:noFill/>
              <a:prstDash val="solid"/>
              <a:miter lim="400000"/>
            </a:ln>
            <a:effectLst/>
          </p:spPr>
          <p:txBody>
            <a:bodyPr anchor="ctr"/>
            <a:lstStyle/>
            <a:p>
              <a:pPr algn="ctr"/>
              <a:endParaRPr/>
            </a:p>
          </p:txBody>
        </p:sp>
        <p:sp>
          <p:nvSpPr>
            <p:cNvPr id="81" name="任意多边形: 形状 80">
              <a:extLst>
                <a:ext uri="{FF2B5EF4-FFF2-40B4-BE49-F238E27FC236}">
                  <a16:creationId xmlns:a16="http://schemas.microsoft.com/office/drawing/2014/main" id="{9994135A-B541-42C5-845A-2DB9BA773876}"/>
                </a:ext>
              </a:extLst>
            </p:cNvPr>
            <p:cNvSpPr/>
            <p:nvPr/>
          </p:nvSpPr>
          <p:spPr>
            <a:xfrm>
              <a:off x="9628653" y="2148074"/>
              <a:ext cx="217835" cy="255740"/>
            </a:xfrm>
            <a:custGeom>
              <a:avLst/>
              <a:gdLst/>
              <a:ahLst/>
              <a:cxnLst>
                <a:cxn ang="0">
                  <a:pos x="wd2" y="hd2"/>
                </a:cxn>
                <a:cxn ang="5400000">
                  <a:pos x="wd2" y="hd2"/>
                </a:cxn>
                <a:cxn ang="10800000">
                  <a:pos x="wd2" y="hd2"/>
                </a:cxn>
                <a:cxn ang="16200000">
                  <a:pos x="wd2" y="hd2"/>
                </a:cxn>
              </a:cxnLst>
              <a:rect l="0" t="0" r="r" b="b"/>
              <a:pathLst>
                <a:path w="21600" h="21600" extrusionOk="0">
                  <a:moveTo>
                    <a:pt x="918" y="306"/>
                  </a:moveTo>
                  <a:lnTo>
                    <a:pt x="2649" y="0"/>
                  </a:lnTo>
                  <a:lnTo>
                    <a:pt x="4359" y="1473"/>
                  </a:lnTo>
                  <a:lnTo>
                    <a:pt x="4763" y="2920"/>
                  </a:lnTo>
                  <a:lnTo>
                    <a:pt x="5532" y="4452"/>
                  </a:lnTo>
                  <a:lnTo>
                    <a:pt x="7347" y="6386"/>
                  </a:lnTo>
                  <a:lnTo>
                    <a:pt x="9263" y="7065"/>
                  </a:lnTo>
                  <a:lnTo>
                    <a:pt x="12200" y="8654"/>
                  </a:lnTo>
                  <a:lnTo>
                    <a:pt x="15159" y="10100"/>
                  </a:lnTo>
                  <a:lnTo>
                    <a:pt x="16566" y="11032"/>
                  </a:lnTo>
                  <a:lnTo>
                    <a:pt x="17268" y="12134"/>
                  </a:lnTo>
                  <a:lnTo>
                    <a:pt x="17470" y="13346"/>
                  </a:lnTo>
                  <a:lnTo>
                    <a:pt x="16028" y="13005"/>
                  </a:lnTo>
                  <a:lnTo>
                    <a:pt x="14423" y="13403"/>
                  </a:lnTo>
                  <a:lnTo>
                    <a:pt x="14629" y="14594"/>
                  </a:lnTo>
                  <a:lnTo>
                    <a:pt x="16612" y="15959"/>
                  </a:lnTo>
                  <a:lnTo>
                    <a:pt x="18226" y="17825"/>
                  </a:lnTo>
                  <a:lnTo>
                    <a:pt x="20991" y="20121"/>
                  </a:lnTo>
                  <a:lnTo>
                    <a:pt x="21600" y="21600"/>
                  </a:lnTo>
                  <a:lnTo>
                    <a:pt x="18856" y="21600"/>
                  </a:lnTo>
                  <a:lnTo>
                    <a:pt x="16692" y="20075"/>
                  </a:lnTo>
                  <a:cubicBezTo>
                    <a:pt x="16027" y="19637"/>
                    <a:pt x="15479" y="19086"/>
                    <a:pt x="15082" y="18458"/>
                  </a:cubicBezTo>
                  <a:cubicBezTo>
                    <a:pt x="14796" y="18005"/>
                    <a:pt x="14594" y="17518"/>
                    <a:pt x="14481" y="17014"/>
                  </a:cubicBezTo>
                  <a:lnTo>
                    <a:pt x="13271" y="15138"/>
                  </a:lnTo>
                  <a:lnTo>
                    <a:pt x="12262" y="13005"/>
                  </a:lnTo>
                  <a:lnTo>
                    <a:pt x="10884" y="11071"/>
                  </a:lnTo>
                  <a:lnTo>
                    <a:pt x="9077" y="9201"/>
                  </a:lnTo>
                  <a:lnTo>
                    <a:pt x="7270" y="7413"/>
                  </a:lnTo>
                  <a:lnTo>
                    <a:pt x="5169" y="6059"/>
                  </a:lnTo>
                  <a:lnTo>
                    <a:pt x="4097" y="4751"/>
                  </a:lnTo>
                  <a:lnTo>
                    <a:pt x="2685" y="3332"/>
                  </a:lnTo>
                  <a:lnTo>
                    <a:pt x="0" y="1690"/>
                  </a:lnTo>
                  <a:lnTo>
                    <a:pt x="918" y="306"/>
                  </a:lnTo>
                  <a:close/>
                </a:path>
              </a:pathLst>
            </a:custGeom>
            <a:grpFill/>
            <a:ln w="25400" cap="flat">
              <a:noFill/>
              <a:prstDash val="solid"/>
              <a:miter lim="400000"/>
            </a:ln>
            <a:effectLst/>
          </p:spPr>
          <p:txBody>
            <a:bodyPr anchor="ctr"/>
            <a:lstStyle/>
            <a:p>
              <a:pPr algn="ctr"/>
              <a:endParaRPr/>
            </a:p>
          </p:txBody>
        </p:sp>
        <p:sp>
          <p:nvSpPr>
            <p:cNvPr id="82" name="任意多边形: 形状 81">
              <a:extLst>
                <a:ext uri="{FF2B5EF4-FFF2-40B4-BE49-F238E27FC236}">
                  <a16:creationId xmlns:a16="http://schemas.microsoft.com/office/drawing/2014/main" id="{89A87B63-0342-48FA-B691-0A39D6339244}"/>
                </a:ext>
              </a:extLst>
            </p:cNvPr>
            <p:cNvSpPr/>
            <p:nvPr/>
          </p:nvSpPr>
          <p:spPr>
            <a:xfrm>
              <a:off x="9834882" y="2436351"/>
              <a:ext cx="152671" cy="145223"/>
            </a:xfrm>
            <a:custGeom>
              <a:avLst/>
              <a:gdLst/>
              <a:ahLst/>
              <a:cxnLst>
                <a:cxn ang="0">
                  <a:pos x="wd2" y="hd2"/>
                </a:cxn>
                <a:cxn ang="5400000">
                  <a:pos x="wd2" y="hd2"/>
                </a:cxn>
                <a:cxn ang="10800000">
                  <a:pos x="wd2" y="hd2"/>
                </a:cxn>
                <a:cxn ang="16200000">
                  <a:pos x="wd2" y="hd2"/>
                </a:cxn>
              </a:cxnLst>
              <a:rect l="0" t="0" r="r" b="b"/>
              <a:pathLst>
                <a:path w="21600" h="21600" extrusionOk="0">
                  <a:moveTo>
                    <a:pt x="1216" y="0"/>
                  </a:moveTo>
                  <a:lnTo>
                    <a:pt x="3327" y="2686"/>
                  </a:lnTo>
                  <a:lnTo>
                    <a:pt x="5129" y="3465"/>
                  </a:lnTo>
                  <a:lnTo>
                    <a:pt x="5987" y="5412"/>
                  </a:lnTo>
                  <a:lnTo>
                    <a:pt x="8960" y="8066"/>
                  </a:lnTo>
                  <a:lnTo>
                    <a:pt x="13176" y="8066"/>
                  </a:lnTo>
                  <a:lnTo>
                    <a:pt x="16240" y="8060"/>
                  </a:lnTo>
                  <a:lnTo>
                    <a:pt x="20071" y="9506"/>
                  </a:lnTo>
                  <a:lnTo>
                    <a:pt x="21600" y="11754"/>
                  </a:lnTo>
                  <a:lnTo>
                    <a:pt x="18242" y="13299"/>
                  </a:lnTo>
                  <a:lnTo>
                    <a:pt x="16138" y="13894"/>
                  </a:lnTo>
                  <a:lnTo>
                    <a:pt x="16857" y="17337"/>
                  </a:lnTo>
                  <a:lnTo>
                    <a:pt x="14039" y="17181"/>
                  </a:lnTo>
                  <a:lnTo>
                    <a:pt x="12762" y="16136"/>
                  </a:lnTo>
                  <a:cubicBezTo>
                    <a:pt x="11828" y="15985"/>
                    <a:pt x="10901" y="15786"/>
                    <a:pt x="9986" y="15541"/>
                  </a:cubicBezTo>
                  <a:cubicBezTo>
                    <a:pt x="9104" y="15304"/>
                    <a:pt x="8234" y="15024"/>
                    <a:pt x="7377" y="14702"/>
                  </a:cubicBezTo>
                  <a:lnTo>
                    <a:pt x="5842" y="15002"/>
                  </a:lnTo>
                  <a:lnTo>
                    <a:pt x="5992" y="19096"/>
                  </a:lnTo>
                  <a:lnTo>
                    <a:pt x="4895" y="21600"/>
                  </a:lnTo>
                  <a:lnTo>
                    <a:pt x="2646" y="18495"/>
                  </a:lnTo>
                  <a:lnTo>
                    <a:pt x="2215" y="16698"/>
                  </a:lnTo>
                  <a:lnTo>
                    <a:pt x="499" y="14902"/>
                  </a:lnTo>
                  <a:lnTo>
                    <a:pt x="34" y="12773"/>
                  </a:lnTo>
                  <a:cubicBezTo>
                    <a:pt x="789" y="12296"/>
                    <a:pt x="1459" y="11687"/>
                    <a:pt x="2015" y="10971"/>
                  </a:cubicBezTo>
                  <a:cubicBezTo>
                    <a:pt x="2581" y="10241"/>
                    <a:pt x="3020" y="9412"/>
                    <a:pt x="3310" y="8523"/>
                  </a:cubicBezTo>
                  <a:lnTo>
                    <a:pt x="1535" y="5374"/>
                  </a:lnTo>
                  <a:lnTo>
                    <a:pt x="0" y="3428"/>
                  </a:lnTo>
                  <a:lnTo>
                    <a:pt x="1216" y="0"/>
                  </a:lnTo>
                  <a:close/>
                </a:path>
              </a:pathLst>
            </a:custGeom>
            <a:grpFill/>
            <a:ln w="25400" cap="flat">
              <a:noFill/>
              <a:prstDash val="solid"/>
              <a:miter lim="400000"/>
            </a:ln>
            <a:effectLst/>
          </p:spPr>
          <p:txBody>
            <a:bodyPr anchor="ctr"/>
            <a:lstStyle/>
            <a:p>
              <a:pPr algn="ctr"/>
              <a:endParaRPr/>
            </a:p>
          </p:txBody>
        </p:sp>
        <p:sp>
          <p:nvSpPr>
            <p:cNvPr id="83" name="任意多边形: 形状 82">
              <a:extLst>
                <a:ext uri="{FF2B5EF4-FFF2-40B4-BE49-F238E27FC236}">
                  <a16:creationId xmlns:a16="http://schemas.microsoft.com/office/drawing/2014/main" id="{0CB553B8-C7DC-433F-99CD-ACD9A955B267}"/>
                </a:ext>
              </a:extLst>
            </p:cNvPr>
            <p:cNvSpPr/>
            <p:nvPr/>
          </p:nvSpPr>
          <p:spPr>
            <a:xfrm>
              <a:off x="9716338" y="2591817"/>
              <a:ext cx="274646" cy="265853"/>
            </a:xfrm>
            <a:custGeom>
              <a:avLst/>
              <a:gdLst/>
              <a:ahLst/>
              <a:cxnLst>
                <a:cxn ang="0">
                  <a:pos x="wd2" y="hd2"/>
                </a:cxn>
                <a:cxn ang="5400000">
                  <a:pos x="wd2" y="hd2"/>
                </a:cxn>
                <a:cxn ang="10800000">
                  <a:pos x="wd2" y="hd2"/>
                </a:cxn>
                <a:cxn ang="16200000">
                  <a:pos x="wd2" y="hd2"/>
                </a:cxn>
              </a:cxnLst>
              <a:rect l="0" t="0" r="r" b="b"/>
              <a:pathLst>
                <a:path w="21600" h="21600" extrusionOk="0">
                  <a:moveTo>
                    <a:pt x="14831" y="0"/>
                  </a:moveTo>
                  <a:lnTo>
                    <a:pt x="16152" y="752"/>
                  </a:lnTo>
                  <a:lnTo>
                    <a:pt x="17169" y="1568"/>
                  </a:lnTo>
                  <a:lnTo>
                    <a:pt x="18839" y="1893"/>
                  </a:lnTo>
                  <a:lnTo>
                    <a:pt x="18839" y="3442"/>
                  </a:lnTo>
                  <a:lnTo>
                    <a:pt x="19262" y="4642"/>
                  </a:lnTo>
                  <a:lnTo>
                    <a:pt x="19979" y="5617"/>
                  </a:lnTo>
                  <a:lnTo>
                    <a:pt x="19182" y="6899"/>
                  </a:lnTo>
                  <a:lnTo>
                    <a:pt x="19182" y="8099"/>
                  </a:lnTo>
                  <a:lnTo>
                    <a:pt x="19662" y="9375"/>
                  </a:lnTo>
                  <a:lnTo>
                    <a:pt x="20216" y="10435"/>
                  </a:lnTo>
                  <a:lnTo>
                    <a:pt x="20594" y="11892"/>
                  </a:lnTo>
                  <a:lnTo>
                    <a:pt x="21520" y="13554"/>
                  </a:lnTo>
                  <a:lnTo>
                    <a:pt x="21600" y="15848"/>
                  </a:lnTo>
                  <a:lnTo>
                    <a:pt x="20167" y="17076"/>
                  </a:lnTo>
                  <a:lnTo>
                    <a:pt x="18837" y="17726"/>
                  </a:lnTo>
                  <a:lnTo>
                    <a:pt x="16684" y="18109"/>
                  </a:lnTo>
                  <a:lnTo>
                    <a:pt x="15274" y="18188"/>
                  </a:lnTo>
                  <a:lnTo>
                    <a:pt x="13867" y="18430"/>
                  </a:lnTo>
                  <a:lnTo>
                    <a:pt x="13462" y="19798"/>
                  </a:lnTo>
                  <a:lnTo>
                    <a:pt x="13164" y="20810"/>
                  </a:lnTo>
                  <a:lnTo>
                    <a:pt x="12474" y="21600"/>
                  </a:lnTo>
                  <a:lnTo>
                    <a:pt x="11162" y="19907"/>
                  </a:lnTo>
                  <a:lnTo>
                    <a:pt x="10416" y="19251"/>
                  </a:lnTo>
                  <a:lnTo>
                    <a:pt x="7383" y="19114"/>
                  </a:lnTo>
                  <a:lnTo>
                    <a:pt x="4329" y="19388"/>
                  </a:lnTo>
                  <a:lnTo>
                    <a:pt x="1907" y="20174"/>
                  </a:lnTo>
                  <a:lnTo>
                    <a:pt x="0" y="18923"/>
                  </a:lnTo>
                  <a:lnTo>
                    <a:pt x="1177" y="17804"/>
                  </a:lnTo>
                  <a:lnTo>
                    <a:pt x="2674" y="17668"/>
                  </a:lnTo>
                  <a:lnTo>
                    <a:pt x="3680" y="16334"/>
                  </a:lnTo>
                  <a:lnTo>
                    <a:pt x="4960" y="15541"/>
                  </a:lnTo>
                  <a:lnTo>
                    <a:pt x="6637" y="16033"/>
                  </a:lnTo>
                  <a:lnTo>
                    <a:pt x="8203" y="16279"/>
                  </a:lnTo>
                  <a:lnTo>
                    <a:pt x="9693" y="15161"/>
                  </a:lnTo>
                  <a:lnTo>
                    <a:pt x="10727" y="14180"/>
                  </a:lnTo>
                  <a:lnTo>
                    <a:pt x="13446" y="12244"/>
                  </a:lnTo>
                  <a:lnTo>
                    <a:pt x="14243" y="11348"/>
                  </a:lnTo>
                  <a:lnTo>
                    <a:pt x="16242" y="10719"/>
                  </a:lnTo>
                  <a:lnTo>
                    <a:pt x="16482" y="9003"/>
                  </a:lnTo>
                  <a:lnTo>
                    <a:pt x="16482" y="7470"/>
                  </a:lnTo>
                  <a:lnTo>
                    <a:pt x="14963" y="5446"/>
                  </a:lnTo>
                  <a:lnTo>
                    <a:pt x="14030" y="3313"/>
                  </a:lnTo>
                  <a:lnTo>
                    <a:pt x="13976" y="2082"/>
                  </a:lnTo>
                  <a:lnTo>
                    <a:pt x="13500" y="1100"/>
                  </a:lnTo>
                  <a:lnTo>
                    <a:pt x="14831" y="0"/>
                  </a:lnTo>
                  <a:close/>
                </a:path>
              </a:pathLst>
            </a:custGeom>
            <a:grpFill/>
            <a:ln w="25400" cap="flat">
              <a:noFill/>
              <a:prstDash val="solid"/>
              <a:miter lim="400000"/>
            </a:ln>
            <a:effectLst/>
          </p:spPr>
          <p:txBody>
            <a:bodyPr anchor="ctr"/>
            <a:lstStyle/>
            <a:p>
              <a:pPr algn="ctr"/>
              <a:endParaRPr/>
            </a:p>
          </p:txBody>
        </p:sp>
        <p:sp>
          <p:nvSpPr>
            <p:cNvPr id="84" name="任意多边形: 形状 83">
              <a:extLst>
                <a:ext uri="{FF2B5EF4-FFF2-40B4-BE49-F238E27FC236}">
                  <a16:creationId xmlns:a16="http://schemas.microsoft.com/office/drawing/2014/main" id="{84A8FD82-E848-40C9-B1E5-5E9899657DF1}"/>
                </a:ext>
              </a:extLst>
            </p:cNvPr>
            <p:cNvSpPr/>
            <p:nvPr/>
          </p:nvSpPr>
          <p:spPr>
            <a:xfrm>
              <a:off x="9773896" y="2850018"/>
              <a:ext cx="47636" cy="42571"/>
            </a:xfrm>
            <a:custGeom>
              <a:avLst/>
              <a:gdLst/>
              <a:ahLst/>
              <a:cxnLst>
                <a:cxn ang="0">
                  <a:pos x="wd2" y="hd2"/>
                </a:cxn>
                <a:cxn ang="5400000">
                  <a:pos x="wd2" y="hd2"/>
                </a:cxn>
                <a:cxn ang="10800000">
                  <a:pos x="wd2" y="hd2"/>
                </a:cxn>
                <a:cxn ang="16200000">
                  <a:pos x="wd2" y="hd2"/>
                </a:cxn>
              </a:cxnLst>
              <a:rect l="0" t="0" r="r" b="b"/>
              <a:pathLst>
                <a:path w="21600" h="21600" extrusionOk="0">
                  <a:moveTo>
                    <a:pt x="15130" y="2820"/>
                  </a:moveTo>
                  <a:lnTo>
                    <a:pt x="3175" y="0"/>
                  </a:lnTo>
                  <a:lnTo>
                    <a:pt x="0" y="4621"/>
                  </a:lnTo>
                  <a:lnTo>
                    <a:pt x="4230" y="10217"/>
                  </a:lnTo>
                  <a:lnTo>
                    <a:pt x="4401" y="19722"/>
                  </a:lnTo>
                  <a:lnTo>
                    <a:pt x="14203" y="21600"/>
                  </a:lnTo>
                  <a:lnTo>
                    <a:pt x="18813" y="14767"/>
                  </a:lnTo>
                  <a:lnTo>
                    <a:pt x="21600" y="929"/>
                  </a:lnTo>
                  <a:lnTo>
                    <a:pt x="15130" y="2820"/>
                  </a:lnTo>
                  <a:close/>
                </a:path>
              </a:pathLst>
            </a:custGeom>
            <a:grpFill/>
            <a:ln w="25400" cap="flat">
              <a:noFill/>
              <a:prstDash val="solid"/>
              <a:miter lim="400000"/>
            </a:ln>
            <a:effectLst/>
          </p:spPr>
          <p:txBody>
            <a:bodyPr anchor="ctr"/>
            <a:lstStyle/>
            <a:p>
              <a:pPr algn="ctr"/>
              <a:endParaRPr/>
            </a:p>
          </p:txBody>
        </p:sp>
        <p:sp>
          <p:nvSpPr>
            <p:cNvPr id="85" name="任意多边形: 形状 84">
              <a:extLst>
                <a:ext uri="{FF2B5EF4-FFF2-40B4-BE49-F238E27FC236}">
                  <a16:creationId xmlns:a16="http://schemas.microsoft.com/office/drawing/2014/main" id="{80D08E64-0361-4FDC-978A-7A2DD2F6B0BB}"/>
                </a:ext>
              </a:extLst>
            </p:cNvPr>
            <p:cNvSpPr/>
            <p:nvPr/>
          </p:nvSpPr>
          <p:spPr>
            <a:xfrm>
              <a:off x="9703522" y="2858648"/>
              <a:ext cx="58652" cy="83042"/>
            </a:xfrm>
            <a:custGeom>
              <a:avLst/>
              <a:gdLst/>
              <a:ahLst/>
              <a:cxnLst>
                <a:cxn ang="0">
                  <a:pos x="wd2" y="hd2"/>
                </a:cxn>
                <a:cxn ang="5400000">
                  <a:pos x="wd2" y="hd2"/>
                </a:cxn>
                <a:cxn ang="10800000">
                  <a:pos x="wd2" y="hd2"/>
                </a:cxn>
                <a:cxn ang="16200000">
                  <a:pos x="wd2" y="hd2"/>
                </a:cxn>
              </a:cxnLst>
              <a:rect l="0" t="0" r="r" b="b"/>
              <a:pathLst>
                <a:path w="21600" h="21600" extrusionOk="0">
                  <a:moveTo>
                    <a:pt x="5179" y="0"/>
                  </a:moveTo>
                  <a:lnTo>
                    <a:pt x="10237" y="2528"/>
                  </a:lnTo>
                  <a:lnTo>
                    <a:pt x="16136" y="4696"/>
                  </a:lnTo>
                  <a:lnTo>
                    <a:pt x="19977" y="6514"/>
                  </a:lnTo>
                  <a:lnTo>
                    <a:pt x="19602" y="11221"/>
                  </a:lnTo>
                  <a:lnTo>
                    <a:pt x="20976" y="14878"/>
                  </a:lnTo>
                  <a:lnTo>
                    <a:pt x="21600" y="19246"/>
                  </a:lnTo>
                  <a:lnTo>
                    <a:pt x="18618" y="21600"/>
                  </a:lnTo>
                  <a:lnTo>
                    <a:pt x="11299" y="20100"/>
                  </a:lnTo>
                  <a:lnTo>
                    <a:pt x="11672" y="15196"/>
                  </a:lnTo>
                  <a:lnTo>
                    <a:pt x="4821" y="10992"/>
                  </a:lnTo>
                  <a:lnTo>
                    <a:pt x="1366" y="8562"/>
                  </a:lnTo>
                  <a:lnTo>
                    <a:pt x="0" y="4533"/>
                  </a:lnTo>
                  <a:lnTo>
                    <a:pt x="5179" y="0"/>
                  </a:lnTo>
                  <a:close/>
                </a:path>
              </a:pathLst>
            </a:custGeom>
            <a:grpFill/>
            <a:ln w="25400" cap="flat">
              <a:noFill/>
              <a:prstDash val="solid"/>
              <a:miter lim="400000"/>
            </a:ln>
            <a:effectLst/>
          </p:spPr>
          <p:txBody>
            <a:bodyPr anchor="ctr"/>
            <a:lstStyle/>
            <a:p>
              <a:pPr algn="ctr"/>
              <a:endParaRPr/>
            </a:p>
          </p:txBody>
        </p:sp>
        <p:sp>
          <p:nvSpPr>
            <p:cNvPr id="86" name="任意多边形: 形状 85">
              <a:extLst>
                <a:ext uri="{FF2B5EF4-FFF2-40B4-BE49-F238E27FC236}">
                  <a16:creationId xmlns:a16="http://schemas.microsoft.com/office/drawing/2014/main" id="{5236123E-E5A9-4EE4-A14B-BA4C56352AD0}"/>
                </a:ext>
              </a:extLst>
            </p:cNvPr>
            <p:cNvSpPr/>
            <p:nvPr/>
          </p:nvSpPr>
          <p:spPr>
            <a:xfrm>
              <a:off x="9478424" y="3163043"/>
              <a:ext cx="55804" cy="107550"/>
            </a:xfrm>
            <a:custGeom>
              <a:avLst/>
              <a:gdLst/>
              <a:ahLst/>
              <a:cxnLst>
                <a:cxn ang="0">
                  <a:pos x="wd2" y="hd2"/>
                </a:cxn>
                <a:cxn ang="5400000">
                  <a:pos x="wd2" y="hd2"/>
                </a:cxn>
                <a:cxn ang="10800000">
                  <a:pos x="wd2" y="hd2"/>
                </a:cxn>
                <a:cxn ang="16200000">
                  <a:pos x="wd2" y="hd2"/>
                </a:cxn>
              </a:cxnLst>
              <a:rect l="0" t="0" r="r" b="b"/>
              <a:pathLst>
                <a:path w="21570" h="21600" extrusionOk="0">
                  <a:moveTo>
                    <a:pt x="10688" y="0"/>
                  </a:moveTo>
                  <a:lnTo>
                    <a:pt x="7165" y="3027"/>
                  </a:lnTo>
                  <a:lnTo>
                    <a:pt x="5618" y="8797"/>
                  </a:lnTo>
                  <a:lnTo>
                    <a:pt x="0" y="12556"/>
                  </a:lnTo>
                  <a:lnTo>
                    <a:pt x="2313" y="15996"/>
                  </a:lnTo>
                  <a:lnTo>
                    <a:pt x="6119" y="18152"/>
                  </a:lnTo>
                  <a:lnTo>
                    <a:pt x="12017" y="21600"/>
                  </a:lnTo>
                  <a:lnTo>
                    <a:pt x="18421" y="20856"/>
                  </a:lnTo>
                  <a:lnTo>
                    <a:pt x="19994" y="15920"/>
                  </a:lnTo>
                  <a:lnTo>
                    <a:pt x="19601" y="12480"/>
                  </a:lnTo>
                  <a:cubicBezTo>
                    <a:pt x="20082" y="11316"/>
                    <a:pt x="20475" y="10143"/>
                    <a:pt x="20780" y="8963"/>
                  </a:cubicBezTo>
                  <a:cubicBezTo>
                    <a:pt x="21337" y="6812"/>
                    <a:pt x="21600" y="4643"/>
                    <a:pt x="21567" y="2472"/>
                  </a:cubicBezTo>
                  <a:lnTo>
                    <a:pt x="10688" y="0"/>
                  </a:lnTo>
                  <a:close/>
                </a:path>
              </a:pathLst>
            </a:custGeom>
            <a:grpFill/>
            <a:ln w="25400" cap="flat">
              <a:noFill/>
              <a:prstDash val="solid"/>
              <a:miter lim="400000"/>
            </a:ln>
            <a:effectLst/>
          </p:spPr>
          <p:txBody>
            <a:bodyPr anchor="ctr"/>
            <a:lstStyle/>
            <a:p>
              <a:pPr algn="ctr"/>
              <a:endParaRPr/>
            </a:p>
          </p:txBody>
        </p:sp>
        <p:sp>
          <p:nvSpPr>
            <p:cNvPr id="87" name="任意多边形: 形状 86">
              <a:extLst>
                <a:ext uri="{FF2B5EF4-FFF2-40B4-BE49-F238E27FC236}">
                  <a16:creationId xmlns:a16="http://schemas.microsoft.com/office/drawing/2014/main" id="{3100A182-1674-4B92-B173-A14CA1629DB1}"/>
                </a:ext>
              </a:extLst>
            </p:cNvPr>
            <p:cNvSpPr/>
            <p:nvPr/>
          </p:nvSpPr>
          <p:spPr>
            <a:xfrm>
              <a:off x="9135285" y="3359667"/>
              <a:ext cx="61216" cy="64164"/>
            </a:xfrm>
            <a:custGeom>
              <a:avLst/>
              <a:gdLst/>
              <a:ahLst/>
              <a:cxnLst>
                <a:cxn ang="0">
                  <a:pos x="wd2" y="hd2"/>
                </a:cxn>
                <a:cxn ang="5400000">
                  <a:pos x="wd2" y="hd2"/>
                </a:cxn>
                <a:cxn ang="10800000">
                  <a:pos x="wd2" y="hd2"/>
                </a:cxn>
                <a:cxn ang="16200000">
                  <a:pos x="wd2" y="hd2"/>
                </a:cxn>
              </a:cxnLst>
              <a:rect l="0" t="0" r="r" b="b"/>
              <a:pathLst>
                <a:path w="21600" h="21600" extrusionOk="0">
                  <a:moveTo>
                    <a:pt x="20237" y="806"/>
                  </a:moveTo>
                  <a:lnTo>
                    <a:pt x="13014" y="0"/>
                  </a:lnTo>
                  <a:lnTo>
                    <a:pt x="4311" y="2387"/>
                  </a:lnTo>
                  <a:lnTo>
                    <a:pt x="1595" y="5661"/>
                  </a:lnTo>
                  <a:lnTo>
                    <a:pt x="0" y="10054"/>
                  </a:lnTo>
                  <a:lnTo>
                    <a:pt x="1800" y="15494"/>
                  </a:lnTo>
                  <a:lnTo>
                    <a:pt x="5016" y="21600"/>
                  </a:lnTo>
                  <a:lnTo>
                    <a:pt x="11327" y="20806"/>
                  </a:lnTo>
                  <a:lnTo>
                    <a:pt x="13480" y="14360"/>
                  </a:lnTo>
                  <a:lnTo>
                    <a:pt x="21600" y="6554"/>
                  </a:lnTo>
                  <a:lnTo>
                    <a:pt x="20237" y="806"/>
                  </a:lnTo>
                  <a:close/>
                </a:path>
              </a:pathLst>
            </a:custGeom>
            <a:grpFill/>
            <a:ln w="25400" cap="flat">
              <a:noFill/>
              <a:prstDash val="solid"/>
              <a:miter lim="400000"/>
            </a:ln>
            <a:effectLst/>
          </p:spPr>
          <p:txBody>
            <a:bodyPr anchor="ctr"/>
            <a:lstStyle/>
            <a:p>
              <a:pPr algn="ctr"/>
              <a:endParaRPr/>
            </a:p>
          </p:txBody>
        </p:sp>
        <p:sp>
          <p:nvSpPr>
            <p:cNvPr id="88" name="任意多边形: 形状 87">
              <a:extLst>
                <a:ext uri="{FF2B5EF4-FFF2-40B4-BE49-F238E27FC236}">
                  <a16:creationId xmlns:a16="http://schemas.microsoft.com/office/drawing/2014/main" id="{8FDAED0D-A345-4251-B3EB-FFB29B509C17}"/>
                </a:ext>
              </a:extLst>
            </p:cNvPr>
            <p:cNvSpPr/>
            <p:nvPr/>
          </p:nvSpPr>
          <p:spPr>
            <a:xfrm>
              <a:off x="9517257" y="3403769"/>
              <a:ext cx="158867" cy="207893"/>
            </a:xfrm>
            <a:custGeom>
              <a:avLst/>
              <a:gdLst/>
              <a:ahLst/>
              <a:cxnLst>
                <a:cxn ang="0">
                  <a:pos x="wd2" y="hd2"/>
                </a:cxn>
                <a:cxn ang="5400000">
                  <a:pos x="wd2" y="hd2"/>
                </a:cxn>
                <a:cxn ang="10800000">
                  <a:pos x="wd2" y="hd2"/>
                </a:cxn>
                <a:cxn ang="16200000">
                  <a:pos x="wd2" y="hd2"/>
                </a:cxn>
              </a:cxnLst>
              <a:rect l="0" t="0" r="r" b="b"/>
              <a:pathLst>
                <a:path w="21600" h="21600" extrusionOk="0">
                  <a:moveTo>
                    <a:pt x="6205" y="214"/>
                  </a:moveTo>
                  <a:lnTo>
                    <a:pt x="2995" y="0"/>
                  </a:lnTo>
                  <a:lnTo>
                    <a:pt x="2584" y="2552"/>
                  </a:lnTo>
                  <a:lnTo>
                    <a:pt x="3044" y="4581"/>
                  </a:lnTo>
                  <a:lnTo>
                    <a:pt x="2030" y="7340"/>
                  </a:lnTo>
                  <a:lnTo>
                    <a:pt x="0" y="9509"/>
                  </a:lnTo>
                  <a:cubicBezTo>
                    <a:pt x="160" y="10395"/>
                    <a:pt x="581" y="11243"/>
                    <a:pt x="1232" y="11988"/>
                  </a:cubicBezTo>
                  <a:cubicBezTo>
                    <a:pt x="2023" y="12895"/>
                    <a:pt x="3124" y="13621"/>
                    <a:pt x="4418" y="14087"/>
                  </a:cubicBezTo>
                  <a:lnTo>
                    <a:pt x="5236" y="15133"/>
                  </a:lnTo>
                  <a:lnTo>
                    <a:pt x="7310" y="17966"/>
                  </a:lnTo>
                  <a:lnTo>
                    <a:pt x="8555" y="18981"/>
                  </a:lnTo>
                  <a:lnTo>
                    <a:pt x="11367" y="20065"/>
                  </a:lnTo>
                  <a:lnTo>
                    <a:pt x="14409" y="20170"/>
                  </a:lnTo>
                  <a:lnTo>
                    <a:pt x="16201" y="20275"/>
                  </a:lnTo>
                  <a:lnTo>
                    <a:pt x="18690" y="21010"/>
                  </a:lnTo>
                  <a:lnTo>
                    <a:pt x="21410" y="21600"/>
                  </a:lnTo>
                  <a:lnTo>
                    <a:pt x="21600" y="19654"/>
                  </a:lnTo>
                  <a:lnTo>
                    <a:pt x="20730" y="18749"/>
                  </a:lnTo>
                  <a:lnTo>
                    <a:pt x="19543" y="17743"/>
                  </a:lnTo>
                  <a:lnTo>
                    <a:pt x="15953" y="18233"/>
                  </a:lnTo>
                  <a:cubicBezTo>
                    <a:pt x="15448" y="18445"/>
                    <a:pt x="14862" y="18519"/>
                    <a:pt x="14294" y="18443"/>
                  </a:cubicBezTo>
                  <a:cubicBezTo>
                    <a:pt x="13070" y="18278"/>
                    <a:pt x="12157" y="17495"/>
                    <a:pt x="12093" y="16553"/>
                  </a:cubicBezTo>
                  <a:lnTo>
                    <a:pt x="9471" y="15298"/>
                  </a:lnTo>
                  <a:lnTo>
                    <a:pt x="8693" y="14218"/>
                  </a:lnTo>
                  <a:lnTo>
                    <a:pt x="8601" y="12924"/>
                  </a:lnTo>
                  <a:cubicBezTo>
                    <a:pt x="9108" y="12238"/>
                    <a:pt x="9615" y="11551"/>
                    <a:pt x="10122" y="10864"/>
                  </a:cubicBezTo>
                  <a:cubicBezTo>
                    <a:pt x="10531" y="10309"/>
                    <a:pt x="10940" y="9754"/>
                    <a:pt x="11349" y="9198"/>
                  </a:cubicBezTo>
                  <a:lnTo>
                    <a:pt x="11759" y="7593"/>
                  </a:lnTo>
                  <a:lnTo>
                    <a:pt x="9915" y="5459"/>
                  </a:lnTo>
                  <a:lnTo>
                    <a:pt x="8117" y="3260"/>
                  </a:lnTo>
                  <a:lnTo>
                    <a:pt x="6205" y="214"/>
                  </a:lnTo>
                  <a:close/>
                </a:path>
              </a:pathLst>
            </a:custGeom>
            <a:grpFill/>
            <a:ln w="25400" cap="flat">
              <a:noFill/>
              <a:prstDash val="solid"/>
              <a:miter lim="400000"/>
            </a:ln>
            <a:effectLst/>
          </p:spPr>
          <p:txBody>
            <a:bodyPr anchor="ctr"/>
            <a:lstStyle/>
            <a:p>
              <a:pPr algn="ctr"/>
              <a:endParaRPr/>
            </a:p>
          </p:txBody>
        </p:sp>
        <p:sp>
          <p:nvSpPr>
            <p:cNvPr id="89" name="任意多边形: 形状 88">
              <a:extLst>
                <a:ext uri="{FF2B5EF4-FFF2-40B4-BE49-F238E27FC236}">
                  <a16:creationId xmlns:a16="http://schemas.microsoft.com/office/drawing/2014/main" id="{F937597D-ACE6-4EF0-BED1-BC9EF7EA86CB}"/>
                </a:ext>
              </a:extLst>
            </p:cNvPr>
            <p:cNvSpPr/>
            <p:nvPr/>
          </p:nvSpPr>
          <p:spPr>
            <a:xfrm>
              <a:off x="9453604" y="3685864"/>
              <a:ext cx="89307" cy="96995"/>
            </a:xfrm>
            <a:custGeom>
              <a:avLst/>
              <a:gdLst/>
              <a:ahLst/>
              <a:cxnLst>
                <a:cxn ang="0">
                  <a:pos x="wd2" y="hd2"/>
                </a:cxn>
                <a:cxn ang="5400000">
                  <a:pos x="wd2" y="hd2"/>
                </a:cxn>
                <a:cxn ang="10800000">
                  <a:pos x="wd2" y="hd2"/>
                </a:cxn>
                <a:cxn ang="16200000">
                  <a:pos x="wd2" y="hd2"/>
                </a:cxn>
              </a:cxnLst>
              <a:rect l="0" t="0" r="r" b="b"/>
              <a:pathLst>
                <a:path w="20505" h="19908" extrusionOk="0">
                  <a:moveTo>
                    <a:pt x="17580" y="0"/>
                  </a:moveTo>
                  <a:lnTo>
                    <a:pt x="14738" y="1728"/>
                  </a:lnTo>
                  <a:lnTo>
                    <a:pt x="10679" y="5098"/>
                  </a:lnTo>
                  <a:lnTo>
                    <a:pt x="8216" y="7569"/>
                  </a:lnTo>
                  <a:lnTo>
                    <a:pt x="8222" y="12060"/>
                  </a:lnTo>
                  <a:lnTo>
                    <a:pt x="5046" y="14125"/>
                  </a:lnTo>
                  <a:cubicBezTo>
                    <a:pt x="3326" y="12967"/>
                    <a:pt x="832" y="13677"/>
                    <a:pt x="191" y="15507"/>
                  </a:cubicBezTo>
                  <a:cubicBezTo>
                    <a:pt x="-1095" y="19179"/>
                    <a:pt x="4427" y="21600"/>
                    <a:pt x="6929" y="18462"/>
                  </a:cubicBezTo>
                  <a:lnTo>
                    <a:pt x="10638" y="16258"/>
                  </a:lnTo>
                  <a:lnTo>
                    <a:pt x="12739" y="13426"/>
                  </a:lnTo>
                  <a:lnTo>
                    <a:pt x="14530" y="11490"/>
                  </a:lnTo>
                  <a:lnTo>
                    <a:pt x="18733" y="6592"/>
                  </a:lnTo>
                  <a:lnTo>
                    <a:pt x="20505" y="1980"/>
                  </a:lnTo>
                  <a:lnTo>
                    <a:pt x="17580" y="0"/>
                  </a:lnTo>
                  <a:close/>
                </a:path>
              </a:pathLst>
            </a:custGeom>
            <a:grpFill/>
            <a:ln w="25400" cap="flat">
              <a:noFill/>
              <a:prstDash val="solid"/>
              <a:miter lim="400000"/>
            </a:ln>
            <a:effectLst/>
          </p:spPr>
          <p:txBody>
            <a:bodyPr anchor="ctr"/>
            <a:lstStyle/>
            <a:p>
              <a:pPr algn="ctr"/>
              <a:endParaRPr/>
            </a:p>
          </p:txBody>
        </p:sp>
        <p:sp>
          <p:nvSpPr>
            <p:cNvPr id="90" name="任意多边形: 形状 89">
              <a:extLst>
                <a:ext uri="{FF2B5EF4-FFF2-40B4-BE49-F238E27FC236}">
                  <a16:creationId xmlns:a16="http://schemas.microsoft.com/office/drawing/2014/main" id="{F8F33145-CF49-4CB7-980F-08629D04E5CB}"/>
                </a:ext>
              </a:extLst>
            </p:cNvPr>
            <p:cNvSpPr/>
            <p:nvPr/>
          </p:nvSpPr>
          <p:spPr>
            <a:xfrm>
              <a:off x="9553899" y="3604386"/>
              <a:ext cx="41967" cy="41633"/>
            </a:xfrm>
            <a:custGeom>
              <a:avLst/>
              <a:gdLst/>
              <a:ahLst/>
              <a:cxnLst>
                <a:cxn ang="0">
                  <a:pos x="wd2" y="hd2"/>
                </a:cxn>
                <a:cxn ang="5400000">
                  <a:pos x="wd2" y="hd2"/>
                </a:cxn>
                <a:cxn ang="10800000">
                  <a:pos x="wd2" y="hd2"/>
                </a:cxn>
                <a:cxn ang="16200000">
                  <a:pos x="wd2" y="hd2"/>
                </a:cxn>
              </a:cxnLst>
              <a:rect l="0" t="0" r="r" b="b"/>
              <a:pathLst>
                <a:path w="21600" h="21600" extrusionOk="0">
                  <a:moveTo>
                    <a:pt x="5824" y="0"/>
                  </a:moveTo>
                  <a:lnTo>
                    <a:pt x="0" y="3997"/>
                  </a:lnTo>
                  <a:lnTo>
                    <a:pt x="7260" y="15507"/>
                  </a:lnTo>
                  <a:lnTo>
                    <a:pt x="11327" y="21600"/>
                  </a:lnTo>
                  <a:lnTo>
                    <a:pt x="21600" y="21076"/>
                  </a:lnTo>
                  <a:lnTo>
                    <a:pt x="15668" y="7101"/>
                  </a:lnTo>
                  <a:lnTo>
                    <a:pt x="5824" y="0"/>
                  </a:lnTo>
                  <a:close/>
                </a:path>
              </a:pathLst>
            </a:custGeom>
            <a:grpFill/>
            <a:ln w="25400" cap="flat">
              <a:noFill/>
              <a:prstDash val="solid"/>
              <a:miter lim="400000"/>
            </a:ln>
            <a:effectLst/>
          </p:spPr>
          <p:txBody>
            <a:bodyPr anchor="ctr"/>
            <a:lstStyle/>
            <a:p>
              <a:pPr algn="ctr"/>
              <a:endParaRPr/>
            </a:p>
          </p:txBody>
        </p:sp>
        <p:sp>
          <p:nvSpPr>
            <p:cNvPr id="91" name="任意多边形: 形状 90">
              <a:extLst>
                <a:ext uri="{FF2B5EF4-FFF2-40B4-BE49-F238E27FC236}">
                  <a16:creationId xmlns:a16="http://schemas.microsoft.com/office/drawing/2014/main" id="{4556B699-0766-4905-8D12-7FA1512FF136}"/>
                </a:ext>
              </a:extLst>
            </p:cNvPr>
            <p:cNvSpPr/>
            <p:nvPr/>
          </p:nvSpPr>
          <p:spPr>
            <a:xfrm>
              <a:off x="9690104" y="3635830"/>
              <a:ext cx="70568" cy="49078"/>
            </a:xfrm>
            <a:custGeom>
              <a:avLst/>
              <a:gdLst/>
              <a:ahLst/>
              <a:cxnLst>
                <a:cxn ang="0">
                  <a:pos x="wd2" y="hd2"/>
                </a:cxn>
                <a:cxn ang="5400000">
                  <a:pos x="wd2" y="hd2"/>
                </a:cxn>
                <a:cxn ang="10800000">
                  <a:pos x="wd2" y="hd2"/>
                </a:cxn>
                <a:cxn ang="16200000">
                  <a:pos x="wd2" y="hd2"/>
                </a:cxn>
              </a:cxnLst>
              <a:rect l="0" t="0" r="r" b="b"/>
              <a:pathLst>
                <a:path w="21600" h="21600" extrusionOk="0">
                  <a:moveTo>
                    <a:pt x="3112" y="90"/>
                  </a:moveTo>
                  <a:lnTo>
                    <a:pt x="0" y="1424"/>
                  </a:lnTo>
                  <a:lnTo>
                    <a:pt x="3236" y="8466"/>
                  </a:lnTo>
                  <a:lnTo>
                    <a:pt x="8121" y="17785"/>
                  </a:lnTo>
                  <a:lnTo>
                    <a:pt x="13518" y="21155"/>
                  </a:lnTo>
                  <a:lnTo>
                    <a:pt x="21600" y="21600"/>
                  </a:lnTo>
                  <a:lnTo>
                    <a:pt x="17669" y="11727"/>
                  </a:lnTo>
                  <a:lnTo>
                    <a:pt x="14063" y="7299"/>
                  </a:lnTo>
                  <a:lnTo>
                    <a:pt x="10768" y="6411"/>
                  </a:lnTo>
                  <a:lnTo>
                    <a:pt x="7589" y="0"/>
                  </a:lnTo>
                  <a:lnTo>
                    <a:pt x="3112" y="90"/>
                  </a:lnTo>
                  <a:close/>
                </a:path>
              </a:pathLst>
            </a:custGeom>
            <a:grpFill/>
            <a:ln w="25400" cap="flat">
              <a:noFill/>
              <a:prstDash val="solid"/>
              <a:miter lim="400000"/>
            </a:ln>
            <a:effectLst/>
          </p:spPr>
          <p:txBody>
            <a:bodyPr anchor="ctr"/>
            <a:lstStyle/>
            <a:p>
              <a:pPr algn="ctr"/>
              <a:endParaRPr/>
            </a:p>
          </p:txBody>
        </p:sp>
        <p:sp>
          <p:nvSpPr>
            <p:cNvPr id="92" name="任意多边形: 形状 91">
              <a:extLst>
                <a:ext uri="{FF2B5EF4-FFF2-40B4-BE49-F238E27FC236}">
                  <a16:creationId xmlns:a16="http://schemas.microsoft.com/office/drawing/2014/main" id="{AA484481-E60D-48ED-939B-24CEB35C2DC6}"/>
                </a:ext>
              </a:extLst>
            </p:cNvPr>
            <p:cNvSpPr/>
            <p:nvPr/>
          </p:nvSpPr>
          <p:spPr>
            <a:xfrm>
              <a:off x="9646111" y="3565738"/>
              <a:ext cx="19467" cy="25344"/>
            </a:xfrm>
            <a:custGeom>
              <a:avLst/>
              <a:gdLst/>
              <a:ahLst/>
              <a:cxnLst>
                <a:cxn ang="0">
                  <a:pos x="wd2" y="hd2"/>
                </a:cxn>
                <a:cxn ang="5400000">
                  <a:pos x="wd2" y="hd2"/>
                </a:cxn>
                <a:cxn ang="10800000">
                  <a:pos x="wd2" y="hd2"/>
                </a:cxn>
                <a:cxn ang="16200000">
                  <a:pos x="wd2" y="hd2"/>
                </a:cxn>
              </a:cxnLst>
              <a:rect l="0" t="0" r="r" b="b"/>
              <a:pathLst>
                <a:path w="21600" h="21600" extrusionOk="0">
                  <a:moveTo>
                    <a:pt x="20404" y="4234"/>
                  </a:moveTo>
                  <a:lnTo>
                    <a:pt x="5083" y="0"/>
                  </a:lnTo>
                  <a:lnTo>
                    <a:pt x="0" y="11342"/>
                  </a:lnTo>
                  <a:lnTo>
                    <a:pt x="21600" y="21600"/>
                  </a:lnTo>
                  <a:lnTo>
                    <a:pt x="20404" y="4234"/>
                  </a:lnTo>
                  <a:close/>
                </a:path>
              </a:pathLst>
            </a:custGeom>
            <a:grpFill/>
            <a:ln w="25400" cap="flat">
              <a:noFill/>
              <a:prstDash val="solid"/>
              <a:miter lim="400000"/>
            </a:ln>
            <a:effectLst/>
          </p:spPr>
          <p:txBody>
            <a:bodyPr anchor="ctr"/>
            <a:lstStyle/>
            <a:p>
              <a:pPr algn="ctr"/>
              <a:endParaRPr/>
            </a:p>
          </p:txBody>
        </p:sp>
        <p:sp>
          <p:nvSpPr>
            <p:cNvPr id="93" name="任意多边形: 形状 92">
              <a:extLst>
                <a:ext uri="{FF2B5EF4-FFF2-40B4-BE49-F238E27FC236}">
                  <a16:creationId xmlns:a16="http://schemas.microsoft.com/office/drawing/2014/main" id="{8C824E66-DB24-462C-AC85-99DAD3A860C7}"/>
                </a:ext>
              </a:extLst>
            </p:cNvPr>
            <p:cNvSpPr/>
            <p:nvPr/>
          </p:nvSpPr>
          <p:spPr>
            <a:xfrm>
              <a:off x="9594891" y="3654803"/>
              <a:ext cx="47691" cy="48989"/>
            </a:xfrm>
            <a:custGeom>
              <a:avLst/>
              <a:gdLst/>
              <a:ahLst/>
              <a:cxnLst>
                <a:cxn ang="0">
                  <a:pos x="wd2" y="hd2"/>
                </a:cxn>
                <a:cxn ang="5400000">
                  <a:pos x="wd2" y="hd2"/>
                </a:cxn>
                <a:cxn ang="10800000">
                  <a:pos x="wd2" y="hd2"/>
                </a:cxn>
                <a:cxn ang="16200000">
                  <a:pos x="wd2" y="hd2"/>
                </a:cxn>
              </a:cxnLst>
              <a:rect l="0" t="0" r="r" b="b"/>
              <a:pathLst>
                <a:path w="21600" h="21600" extrusionOk="0">
                  <a:moveTo>
                    <a:pt x="9899" y="3302"/>
                  </a:moveTo>
                  <a:cubicBezTo>
                    <a:pt x="9224" y="3989"/>
                    <a:pt x="8549" y="4676"/>
                    <a:pt x="7875" y="5363"/>
                  </a:cubicBezTo>
                  <a:cubicBezTo>
                    <a:pt x="7200" y="6049"/>
                    <a:pt x="6525" y="6736"/>
                    <a:pt x="5850" y="7423"/>
                  </a:cubicBezTo>
                  <a:lnTo>
                    <a:pt x="0" y="13749"/>
                  </a:lnTo>
                  <a:lnTo>
                    <a:pt x="5955" y="20264"/>
                  </a:lnTo>
                  <a:lnTo>
                    <a:pt x="13153" y="21600"/>
                  </a:lnTo>
                  <a:lnTo>
                    <a:pt x="16685" y="18073"/>
                  </a:lnTo>
                  <a:lnTo>
                    <a:pt x="16244" y="11856"/>
                  </a:lnTo>
                  <a:lnTo>
                    <a:pt x="21600" y="2243"/>
                  </a:lnTo>
                  <a:lnTo>
                    <a:pt x="15783" y="0"/>
                  </a:lnTo>
                  <a:lnTo>
                    <a:pt x="9899" y="3302"/>
                  </a:lnTo>
                  <a:close/>
                </a:path>
              </a:pathLst>
            </a:custGeom>
            <a:grpFill/>
            <a:ln w="25400" cap="flat">
              <a:noFill/>
              <a:prstDash val="solid"/>
              <a:miter lim="400000"/>
            </a:ln>
            <a:effectLst/>
          </p:spPr>
          <p:txBody>
            <a:bodyPr anchor="ctr"/>
            <a:lstStyle/>
            <a:p>
              <a:pPr algn="ctr"/>
              <a:endParaRPr/>
            </a:p>
          </p:txBody>
        </p:sp>
        <p:sp>
          <p:nvSpPr>
            <p:cNvPr id="94" name="任意多边形: 形状 93">
              <a:extLst>
                <a:ext uri="{FF2B5EF4-FFF2-40B4-BE49-F238E27FC236}">
                  <a16:creationId xmlns:a16="http://schemas.microsoft.com/office/drawing/2014/main" id="{C9869A27-28A8-4354-B644-8006F39C362D}"/>
                </a:ext>
              </a:extLst>
            </p:cNvPr>
            <p:cNvSpPr/>
            <p:nvPr/>
          </p:nvSpPr>
          <p:spPr>
            <a:xfrm>
              <a:off x="9632393" y="3706816"/>
              <a:ext cx="37284" cy="54904"/>
            </a:xfrm>
            <a:custGeom>
              <a:avLst/>
              <a:gdLst/>
              <a:ahLst/>
              <a:cxnLst>
                <a:cxn ang="0">
                  <a:pos x="wd2" y="hd2"/>
                </a:cxn>
                <a:cxn ang="5400000">
                  <a:pos x="wd2" y="hd2"/>
                </a:cxn>
                <a:cxn ang="10800000">
                  <a:pos x="wd2" y="hd2"/>
                </a:cxn>
                <a:cxn ang="16200000">
                  <a:pos x="wd2" y="hd2"/>
                </a:cxn>
              </a:cxnLst>
              <a:rect l="0" t="0" r="r" b="b"/>
              <a:pathLst>
                <a:path w="21600" h="21600" extrusionOk="0">
                  <a:moveTo>
                    <a:pt x="7580" y="0"/>
                  </a:moveTo>
                  <a:lnTo>
                    <a:pt x="5492" y="4637"/>
                  </a:lnTo>
                  <a:lnTo>
                    <a:pt x="0" y="9562"/>
                  </a:lnTo>
                  <a:lnTo>
                    <a:pt x="532" y="14978"/>
                  </a:lnTo>
                  <a:lnTo>
                    <a:pt x="5198" y="17362"/>
                  </a:lnTo>
                  <a:lnTo>
                    <a:pt x="8142" y="21600"/>
                  </a:lnTo>
                  <a:lnTo>
                    <a:pt x="17499" y="19994"/>
                  </a:lnTo>
                  <a:lnTo>
                    <a:pt x="17499" y="13520"/>
                  </a:lnTo>
                  <a:lnTo>
                    <a:pt x="21600" y="9579"/>
                  </a:lnTo>
                  <a:lnTo>
                    <a:pt x="19856" y="4413"/>
                  </a:lnTo>
                  <a:lnTo>
                    <a:pt x="14429" y="2161"/>
                  </a:lnTo>
                  <a:lnTo>
                    <a:pt x="7580" y="0"/>
                  </a:lnTo>
                  <a:close/>
                </a:path>
              </a:pathLst>
            </a:custGeom>
            <a:grpFill/>
            <a:ln w="25400" cap="flat">
              <a:noFill/>
              <a:prstDash val="solid"/>
              <a:miter lim="400000"/>
            </a:ln>
            <a:effectLst/>
          </p:spPr>
          <p:txBody>
            <a:bodyPr anchor="ctr"/>
            <a:lstStyle/>
            <a:p>
              <a:pPr algn="ctr"/>
              <a:endParaRPr/>
            </a:p>
          </p:txBody>
        </p:sp>
        <p:sp>
          <p:nvSpPr>
            <p:cNvPr id="95" name="任意多边形: 形状 94">
              <a:extLst>
                <a:ext uri="{FF2B5EF4-FFF2-40B4-BE49-F238E27FC236}">
                  <a16:creationId xmlns:a16="http://schemas.microsoft.com/office/drawing/2014/main" id="{6DC4E8F8-1F22-4868-9331-4011BA3949AE}"/>
                </a:ext>
              </a:extLst>
            </p:cNvPr>
            <p:cNvSpPr/>
            <p:nvPr/>
          </p:nvSpPr>
          <p:spPr>
            <a:xfrm>
              <a:off x="9681665" y="3678031"/>
              <a:ext cx="29941" cy="51005"/>
            </a:xfrm>
            <a:custGeom>
              <a:avLst/>
              <a:gdLst/>
              <a:ahLst/>
              <a:cxnLst>
                <a:cxn ang="0">
                  <a:pos x="wd2" y="hd2"/>
                </a:cxn>
                <a:cxn ang="5400000">
                  <a:pos x="wd2" y="hd2"/>
                </a:cxn>
                <a:cxn ang="10800000">
                  <a:pos x="wd2" y="hd2"/>
                </a:cxn>
                <a:cxn ang="16200000">
                  <a:pos x="wd2" y="hd2"/>
                </a:cxn>
              </a:cxnLst>
              <a:rect l="0" t="0" r="r" b="b"/>
              <a:pathLst>
                <a:path w="21600" h="21600" extrusionOk="0">
                  <a:moveTo>
                    <a:pt x="10374" y="2282"/>
                  </a:moveTo>
                  <a:lnTo>
                    <a:pt x="2301" y="0"/>
                  </a:lnTo>
                  <a:lnTo>
                    <a:pt x="0" y="4114"/>
                  </a:lnTo>
                  <a:lnTo>
                    <a:pt x="8942" y="8249"/>
                  </a:lnTo>
                  <a:lnTo>
                    <a:pt x="10410" y="16662"/>
                  </a:lnTo>
                  <a:lnTo>
                    <a:pt x="13285" y="21600"/>
                  </a:lnTo>
                  <a:lnTo>
                    <a:pt x="21600" y="19354"/>
                  </a:lnTo>
                  <a:lnTo>
                    <a:pt x="20132" y="10993"/>
                  </a:lnTo>
                  <a:lnTo>
                    <a:pt x="10374" y="2282"/>
                  </a:lnTo>
                  <a:close/>
                </a:path>
              </a:pathLst>
            </a:custGeom>
            <a:grpFill/>
            <a:ln w="25400" cap="flat">
              <a:noFill/>
              <a:prstDash val="solid"/>
              <a:miter lim="400000"/>
            </a:ln>
            <a:effectLst/>
          </p:spPr>
          <p:txBody>
            <a:bodyPr anchor="ctr"/>
            <a:lstStyle/>
            <a:p>
              <a:pPr algn="ctr"/>
              <a:endParaRPr/>
            </a:p>
          </p:txBody>
        </p:sp>
        <p:sp>
          <p:nvSpPr>
            <p:cNvPr id="96" name="任意多边形: 形状 95">
              <a:extLst>
                <a:ext uri="{FF2B5EF4-FFF2-40B4-BE49-F238E27FC236}">
                  <a16:creationId xmlns:a16="http://schemas.microsoft.com/office/drawing/2014/main" id="{26199CFD-938A-42E1-8123-5DCA484548FC}"/>
                </a:ext>
              </a:extLst>
            </p:cNvPr>
            <p:cNvSpPr/>
            <p:nvPr/>
          </p:nvSpPr>
          <p:spPr>
            <a:xfrm>
              <a:off x="9628583" y="3726518"/>
              <a:ext cx="162677" cy="158780"/>
            </a:xfrm>
            <a:custGeom>
              <a:avLst/>
              <a:gdLst/>
              <a:ahLst/>
              <a:cxnLst>
                <a:cxn ang="0">
                  <a:pos x="wd2" y="hd2"/>
                </a:cxn>
                <a:cxn ang="5400000">
                  <a:pos x="wd2" y="hd2"/>
                </a:cxn>
                <a:cxn ang="10800000">
                  <a:pos x="wd2" y="hd2"/>
                </a:cxn>
                <a:cxn ang="16200000">
                  <a:pos x="wd2" y="hd2"/>
                </a:cxn>
              </a:cxnLst>
              <a:rect l="0" t="0" r="r" b="b"/>
              <a:pathLst>
                <a:path w="21246" h="21600" extrusionOk="0">
                  <a:moveTo>
                    <a:pt x="15618" y="0"/>
                  </a:moveTo>
                  <a:lnTo>
                    <a:pt x="14068" y="137"/>
                  </a:lnTo>
                  <a:lnTo>
                    <a:pt x="13901" y="3471"/>
                  </a:lnTo>
                  <a:lnTo>
                    <a:pt x="11653" y="5499"/>
                  </a:lnTo>
                  <a:lnTo>
                    <a:pt x="9433" y="7154"/>
                  </a:lnTo>
                  <a:lnTo>
                    <a:pt x="8019" y="8935"/>
                  </a:lnTo>
                  <a:lnTo>
                    <a:pt x="6129" y="8803"/>
                  </a:lnTo>
                  <a:lnTo>
                    <a:pt x="4020" y="7291"/>
                  </a:lnTo>
                  <a:lnTo>
                    <a:pt x="1658" y="8253"/>
                  </a:lnTo>
                  <a:lnTo>
                    <a:pt x="1029" y="10864"/>
                  </a:lnTo>
                  <a:lnTo>
                    <a:pt x="0" y="12771"/>
                  </a:lnTo>
                  <a:lnTo>
                    <a:pt x="3621" y="12908"/>
                  </a:lnTo>
                  <a:lnTo>
                    <a:pt x="5425" y="10801"/>
                  </a:lnTo>
                  <a:lnTo>
                    <a:pt x="6970" y="11345"/>
                  </a:lnTo>
                  <a:lnTo>
                    <a:pt x="8696" y="13544"/>
                  </a:lnTo>
                  <a:lnTo>
                    <a:pt x="8696" y="16286"/>
                  </a:lnTo>
                  <a:lnTo>
                    <a:pt x="10584" y="19825"/>
                  </a:lnTo>
                  <a:lnTo>
                    <a:pt x="11691" y="21600"/>
                  </a:lnTo>
                  <a:lnTo>
                    <a:pt x="13329" y="20592"/>
                  </a:lnTo>
                  <a:lnTo>
                    <a:pt x="14785" y="19539"/>
                  </a:lnTo>
                  <a:lnTo>
                    <a:pt x="16955" y="20226"/>
                  </a:lnTo>
                  <a:lnTo>
                    <a:pt x="17088" y="18955"/>
                  </a:lnTo>
                  <a:lnTo>
                    <a:pt x="14658" y="17037"/>
                  </a:lnTo>
                  <a:lnTo>
                    <a:pt x="14525" y="14747"/>
                  </a:lnTo>
                  <a:lnTo>
                    <a:pt x="15986" y="13831"/>
                  </a:lnTo>
                  <a:lnTo>
                    <a:pt x="18372" y="14380"/>
                  </a:lnTo>
                  <a:lnTo>
                    <a:pt x="18632" y="17071"/>
                  </a:lnTo>
                  <a:cubicBezTo>
                    <a:pt x="19138" y="17458"/>
                    <a:pt x="19818" y="17494"/>
                    <a:pt x="20359" y="17163"/>
                  </a:cubicBezTo>
                  <a:cubicBezTo>
                    <a:pt x="21600" y="16403"/>
                    <a:pt x="21524" y="14520"/>
                    <a:pt x="20226" y="13871"/>
                  </a:cubicBezTo>
                  <a:cubicBezTo>
                    <a:pt x="19707" y="12622"/>
                    <a:pt x="19161" y="11385"/>
                    <a:pt x="18588" y="10161"/>
                  </a:cubicBezTo>
                  <a:cubicBezTo>
                    <a:pt x="18105" y="9128"/>
                    <a:pt x="17603" y="8105"/>
                    <a:pt x="17082" y="7092"/>
                  </a:cubicBezTo>
                  <a:lnTo>
                    <a:pt x="16551" y="3382"/>
                  </a:lnTo>
                  <a:lnTo>
                    <a:pt x="15618" y="0"/>
                  </a:lnTo>
                  <a:close/>
                </a:path>
              </a:pathLst>
            </a:custGeom>
            <a:grpFill/>
            <a:ln w="25400" cap="flat">
              <a:noFill/>
              <a:prstDash val="solid"/>
              <a:miter lim="400000"/>
            </a:ln>
            <a:effectLst/>
          </p:spPr>
          <p:txBody>
            <a:bodyPr anchor="ctr"/>
            <a:lstStyle/>
            <a:p>
              <a:pPr algn="ctr"/>
              <a:endParaRPr/>
            </a:p>
          </p:txBody>
        </p:sp>
        <p:sp>
          <p:nvSpPr>
            <p:cNvPr id="97" name="任意多边形: 形状 96">
              <a:extLst>
                <a:ext uri="{FF2B5EF4-FFF2-40B4-BE49-F238E27FC236}">
                  <a16:creationId xmlns:a16="http://schemas.microsoft.com/office/drawing/2014/main" id="{E5EEEA12-3284-4E95-83A5-B8F25305A9DC}"/>
                </a:ext>
              </a:extLst>
            </p:cNvPr>
            <p:cNvSpPr/>
            <p:nvPr/>
          </p:nvSpPr>
          <p:spPr>
            <a:xfrm>
              <a:off x="9187751" y="3843193"/>
              <a:ext cx="329761" cy="381201"/>
            </a:xfrm>
            <a:custGeom>
              <a:avLst/>
              <a:gdLst/>
              <a:ahLst/>
              <a:cxnLst>
                <a:cxn ang="0">
                  <a:pos x="wd2" y="hd2"/>
                </a:cxn>
                <a:cxn ang="5400000">
                  <a:pos x="wd2" y="hd2"/>
                </a:cxn>
                <a:cxn ang="10800000">
                  <a:pos x="wd2" y="hd2"/>
                </a:cxn>
                <a:cxn ang="16200000">
                  <a:pos x="wd2" y="hd2"/>
                </a:cxn>
              </a:cxnLst>
              <a:rect l="0" t="0" r="r" b="b"/>
              <a:pathLst>
                <a:path w="21600" h="21600" extrusionOk="0">
                  <a:moveTo>
                    <a:pt x="17693" y="182"/>
                  </a:moveTo>
                  <a:lnTo>
                    <a:pt x="19070" y="0"/>
                  </a:lnTo>
                  <a:lnTo>
                    <a:pt x="20340" y="1335"/>
                  </a:lnTo>
                  <a:lnTo>
                    <a:pt x="21003" y="2362"/>
                  </a:lnTo>
                  <a:lnTo>
                    <a:pt x="21600" y="2990"/>
                  </a:lnTo>
                  <a:lnTo>
                    <a:pt x="21001" y="3848"/>
                  </a:lnTo>
                  <a:lnTo>
                    <a:pt x="20512" y="4459"/>
                  </a:lnTo>
                  <a:lnTo>
                    <a:pt x="19915" y="5222"/>
                  </a:lnTo>
                  <a:lnTo>
                    <a:pt x="19382" y="6290"/>
                  </a:lnTo>
                  <a:lnTo>
                    <a:pt x="19382" y="7432"/>
                  </a:lnTo>
                  <a:lnTo>
                    <a:pt x="19626" y="8233"/>
                  </a:lnTo>
                  <a:lnTo>
                    <a:pt x="20490" y="9318"/>
                  </a:lnTo>
                  <a:lnTo>
                    <a:pt x="21464" y="10423"/>
                  </a:lnTo>
                  <a:lnTo>
                    <a:pt x="21531" y="12044"/>
                  </a:lnTo>
                  <a:lnTo>
                    <a:pt x="19671" y="12598"/>
                  </a:lnTo>
                  <a:lnTo>
                    <a:pt x="19271" y="13509"/>
                  </a:lnTo>
                  <a:lnTo>
                    <a:pt x="19427" y="14768"/>
                  </a:lnTo>
                  <a:lnTo>
                    <a:pt x="18783" y="15910"/>
                  </a:lnTo>
                  <a:lnTo>
                    <a:pt x="18030" y="16900"/>
                  </a:lnTo>
                  <a:lnTo>
                    <a:pt x="16831" y="17925"/>
                  </a:lnTo>
                  <a:lnTo>
                    <a:pt x="16378" y="19125"/>
                  </a:lnTo>
                  <a:lnTo>
                    <a:pt x="15584" y="20935"/>
                  </a:lnTo>
                  <a:lnTo>
                    <a:pt x="14482" y="21600"/>
                  </a:lnTo>
                  <a:lnTo>
                    <a:pt x="13585" y="21028"/>
                  </a:lnTo>
                  <a:lnTo>
                    <a:pt x="12212" y="20589"/>
                  </a:lnTo>
                  <a:lnTo>
                    <a:pt x="11498" y="20436"/>
                  </a:lnTo>
                  <a:lnTo>
                    <a:pt x="10252" y="20665"/>
                  </a:lnTo>
                  <a:lnTo>
                    <a:pt x="9540" y="20665"/>
                  </a:lnTo>
                  <a:lnTo>
                    <a:pt x="7603" y="20436"/>
                  </a:lnTo>
                  <a:lnTo>
                    <a:pt x="6274" y="20172"/>
                  </a:lnTo>
                  <a:lnTo>
                    <a:pt x="4280" y="19885"/>
                  </a:lnTo>
                  <a:lnTo>
                    <a:pt x="3374" y="19375"/>
                  </a:lnTo>
                  <a:lnTo>
                    <a:pt x="2783" y="17734"/>
                  </a:lnTo>
                  <a:lnTo>
                    <a:pt x="1530" y="16227"/>
                  </a:lnTo>
                  <a:cubicBezTo>
                    <a:pt x="1300" y="15735"/>
                    <a:pt x="1078" y="15241"/>
                    <a:pt x="863" y="14744"/>
                  </a:cubicBezTo>
                  <a:cubicBezTo>
                    <a:pt x="560" y="14044"/>
                    <a:pt x="273" y="13340"/>
                    <a:pt x="0" y="12631"/>
                  </a:cubicBezTo>
                  <a:lnTo>
                    <a:pt x="197" y="11603"/>
                  </a:lnTo>
                  <a:lnTo>
                    <a:pt x="1259" y="10406"/>
                  </a:lnTo>
                  <a:lnTo>
                    <a:pt x="2436" y="9948"/>
                  </a:lnTo>
                  <a:lnTo>
                    <a:pt x="2902" y="10864"/>
                  </a:lnTo>
                  <a:lnTo>
                    <a:pt x="3946" y="11529"/>
                  </a:lnTo>
                  <a:lnTo>
                    <a:pt x="4323" y="10976"/>
                  </a:lnTo>
                  <a:lnTo>
                    <a:pt x="4723" y="9946"/>
                  </a:lnTo>
                  <a:lnTo>
                    <a:pt x="5431" y="9223"/>
                  </a:lnTo>
                  <a:lnTo>
                    <a:pt x="6230" y="8765"/>
                  </a:lnTo>
                  <a:lnTo>
                    <a:pt x="7338" y="8307"/>
                  </a:lnTo>
                  <a:lnTo>
                    <a:pt x="8604" y="7735"/>
                  </a:lnTo>
                  <a:lnTo>
                    <a:pt x="9378" y="7184"/>
                  </a:lnTo>
                  <a:lnTo>
                    <a:pt x="10242" y="5586"/>
                  </a:lnTo>
                  <a:lnTo>
                    <a:pt x="10927" y="5033"/>
                  </a:lnTo>
                  <a:lnTo>
                    <a:pt x="11838" y="4480"/>
                  </a:lnTo>
                  <a:lnTo>
                    <a:pt x="12570" y="4251"/>
                  </a:lnTo>
                  <a:lnTo>
                    <a:pt x="13392" y="4041"/>
                  </a:lnTo>
                  <a:lnTo>
                    <a:pt x="14386" y="3302"/>
                  </a:lnTo>
                  <a:lnTo>
                    <a:pt x="15319" y="2405"/>
                  </a:lnTo>
                  <a:lnTo>
                    <a:pt x="16229" y="1451"/>
                  </a:lnTo>
                  <a:lnTo>
                    <a:pt x="17693" y="182"/>
                  </a:lnTo>
                  <a:close/>
                </a:path>
              </a:pathLst>
            </a:custGeom>
            <a:grpFill/>
            <a:ln w="25400" cap="flat">
              <a:noFill/>
              <a:prstDash val="solid"/>
              <a:miter lim="400000"/>
            </a:ln>
            <a:effectLst/>
          </p:spPr>
          <p:txBody>
            <a:bodyPr anchor="ctr"/>
            <a:lstStyle/>
            <a:p>
              <a:pPr algn="ctr"/>
              <a:endParaRPr/>
            </a:p>
          </p:txBody>
        </p:sp>
        <p:sp>
          <p:nvSpPr>
            <p:cNvPr id="98" name="任意多边形: 形状 97">
              <a:extLst>
                <a:ext uri="{FF2B5EF4-FFF2-40B4-BE49-F238E27FC236}">
                  <a16:creationId xmlns:a16="http://schemas.microsoft.com/office/drawing/2014/main" id="{4CFE4D29-D831-47E6-9B55-4818AC8FAF64}"/>
                </a:ext>
              </a:extLst>
            </p:cNvPr>
            <p:cNvSpPr/>
            <p:nvPr/>
          </p:nvSpPr>
          <p:spPr>
            <a:xfrm>
              <a:off x="9518950" y="4026819"/>
              <a:ext cx="221080" cy="264412"/>
            </a:xfrm>
            <a:custGeom>
              <a:avLst/>
              <a:gdLst/>
              <a:ahLst/>
              <a:cxnLst>
                <a:cxn ang="0">
                  <a:pos x="wd2" y="hd2"/>
                </a:cxn>
                <a:cxn ang="5400000">
                  <a:pos x="wd2" y="hd2"/>
                </a:cxn>
                <a:cxn ang="10800000">
                  <a:pos x="wd2" y="hd2"/>
                </a:cxn>
                <a:cxn ang="16200000">
                  <a:pos x="wd2" y="hd2"/>
                </a:cxn>
              </a:cxnLst>
              <a:rect l="0" t="0" r="r" b="b"/>
              <a:pathLst>
                <a:path w="21600" h="21600" extrusionOk="0">
                  <a:moveTo>
                    <a:pt x="21600" y="10"/>
                  </a:moveTo>
                  <a:lnTo>
                    <a:pt x="19302" y="0"/>
                  </a:lnTo>
                  <a:lnTo>
                    <a:pt x="18507" y="1508"/>
                  </a:lnTo>
                  <a:lnTo>
                    <a:pt x="16888" y="2495"/>
                  </a:lnTo>
                  <a:lnTo>
                    <a:pt x="15588" y="2660"/>
                  </a:lnTo>
                  <a:lnTo>
                    <a:pt x="14223" y="1866"/>
                  </a:lnTo>
                  <a:lnTo>
                    <a:pt x="11000" y="1783"/>
                  </a:lnTo>
                  <a:lnTo>
                    <a:pt x="9523" y="1673"/>
                  </a:lnTo>
                  <a:lnTo>
                    <a:pt x="7078" y="1838"/>
                  </a:lnTo>
                  <a:lnTo>
                    <a:pt x="3910" y="2828"/>
                  </a:lnTo>
                  <a:lnTo>
                    <a:pt x="3328" y="4063"/>
                  </a:lnTo>
                  <a:lnTo>
                    <a:pt x="3249" y="6070"/>
                  </a:lnTo>
                  <a:lnTo>
                    <a:pt x="3252" y="8298"/>
                  </a:lnTo>
                  <a:lnTo>
                    <a:pt x="3450" y="9618"/>
                  </a:lnTo>
                  <a:lnTo>
                    <a:pt x="3152" y="10719"/>
                  </a:lnTo>
                  <a:lnTo>
                    <a:pt x="1267" y="12420"/>
                  </a:lnTo>
                  <a:lnTo>
                    <a:pt x="0" y="14236"/>
                  </a:lnTo>
                  <a:lnTo>
                    <a:pt x="998" y="16436"/>
                  </a:lnTo>
                  <a:lnTo>
                    <a:pt x="1891" y="17340"/>
                  </a:lnTo>
                  <a:lnTo>
                    <a:pt x="2289" y="18739"/>
                  </a:lnTo>
                  <a:lnTo>
                    <a:pt x="1593" y="20390"/>
                  </a:lnTo>
                  <a:lnTo>
                    <a:pt x="2388" y="21600"/>
                  </a:lnTo>
                  <a:lnTo>
                    <a:pt x="4442" y="21352"/>
                  </a:lnTo>
                  <a:lnTo>
                    <a:pt x="5237" y="19733"/>
                  </a:lnTo>
                  <a:lnTo>
                    <a:pt x="4342" y="17643"/>
                  </a:lnTo>
                  <a:lnTo>
                    <a:pt x="3945" y="16161"/>
                  </a:lnTo>
                  <a:cubicBezTo>
                    <a:pt x="4074" y="15650"/>
                    <a:pt x="4347" y="15172"/>
                    <a:pt x="4740" y="14765"/>
                  </a:cubicBezTo>
                  <a:cubicBezTo>
                    <a:pt x="5266" y="14220"/>
                    <a:pt x="5984" y="13826"/>
                    <a:pt x="6793" y="13637"/>
                  </a:cubicBezTo>
                  <a:lnTo>
                    <a:pt x="8040" y="13310"/>
                  </a:lnTo>
                  <a:lnTo>
                    <a:pt x="8802" y="14576"/>
                  </a:lnTo>
                  <a:lnTo>
                    <a:pt x="8802" y="16635"/>
                  </a:lnTo>
                  <a:cubicBezTo>
                    <a:pt x="9210" y="17046"/>
                    <a:pt x="9677" y="17415"/>
                    <a:pt x="10193" y="17732"/>
                  </a:cubicBezTo>
                  <a:cubicBezTo>
                    <a:pt x="10742" y="18070"/>
                    <a:pt x="11342" y="18347"/>
                    <a:pt x="11978" y="18557"/>
                  </a:cubicBezTo>
                  <a:cubicBezTo>
                    <a:pt x="12325" y="18437"/>
                    <a:pt x="12624" y="18237"/>
                    <a:pt x="12839" y="17979"/>
                  </a:cubicBezTo>
                  <a:cubicBezTo>
                    <a:pt x="13328" y="17393"/>
                    <a:pt x="13328" y="16616"/>
                    <a:pt x="12839" y="16030"/>
                  </a:cubicBezTo>
                  <a:lnTo>
                    <a:pt x="12209" y="14548"/>
                  </a:lnTo>
                  <a:cubicBezTo>
                    <a:pt x="11711" y="14198"/>
                    <a:pt x="11335" y="13743"/>
                    <a:pt x="11120" y="13231"/>
                  </a:cubicBezTo>
                  <a:cubicBezTo>
                    <a:pt x="10817" y="12506"/>
                    <a:pt x="10852" y="11712"/>
                    <a:pt x="11220" y="11007"/>
                  </a:cubicBezTo>
                  <a:lnTo>
                    <a:pt x="12512" y="9934"/>
                  </a:lnTo>
                  <a:lnTo>
                    <a:pt x="14201" y="9109"/>
                  </a:lnTo>
                  <a:lnTo>
                    <a:pt x="15352" y="8700"/>
                  </a:lnTo>
                  <a:lnTo>
                    <a:pt x="14756" y="7572"/>
                  </a:lnTo>
                  <a:lnTo>
                    <a:pt x="12081" y="7903"/>
                  </a:lnTo>
                  <a:lnTo>
                    <a:pt x="8450" y="9109"/>
                  </a:lnTo>
                  <a:cubicBezTo>
                    <a:pt x="7962" y="9001"/>
                    <a:pt x="7496" y="8834"/>
                    <a:pt x="7067" y="8614"/>
                  </a:cubicBezTo>
                  <a:cubicBezTo>
                    <a:pt x="6290" y="8217"/>
                    <a:pt x="5653" y="7659"/>
                    <a:pt x="5216" y="6995"/>
                  </a:cubicBezTo>
                  <a:cubicBezTo>
                    <a:pt x="5085" y="6422"/>
                    <a:pt x="5085" y="5835"/>
                    <a:pt x="5216" y="5262"/>
                  </a:cubicBezTo>
                  <a:cubicBezTo>
                    <a:pt x="5343" y="4707"/>
                    <a:pt x="5600" y="4165"/>
                    <a:pt x="6106" y="3787"/>
                  </a:cubicBezTo>
                  <a:cubicBezTo>
                    <a:pt x="6720" y="3329"/>
                    <a:pt x="7565" y="3206"/>
                    <a:pt x="8388" y="3154"/>
                  </a:cubicBezTo>
                  <a:cubicBezTo>
                    <a:pt x="9337" y="3095"/>
                    <a:pt x="10291" y="3113"/>
                    <a:pt x="11236" y="3209"/>
                  </a:cubicBezTo>
                  <a:lnTo>
                    <a:pt x="12594" y="3347"/>
                  </a:lnTo>
                  <a:lnTo>
                    <a:pt x="13886" y="3787"/>
                  </a:lnTo>
                  <a:lnTo>
                    <a:pt x="15045" y="4475"/>
                  </a:lnTo>
                  <a:lnTo>
                    <a:pt x="16900" y="4695"/>
                  </a:lnTo>
                  <a:cubicBezTo>
                    <a:pt x="17689" y="4733"/>
                    <a:pt x="18466" y="4527"/>
                    <a:pt x="19083" y="4117"/>
                  </a:cubicBezTo>
                  <a:cubicBezTo>
                    <a:pt x="19535" y="3816"/>
                    <a:pt x="19878" y="3418"/>
                    <a:pt x="20076" y="2965"/>
                  </a:cubicBezTo>
                  <a:lnTo>
                    <a:pt x="21434" y="1511"/>
                  </a:lnTo>
                  <a:lnTo>
                    <a:pt x="21600" y="10"/>
                  </a:lnTo>
                  <a:close/>
                </a:path>
              </a:pathLst>
            </a:custGeom>
            <a:grpFill/>
            <a:ln w="25400" cap="flat">
              <a:noFill/>
              <a:prstDash val="solid"/>
              <a:miter lim="400000"/>
            </a:ln>
            <a:effectLst/>
          </p:spPr>
          <p:txBody>
            <a:bodyPr anchor="ctr"/>
            <a:lstStyle/>
            <a:p>
              <a:pPr algn="ctr"/>
              <a:endParaRPr/>
            </a:p>
          </p:txBody>
        </p:sp>
        <p:sp>
          <p:nvSpPr>
            <p:cNvPr id="99" name="任意多边形: 形状 98">
              <a:extLst>
                <a:ext uri="{FF2B5EF4-FFF2-40B4-BE49-F238E27FC236}">
                  <a16:creationId xmlns:a16="http://schemas.microsoft.com/office/drawing/2014/main" id="{DAF9F172-F88C-4A4D-8256-3235F7F68B1F}"/>
                </a:ext>
              </a:extLst>
            </p:cNvPr>
            <p:cNvSpPr/>
            <p:nvPr/>
          </p:nvSpPr>
          <p:spPr>
            <a:xfrm>
              <a:off x="9816350" y="3993819"/>
              <a:ext cx="41001" cy="103795"/>
            </a:xfrm>
            <a:custGeom>
              <a:avLst/>
              <a:gdLst/>
              <a:ahLst/>
              <a:cxnLst>
                <a:cxn ang="0">
                  <a:pos x="wd2" y="hd2"/>
                </a:cxn>
                <a:cxn ang="5400000">
                  <a:pos x="wd2" y="hd2"/>
                </a:cxn>
                <a:cxn ang="10800000">
                  <a:pos x="wd2" y="hd2"/>
                </a:cxn>
                <a:cxn ang="16200000">
                  <a:pos x="wd2" y="hd2"/>
                </a:cxn>
              </a:cxnLst>
              <a:rect l="0" t="0" r="r" b="b"/>
              <a:pathLst>
                <a:path w="21600" h="21600" extrusionOk="0">
                  <a:moveTo>
                    <a:pt x="17255" y="0"/>
                  </a:moveTo>
                  <a:lnTo>
                    <a:pt x="9754" y="981"/>
                  </a:lnTo>
                  <a:lnTo>
                    <a:pt x="6086" y="3566"/>
                  </a:lnTo>
                  <a:lnTo>
                    <a:pt x="1417" y="5861"/>
                  </a:lnTo>
                  <a:lnTo>
                    <a:pt x="4076" y="9434"/>
                  </a:lnTo>
                  <a:lnTo>
                    <a:pt x="6254" y="12097"/>
                  </a:lnTo>
                  <a:lnTo>
                    <a:pt x="3575" y="14050"/>
                  </a:lnTo>
                  <a:lnTo>
                    <a:pt x="383" y="15872"/>
                  </a:lnTo>
                  <a:lnTo>
                    <a:pt x="0" y="19016"/>
                  </a:lnTo>
                  <a:lnTo>
                    <a:pt x="9298" y="21600"/>
                  </a:lnTo>
                  <a:lnTo>
                    <a:pt x="16777" y="20549"/>
                  </a:lnTo>
                  <a:lnTo>
                    <a:pt x="17849" y="16774"/>
                  </a:lnTo>
                  <a:lnTo>
                    <a:pt x="17849" y="12999"/>
                  </a:lnTo>
                  <a:lnTo>
                    <a:pt x="14300" y="9426"/>
                  </a:lnTo>
                  <a:lnTo>
                    <a:pt x="11643" y="6290"/>
                  </a:lnTo>
                  <a:lnTo>
                    <a:pt x="13250" y="4118"/>
                  </a:lnTo>
                  <a:lnTo>
                    <a:pt x="21600" y="2454"/>
                  </a:lnTo>
                  <a:lnTo>
                    <a:pt x="17255" y="0"/>
                  </a:lnTo>
                  <a:close/>
                </a:path>
              </a:pathLst>
            </a:custGeom>
            <a:grpFill/>
            <a:ln w="25400" cap="flat">
              <a:noFill/>
              <a:prstDash val="solid"/>
              <a:miter lim="400000"/>
            </a:ln>
            <a:effectLst/>
          </p:spPr>
          <p:txBody>
            <a:bodyPr anchor="ctr"/>
            <a:lstStyle/>
            <a:p>
              <a:pPr algn="ctr"/>
              <a:endParaRPr/>
            </a:p>
          </p:txBody>
        </p:sp>
        <p:sp>
          <p:nvSpPr>
            <p:cNvPr id="100" name="任意多边形: 形状 99">
              <a:extLst>
                <a:ext uri="{FF2B5EF4-FFF2-40B4-BE49-F238E27FC236}">
                  <a16:creationId xmlns:a16="http://schemas.microsoft.com/office/drawing/2014/main" id="{B9D92D14-F2FA-4A6D-B875-533B63694B41}"/>
                </a:ext>
              </a:extLst>
            </p:cNvPr>
            <p:cNvSpPr/>
            <p:nvPr/>
          </p:nvSpPr>
          <p:spPr>
            <a:xfrm>
              <a:off x="9834437" y="4184237"/>
              <a:ext cx="82580" cy="37553"/>
            </a:xfrm>
            <a:custGeom>
              <a:avLst/>
              <a:gdLst/>
              <a:ahLst/>
              <a:cxnLst>
                <a:cxn ang="0">
                  <a:pos x="wd2" y="hd2"/>
                </a:cxn>
                <a:cxn ang="5400000">
                  <a:pos x="wd2" y="hd2"/>
                </a:cxn>
                <a:cxn ang="10800000">
                  <a:pos x="wd2" y="hd2"/>
                </a:cxn>
                <a:cxn ang="16200000">
                  <a:pos x="wd2" y="hd2"/>
                </a:cxn>
              </a:cxnLst>
              <a:rect l="0" t="0" r="r" b="b"/>
              <a:pathLst>
                <a:path w="21500" h="19363" extrusionOk="0">
                  <a:moveTo>
                    <a:pt x="5683" y="318"/>
                  </a:moveTo>
                  <a:lnTo>
                    <a:pt x="1027" y="1360"/>
                  </a:lnTo>
                  <a:lnTo>
                    <a:pt x="0" y="7059"/>
                  </a:lnTo>
                  <a:lnTo>
                    <a:pt x="2914" y="13850"/>
                  </a:lnTo>
                  <a:lnTo>
                    <a:pt x="8729" y="12808"/>
                  </a:lnTo>
                  <a:lnTo>
                    <a:pt x="9876" y="18864"/>
                  </a:lnTo>
                  <a:lnTo>
                    <a:pt x="14356" y="19363"/>
                  </a:lnTo>
                  <a:cubicBezTo>
                    <a:pt x="15680" y="17818"/>
                    <a:pt x="17000" y="16262"/>
                    <a:pt x="18317" y="14697"/>
                  </a:cubicBezTo>
                  <a:cubicBezTo>
                    <a:pt x="19936" y="12772"/>
                    <a:pt x="21600" y="10321"/>
                    <a:pt x="21495" y="6712"/>
                  </a:cubicBezTo>
                  <a:cubicBezTo>
                    <a:pt x="21234" y="-2237"/>
                    <a:pt x="14529" y="-2237"/>
                    <a:pt x="14268" y="6712"/>
                  </a:cubicBezTo>
                  <a:lnTo>
                    <a:pt x="10052" y="5498"/>
                  </a:lnTo>
                  <a:lnTo>
                    <a:pt x="5683" y="318"/>
                  </a:lnTo>
                  <a:close/>
                </a:path>
              </a:pathLst>
            </a:custGeom>
            <a:grpFill/>
            <a:ln w="25400" cap="flat">
              <a:noFill/>
              <a:prstDash val="solid"/>
              <a:miter lim="400000"/>
            </a:ln>
            <a:effectLst/>
          </p:spPr>
          <p:txBody>
            <a:bodyPr anchor="ctr"/>
            <a:lstStyle/>
            <a:p>
              <a:pPr algn="ctr"/>
              <a:endParaRPr/>
            </a:p>
          </p:txBody>
        </p:sp>
        <p:sp>
          <p:nvSpPr>
            <p:cNvPr id="101" name="任意多边形: 形状 100">
              <a:extLst>
                <a:ext uri="{FF2B5EF4-FFF2-40B4-BE49-F238E27FC236}">
                  <a16:creationId xmlns:a16="http://schemas.microsoft.com/office/drawing/2014/main" id="{93A48E2D-4929-4D24-8C31-404095F759D7}"/>
                </a:ext>
              </a:extLst>
            </p:cNvPr>
            <p:cNvSpPr/>
            <p:nvPr/>
          </p:nvSpPr>
          <p:spPr>
            <a:xfrm>
              <a:off x="9664278" y="4387494"/>
              <a:ext cx="133525" cy="80961"/>
            </a:xfrm>
            <a:custGeom>
              <a:avLst/>
              <a:gdLst/>
              <a:ahLst/>
              <a:cxnLst>
                <a:cxn ang="0">
                  <a:pos x="wd2" y="hd2"/>
                </a:cxn>
                <a:cxn ang="5400000">
                  <a:pos x="wd2" y="hd2"/>
                </a:cxn>
                <a:cxn ang="10800000">
                  <a:pos x="wd2" y="hd2"/>
                </a:cxn>
                <a:cxn ang="16200000">
                  <a:pos x="wd2" y="hd2"/>
                </a:cxn>
              </a:cxnLst>
              <a:rect l="0" t="0" r="r" b="b"/>
              <a:pathLst>
                <a:path w="21600" h="21600" extrusionOk="0">
                  <a:moveTo>
                    <a:pt x="14152" y="0"/>
                  </a:moveTo>
                  <a:lnTo>
                    <a:pt x="10628" y="460"/>
                  </a:lnTo>
                  <a:lnTo>
                    <a:pt x="7726" y="4319"/>
                  </a:lnTo>
                  <a:lnTo>
                    <a:pt x="5627" y="8451"/>
                  </a:lnTo>
                  <a:lnTo>
                    <a:pt x="4174" y="14357"/>
                  </a:lnTo>
                  <a:lnTo>
                    <a:pt x="1935" y="16154"/>
                  </a:lnTo>
                  <a:lnTo>
                    <a:pt x="0" y="18468"/>
                  </a:lnTo>
                  <a:lnTo>
                    <a:pt x="1106" y="21600"/>
                  </a:lnTo>
                  <a:lnTo>
                    <a:pt x="6381" y="17839"/>
                  </a:lnTo>
                  <a:lnTo>
                    <a:pt x="8410" y="9597"/>
                  </a:lnTo>
                  <a:lnTo>
                    <a:pt x="11042" y="7530"/>
                  </a:lnTo>
                  <a:lnTo>
                    <a:pt x="13668" y="8597"/>
                  </a:lnTo>
                  <a:lnTo>
                    <a:pt x="17384" y="8597"/>
                  </a:lnTo>
                  <a:lnTo>
                    <a:pt x="21600" y="6531"/>
                  </a:lnTo>
                  <a:lnTo>
                    <a:pt x="19790" y="883"/>
                  </a:lnTo>
                  <a:lnTo>
                    <a:pt x="16677" y="3399"/>
                  </a:lnTo>
                  <a:lnTo>
                    <a:pt x="14152" y="0"/>
                  </a:lnTo>
                  <a:close/>
                </a:path>
              </a:pathLst>
            </a:custGeom>
            <a:grpFill/>
            <a:ln w="25400" cap="flat">
              <a:noFill/>
              <a:prstDash val="solid"/>
              <a:miter lim="400000"/>
            </a:ln>
            <a:effectLst/>
          </p:spPr>
          <p:txBody>
            <a:bodyPr anchor="ctr"/>
            <a:lstStyle/>
            <a:p>
              <a:pPr algn="ctr"/>
              <a:endParaRPr/>
            </a:p>
          </p:txBody>
        </p:sp>
        <p:sp>
          <p:nvSpPr>
            <p:cNvPr id="102" name="任意多边形: 形状 101">
              <a:extLst>
                <a:ext uri="{FF2B5EF4-FFF2-40B4-BE49-F238E27FC236}">
                  <a16:creationId xmlns:a16="http://schemas.microsoft.com/office/drawing/2014/main" id="{0DC3004F-4E93-4798-9AF9-CBAB7CA228D1}"/>
                </a:ext>
              </a:extLst>
            </p:cNvPr>
            <p:cNvSpPr/>
            <p:nvPr/>
          </p:nvSpPr>
          <p:spPr>
            <a:xfrm>
              <a:off x="9557284" y="4379124"/>
              <a:ext cx="90437" cy="43332"/>
            </a:xfrm>
            <a:custGeom>
              <a:avLst/>
              <a:gdLst/>
              <a:ahLst/>
              <a:cxnLst>
                <a:cxn ang="0">
                  <a:pos x="wd2" y="hd2"/>
                </a:cxn>
                <a:cxn ang="5400000">
                  <a:pos x="wd2" y="hd2"/>
                </a:cxn>
                <a:cxn ang="10800000">
                  <a:pos x="wd2" y="hd2"/>
                </a:cxn>
                <a:cxn ang="16200000">
                  <a:pos x="wd2" y="hd2"/>
                </a:cxn>
              </a:cxnLst>
              <a:rect l="0" t="0" r="r" b="b"/>
              <a:pathLst>
                <a:path w="20127" h="20202" extrusionOk="0">
                  <a:moveTo>
                    <a:pt x="8120" y="1413"/>
                  </a:moveTo>
                  <a:lnTo>
                    <a:pt x="2989" y="0"/>
                  </a:lnTo>
                  <a:lnTo>
                    <a:pt x="0" y="4386"/>
                  </a:lnTo>
                  <a:lnTo>
                    <a:pt x="2074" y="13178"/>
                  </a:lnTo>
                  <a:lnTo>
                    <a:pt x="6156" y="20202"/>
                  </a:lnTo>
                  <a:lnTo>
                    <a:pt x="9392" y="20202"/>
                  </a:lnTo>
                  <a:cubicBezTo>
                    <a:pt x="9507" y="17730"/>
                    <a:pt x="10179" y="15518"/>
                    <a:pt x="11202" y="14238"/>
                  </a:cubicBezTo>
                  <a:cubicBezTo>
                    <a:pt x="12897" y="12117"/>
                    <a:pt x="14975" y="13081"/>
                    <a:pt x="16937" y="12982"/>
                  </a:cubicBezTo>
                  <a:cubicBezTo>
                    <a:pt x="17858" y="12935"/>
                    <a:pt x="18816" y="12577"/>
                    <a:pt x="19418" y="11137"/>
                  </a:cubicBezTo>
                  <a:cubicBezTo>
                    <a:pt x="21600" y="5910"/>
                    <a:pt x="18293" y="-1398"/>
                    <a:pt x="15654" y="2817"/>
                  </a:cubicBezTo>
                  <a:lnTo>
                    <a:pt x="11513" y="7369"/>
                  </a:lnTo>
                  <a:lnTo>
                    <a:pt x="8120" y="1413"/>
                  </a:lnTo>
                  <a:close/>
                </a:path>
              </a:pathLst>
            </a:custGeom>
            <a:grpFill/>
            <a:ln w="25400" cap="flat">
              <a:noFill/>
              <a:prstDash val="solid"/>
              <a:miter lim="400000"/>
            </a:ln>
            <a:effectLst/>
          </p:spPr>
          <p:txBody>
            <a:bodyPr anchor="ctr"/>
            <a:lstStyle/>
            <a:p>
              <a:pPr algn="ctr"/>
              <a:endParaRPr/>
            </a:p>
          </p:txBody>
        </p:sp>
        <p:sp>
          <p:nvSpPr>
            <p:cNvPr id="103" name="任意多边形: 形状 102">
              <a:extLst>
                <a:ext uri="{FF2B5EF4-FFF2-40B4-BE49-F238E27FC236}">
                  <a16:creationId xmlns:a16="http://schemas.microsoft.com/office/drawing/2014/main" id="{CD985652-1E98-4CFD-A163-39381030F8A6}"/>
                </a:ext>
              </a:extLst>
            </p:cNvPr>
            <p:cNvSpPr/>
            <p:nvPr/>
          </p:nvSpPr>
          <p:spPr>
            <a:xfrm>
              <a:off x="9429485" y="4387992"/>
              <a:ext cx="74217" cy="35014"/>
            </a:xfrm>
            <a:custGeom>
              <a:avLst/>
              <a:gdLst/>
              <a:ahLst/>
              <a:cxnLst>
                <a:cxn ang="0">
                  <a:pos x="wd2" y="hd2"/>
                </a:cxn>
                <a:cxn ang="5400000">
                  <a:pos x="wd2" y="hd2"/>
                </a:cxn>
                <a:cxn ang="10800000">
                  <a:pos x="wd2" y="hd2"/>
                </a:cxn>
                <a:cxn ang="16200000">
                  <a:pos x="wd2" y="hd2"/>
                </a:cxn>
              </a:cxnLst>
              <a:rect l="0" t="0" r="r" b="b"/>
              <a:pathLst>
                <a:path w="21600" h="21600" extrusionOk="0">
                  <a:moveTo>
                    <a:pt x="11859" y="1149"/>
                  </a:moveTo>
                  <a:lnTo>
                    <a:pt x="16794" y="1980"/>
                  </a:lnTo>
                  <a:lnTo>
                    <a:pt x="20811" y="5943"/>
                  </a:lnTo>
                  <a:lnTo>
                    <a:pt x="21600" y="15447"/>
                  </a:lnTo>
                  <a:lnTo>
                    <a:pt x="15100" y="14824"/>
                  </a:lnTo>
                  <a:lnTo>
                    <a:pt x="10412" y="21600"/>
                  </a:lnTo>
                  <a:lnTo>
                    <a:pt x="4161" y="15786"/>
                  </a:lnTo>
                  <a:lnTo>
                    <a:pt x="0" y="8515"/>
                  </a:lnTo>
                  <a:lnTo>
                    <a:pt x="3564" y="3114"/>
                  </a:lnTo>
                  <a:lnTo>
                    <a:pt x="8770" y="0"/>
                  </a:lnTo>
                  <a:lnTo>
                    <a:pt x="11859" y="1149"/>
                  </a:lnTo>
                  <a:close/>
                </a:path>
              </a:pathLst>
            </a:custGeom>
            <a:grpFill/>
            <a:ln w="25400" cap="flat">
              <a:noFill/>
              <a:prstDash val="solid"/>
              <a:miter lim="400000"/>
            </a:ln>
            <a:effectLst/>
          </p:spPr>
          <p:txBody>
            <a:bodyPr anchor="ctr"/>
            <a:lstStyle/>
            <a:p>
              <a:pPr algn="ctr"/>
              <a:endParaRPr/>
            </a:p>
          </p:txBody>
        </p:sp>
        <p:sp>
          <p:nvSpPr>
            <p:cNvPr id="104" name="任意多边形: 形状 103">
              <a:extLst>
                <a:ext uri="{FF2B5EF4-FFF2-40B4-BE49-F238E27FC236}">
                  <a16:creationId xmlns:a16="http://schemas.microsoft.com/office/drawing/2014/main" id="{5ABB9A8A-D1D5-42C3-9697-38BA1900730D}"/>
                </a:ext>
              </a:extLst>
            </p:cNvPr>
            <p:cNvSpPr/>
            <p:nvPr/>
          </p:nvSpPr>
          <p:spPr>
            <a:xfrm>
              <a:off x="9520068" y="4428015"/>
              <a:ext cx="55095" cy="31317"/>
            </a:xfrm>
            <a:custGeom>
              <a:avLst/>
              <a:gdLst/>
              <a:ahLst/>
              <a:cxnLst>
                <a:cxn ang="0">
                  <a:pos x="wd2" y="hd2"/>
                </a:cxn>
                <a:cxn ang="5400000">
                  <a:pos x="wd2" y="hd2"/>
                </a:cxn>
                <a:cxn ang="10800000">
                  <a:pos x="wd2" y="hd2"/>
                </a:cxn>
                <a:cxn ang="16200000">
                  <a:pos x="wd2" y="hd2"/>
                </a:cxn>
              </a:cxnLst>
              <a:rect l="0" t="0" r="r" b="b"/>
              <a:pathLst>
                <a:path w="21600" h="21600" extrusionOk="0">
                  <a:moveTo>
                    <a:pt x="7893" y="1028"/>
                  </a:moveTo>
                  <a:lnTo>
                    <a:pt x="16832" y="971"/>
                  </a:lnTo>
                  <a:lnTo>
                    <a:pt x="20420" y="11208"/>
                  </a:lnTo>
                  <a:lnTo>
                    <a:pt x="21600" y="21600"/>
                  </a:lnTo>
                  <a:lnTo>
                    <a:pt x="16982" y="18870"/>
                  </a:lnTo>
                  <a:lnTo>
                    <a:pt x="11664" y="14489"/>
                  </a:lnTo>
                  <a:lnTo>
                    <a:pt x="5019" y="13095"/>
                  </a:lnTo>
                  <a:lnTo>
                    <a:pt x="0" y="8275"/>
                  </a:lnTo>
                  <a:lnTo>
                    <a:pt x="451" y="0"/>
                  </a:lnTo>
                  <a:lnTo>
                    <a:pt x="7893" y="1028"/>
                  </a:lnTo>
                  <a:close/>
                </a:path>
              </a:pathLst>
            </a:custGeom>
            <a:grpFill/>
            <a:ln w="25400" cap="flat">
              <a:noFill/>
              <a:prstDash val="solid"/>
              <a:miter lim="400000"/>
            </a:ln>
            <a:effectLst/>
          </p:spPr>
          <p:txBody>
            <a:bodyPr anchor="ctr"/>
            <a:lstStyle/>
            <a:p>
              <a:pPr algn="ctr"/>
              <a:endParaRPr/>
            </a:p>
          </p:txBody>
        </p:sp>
        <p:sp>
          <p:nvSpPr>
            <p:cNvPr id="105" name="任意多边形: 形状 104">
              <a:extLst>
                <a:ext uri="{FF2B5EF4-FFF2-40B4-BE49-F238E27FC236}">
                  <a16:creationId xmlns:a16="http://schemas.microsoft.com/office/drawing/2014/main" id="{57624C59-32F0-480F-AC62-719852F7DF4F}"/>
                </a:ext>
              </a:extLst>
            </p:cNvPr>
            <p:cNvSpPr/>
            <p:nvPr/>
          </p:nvSpPr>
          <p:spPr>
            <a:xfrm>
              <a:off x="9067733" y="4304888"/>
              <a:ext cx="331335" cy="94555"/>
            </a:xfrm>
            <a:custGeom>
              <a:avLst/>
              <a:gdLst/>
              <a:ahLst/>
              <a:cxnLst>
                <a:cxn ang="0">
                  <a:pos x="wd2" y="hd2"/>
                </a:cxn>
                <a:cxn ang="5400000">
                  <a:pos x="wd2" y="hd2"/>
                </a:cxn>
                <a:cxn ang="10800000">
                  <a:pos x="wd2" y="hd2"/>
                </a:cxn>
                <a:cxn ang="16200000">
                  <a:pos x="wd2" y="hd2"/>
                </a:cxn>
              </a:cxnLst>
              <a:rect l="0" t="0" r="r" b="b"/>
              <a:pathLst>
                <a:path w="21600" h="21600" extrusionOk="0">
                  <a:moveTo>
                    <a:pt x="3462" y="0"/>
                  </a:moveTo>
                  <a:lnTo>
                    <a:pt x="5763" y="1193"/>
                  </a:lnTo>
                  <a:lnTo>
                    <a:pt x="7140" y="6505"/>
                  </a:lnTo>
                  <a:lnTo>
                    <a:pt x="8532" y="9504"/>
                  </a:lnTo>
                  <a:lnTo>
                    <a:pt x="10248" y="8812"/>
                  </a:lnTo>
                  <a:lnTo>
                    <a:pt x="11883" y="6582"/>
                  </a:lnTo>
                  <a:lnTo>
                    <a:pt x="13403" y="5274"/>
                  </a:lnTo>
                  <a:lnTo>
                    <a:pt x="14790" y="7803"/>
                  </a:lnTo>
                  <a:lnTo>
                    <a:pt x="15917" y="11562"/>
                  </a:lnTo>
                  <a:lnTo>
                    <a:pt x="17221" y="12706"/>
                  </a:lnTo>
                  <a:lnTo>
                    <a:pt x="18945" y="12706"/>
                  </a:lnTo>
                  <a:lnTo>
                    <a:pt x="21465" y="16859"/>
                  </a:lnTo>
                  <a:lnTo>
                    <a:pt x="21600" y="19533"/>
                  </a:lnTo>
                  <a:lnTo>
                    <a:pt x="21006" y="21369"/>
                  </a:lnTo>
                  <a:lnTo>
                    <a:pt x="19970" y="21600"/>
                  </a:lnTo>
                  <a:lnTo>
                    <a:pt x="18003" y="19138"/>
                  </a:lnTo>
                  <a:lnTo>
                    <a:pt x="15022" y="18215"/>
                  </a:lnTo>
                  <a:lnTo>
                    <a:pt x="11204" y="18215"/>
                  </a:lnTo>
                  <a:lnTo>
                    <a:pt x="9900" y="15985"/>
                  </a:lnTo>
                  <a:lnTo>
                    <a:pt x="8817" y="13601"/>
                  </a:lnTo>
                  <a:lnTo>
                    <a:pt x="7759" y="13380"/>
                  </a:lnTo>
                  <a:lnTo>
                    <a:pt x="6457" y="15686"/>
                  </a:lnTo>
                  <a:cubicBezTo>
                    <a:pt x="6016" y="15792"/>
                    <a:pt x="5574" y="15767"/>
                    <a:pt x="5134" y="15610"/>
                  </a:cubicBezTo>
                  <a:cubicBezTo>
                    <a:pt x="4240" y="15293"/>
                    <a:pt x="3369" y="14440"/>
                    <a:pt x="2559" y="13091"/>
                  </a:cubicBezTo>
                  <a:cubicBezTo>
                    <a:pt x="2427" y="12283"/>
                    <a:pt x="2248" y="11576"/>
                    <a:pt x="2036" y="11014"/>
                  </a:cubicBezTo>
                  <a:cubicBezTo>
                    <a:pt x="1623" y="9923"/>
                    <a:pt x="1105" y="9427"/>
                    <a:pt x="590" y="9629"/>
                  </a:cubicBezTo>
                  <a:lnTo>
                    <a:pt x="0" y="6938"/>
                  </a:lnTo>
                  <a:lnTo>
                    <a:pt x="743" y="3332"/>
                  </a:lnTo>
                  <a:lnTo>
                    <a:pt x="1495" y="2410"/>
                  </a:lnTo>
                  <a:lnTo>
                    <a:pt x="3462" y="0"/>
                  </a:lnTo>
                  <a:close/>
                </a:path>
              </a:pathLst>
            </a:custGeom>
            <a:grpFill/>
            <a:ln w="25400" cap="flat">
              <a:noFill/>
              <a:prstDash val="solid"/>
              <a:miter lim="400000"/>
            </a:ln>
            <a:effectLst/>
          </p:spPr>
          <p:txBody>
            <a:bodyPr anchor="ctr"/>
            <a:lstStyle/>
            <a:p>
              <a:pPr algn="ctr"/>
              <a:endParaRPr/>
            </a:p>
          </p:txBody>
        </p:sp>
        <p:sp>
          <p:nvSpPr>
            <p:cNvPr id="106" name="任意多边形: 形状 105">
              <a:extLst>
                <a:ext uri="{FF2B5EF4-FFF2-40B4-BE49-F238E27FC236}">
                  <a16:creationId xmlns:a16="http://schemas.microsoft.com/office/drawing/2014/main" id="{C67D0B7D-1BCF-4693-807F-9EA5A482234B}"/>
                </a:ext>
              </a:extLst>
            </p:cNvPr>
            <p:cNvSpPr/>
            <p:nvPr/>
          </p:nvSpPr>
          <p:spPr>
            <a:xfrm>
              <a:off x="8739813" y="3881623"/>
              <a:ext cx="352969" cy="414364"/>
            </a:xfrm>
            <a:custGeom>
              <a:avLst/>
              <a:gdLst/>
              <a:ahLst/>
              <a:cxnLst>
                <a:cxn ang="0">
                  <a:pos x="wd2" y="hd2"/>
                </a:cxn>
                <a:cxn ang="5400000">
                  <a:pos x="wd2" y="hd2"/>
                </a:cxn>
                <a:cxn ang="10800000">
                  <a:pos x="wd2" y="hd2"/>
                </a:cxn>
                <a:cxn ang="16200000">
                  <a:pos x="wd2" y="hd2"/>
                </a:cxn>
              </a:cxnLst>
              <a:rect l="0" t="0" r="r" b="b"/>
              <a:pathLst>
                <a:path w="21600" h="21600" extrusionOk="0">
                  <a:moveTo>
                    <a:pt x="0" y="184"/>
                  </a:moveTo>
                  <a:lnTo>
                    <a:pt x="993" y="0"/>
                  </a:lnTo>
                  <a:lnTo>
                    <a:pt x="1986" y="598"/>
                  </a:lnTo>
                  <a:lnTo>
                    <a:pt x="2816" y="1157"/>
                  </a:lnTo>
                  <a:lnTo>
                    <a:pt x="4289" y="1420"/>
                  </a:lnTo>
                  <a:lnTo>
                    <a:pt x="5451" y="2210"/>
                  </a:lnTo>
                  <a:lnTo>
                    <a:pt x="5555" y="3015"/>
                  </a:lnTo>
                  <a:lnTo>
                    <a:pt x="6776" y="3171"/>
                  </a:lnTo>
                  <a:lnTo>
                    <a:pt x="7274" y="4172"/>
                  </a:lnTo>
                  <a:lnTo>
                    <a:pt x="7521" y="5067"/>
                  </a:lnTo>
                  <a:lnTo>
                    <a:pt x="8703" y="5646"/>
                  </a:lnTo>
                  <a:lnTo>
                    <a:pt x="10010" y="6313"/>
                  </a:lnTo>
                  <a:lnTo>
                    <a:pt x="11379" y="7204"/>
                  </a:lnTo>
                  <a:lnTo>
                    <a:pt x="13037" y="8026"/>
                  </a:lnTo>
                  <a:lnTo>
                    <a:pt x="14033" y="8799"/>
                  </a:lnTo>
                  <a:lnTo>
                    <a:pt x="14551" y="9185"/>
                  </a:lnTo>
                  <a:lnTo>
                    <a:pt x="15132" y="9746"/>
                  </a:lnTo>
                  <a:lnTo>
                    <a:pt x="15630" y="10424"/>
                  </a:lnTo>
                  <a:lnTo>
                    <a:pt x="15570" y="11405"/>
                  </a:lnTo>
                  <a:lnTo>
                    <a:pt x="15570" y="12087"/>
                  </a:lnTo>
                  <a:lnTo>
                    <a:pt x="16649" y="12471"/>
                  </a:lnTo>
                  <a:lnTo>
                    <a:pt x="17617" y="13079"/>
                  </a:lnTo>
                  <a:lnTo>
                    <a:pt x="17866" y="14746"/>
                  </a:lnTo>
                  <a:lnTo>
                    <a:pt x="19276" y="15306"/>
                  </a:lnTo>
                  <a:lnTo>
                    <a:pt x="20065" y="16197"/>
                  </a:lnTo>
                  <a:lnTo>
                    <a:pt x="20874" y="16512"/>
                  </a:lnTo>
                  <a:lnTo>
                    <a:pt x="21247" y="17881"/>
                  </a:lnTo>
                  <a:lnTo>
                    <a:pt x="21600" y="18880"/>
                  </a:lnTo>
                  <a:lnTo>
                    <a:pt x="20980" y="20073"/>
                  </a:lnTo>
                  <a:lnTo>
                    <a:pt x="19738" y="21284"/>
                  </a:lnTo>
                  <a:lnTo>
                    <a:pt x="18825" y="21600"/>
                  </a:lnTo>
                  <a:lnTo>
                    <a:pt x="17920" y="20918"/>
                  </a:lnTo>
                  <a:lnTo>
                    <a:pt x="16761" y="20657"/>
                  </a:lnTo>
                  <a:lnTo>
                    <a:pt x="16221" y="20130"/>
                  </a:lnTo>
                  <a:lnTo>
                    <a:pt x="15871" y="19375"/>
                  </a:lnTo>
                  <a:lnTo>
                    <a:pt x="14730" y="18518"/>
                  </a:lnTo>
                  <a:lnTo>
                    <a:pt x="12845" y="16958"/>
                  </a:lnTo>
                  <a:cubicBezTo>
                    <a:pt x="12017" y="16567"/>
                    <a:pt x="11468" y="15860"/>
                    <a:pt x="11372" y="15062"/>
                  </a:cubicBezTo>
                  <a:cubicBezTo>
                    <a:pt x="11299" y="14464"/>
                    <a:pt x="11495" y="13846"/>
                    <a:pt x="11270" y="13272"/>
                  </a:cubicBezTo>
                  <a:cubicBezTo>
                    <a:pt x="11040" y="12683"/>
                    <a:pt x="10437" y="12286"/>
                    <a:pt x="9880" y="11886"/>
                  </a:cubicBezTo>
                  <a:cubicBezTo>
                    <a:pt x="9302" y="11470"/>
                    <a:pt x="8755" y="11024"/>
                    <a:pt x="8241" y="10552"/>
                  </a:cubicBezTo>
                  <a:lnTo>
                    <a:pt x="7806" y="8674"/>
                  </a:lnTo>
                  <a:lnTo>
                    <a:pt x="6997" y="7096"/>
                  </a:lnTo>
                  <a:lnTo>
                    <a:pt x="5321" y="5752"/>
                  </a:lnTo>
                  <a:lnTo>
                    <a:pt x="3277" y="4023"/>
                  </a:lnTo>
                  <a:lnTo>
                    <a:pt x="2077" y="3410"/>
                  </a:lnTo>
                  <a:lnTo>
                    <a:pt x="505" y="1818"/>
                  </a:lnTo>
                  <a:lnTo>
                    <a:pt x="256" y="1168"/>
                  </a:lnTo>
                  <a:lnTo>
                    <a:pt x="0" y="184"/>
                  </a:lnTo>
                  <a:close/>
                </a:path>
              </a:pathLst>
            </a:custGeom>
            <a:grpFill/>
            <a:ln w="25400" cap="flat">
              <a:noFill/>
              <a:prstDash val="solid"/>
              <a:miter lim="400000"/>
            </a:ln>
            <a:effectLst/>
          </p:spPr>
          <p:txBody>
            <a:bodyPr anchor="ctr"/>
            <a:lstStyle/>
            <a:p>
              <a:pPr algn="ctr"/>
              <a:endParaRPr/>
            </a:p>
          </p:txBody>
        </p:sp>
        <p:sp>
          <p:nvSpPr>
            <p:cNvPr id="107" name="任意多边形: 形状 106">
              <a:extLst>
                <a:ext uri="{FF2B5EF4-FFF2-40B4-BE49-F238E27FC236}">
                  <a16:creationId xmlns:a16="http://schemas.microsoft.com/office/drawing/2014/main" id="{14B33931-2F51-43CF-9C8E-4B8EEF19731E}"/>
                </a:ext>
              </a:extLst>
            </p:cNvPr>
            <p:cNvSpPr/>
            <p:nvPr/>
          </p:nvSpPr>
          <p:spPr>
            <a:xfrm>
              <a:off x="8199229" y="3742697"/>
              <a:ext cx="76119" cy="114668"/>
            </a:xfrm>
            <a:custGeom>
              <a:avLst/>
              <a:gdLst/>
              <a:ahLst/>
              <a:cxnLst>
                <a:cxn ang="0">
                  <a:pos x="wd2" y="hd2"/>
                </a:cxn>
                <a:cxn ang="5400000">
                  <a:pos x="wd2" y="hd2"/>
                </a:cxn>
                <a:cxn ang="10800000">
                  <a:pos x="wd2" y="hd2"/>
                </a:cxn>
                <a:cxn ang="16200000">
                  <a:pos x="wd2" y="hd2"/>
                </a:cxn>
              </a:cxnLst>
              <a:rect l="0" t="0" r="r" b="b"/>
              <a:pathLst>
                <a:path w="21600" h="21600" extrusionOk="0">
                  <a:moveTo>
                    <a:pt x="4600" y="0"/>
                  </a:moveTo>
                  <a:lnTo>
                    <a:pt x="8713" y="182"/>
                  </a:lnTo>
                  <a:lnTo>
                    <a:pt x="10921" y="4429"/>
                  </a:lnTo>
                  <a:lnTo>
                    <a:pt x="14685" y="8044"/>
                  </a:lnTo>
                  <a:lnTo>
                    <a:pt x="18425" y="9946"/>
                  </a:lnTo>
                  <a:lnTo>
                    <a:pt x="21600" y="14767"/>
                  </a:lnTo>
                  <a:lnTo>
                    <a:pt x="19964" y="17676"/>
                  </a:lnTo>
                  <a:lnTo>
                    <a:pt x="13230" y="21600"/>
                  </a:lnTo>
                  <a:lnTo>
                    <a:pt x="5665" y="20649"/>
                  </a:lnTo>
                  <a:lnTo>
                    <a:pt x="3657" y="18389"/>
                  </a:lnTo>
                  <a:lnTo>
                    <a:pt x="2585" y="13196"/>
                  </a:lnTo>
                  <a:lnTo>
                    <a:pt x="0" y="7869"/>
                  </a:lnTo>
                  <a:lnTo>
                    <a:pt x="285" y="4698"/>
                  </a:lnTo>
                  <a:lnTo>
                    <a:pt x="4600" y="0"/>
                  </a:lnTo>
                  <a:close/>
                </a:path>
              </a:pathLst>
            </a:custGeom>
            <a:grpFill/>
            <a:ln w="25400" cap="flat">
              <a:noFill/>
              <a:prstDash val="solid"/>
              <a:miter lim="400000"/>
            </a:ln>
            <a:effectLst/>
          </p:spPr>
          <p:txBody>
            <a:bodyPr anchor="ctr"/>
            <a:lstStyle/>
            <a:p>
              <a:pPr algn="ctr"/>
              <a:endParaRPr/>
            </a:p>
          </p:txBody>
        </p:sp>
        <p:sp>
          <p:nvSpPr>
            <p:cNvPr id="108" name="任意多边形: 形状 107">
              <a:extLst>
                <a:ext uri="{FF2B5EF4-FFF2-40B4-BE49-F238E27FC236}">
                  <a16:creationId xmlns:a16="http://schemas.microsoft.com/office/drawing/2014/main" id="{827DE797-08EA-48C3-84F1-566D0E16586D}"/>
                </a:ext>
              </a:extLst>
            </p:cNvPr>
            <p:cNvSpPr/>
            <p:nvPr/>
          </p:nvSpPr>
          <p:spPr>
            <a:xfrm>
              <a:off x="7957224" y="3867942"/>
              <a:ext cx="20203" cy="24844"/>
            </a:xfrm>
            <a:custGeom>
              <a:avLst/>
              <a:gdLst/>
              <a:ahLst/>
              <a:cxnLst>
                <a:cxn ang="0">
                  <a:pos x="wd2" y="hd2"/>
                </a:cxn>
                <a:cxn ang="5400000">
                  <a:pos x="wd2" y="hd2"/>
                </a:cxn>
                <a:cxn ang="10800000">
                  <a:pos x="wd2" y="hd2"/>
                </a:cxn>
                <a:cxn ang="16200000">
                  <a:pos x="wd2" y="hd2"/>
                </a:cxn>
              </a:cxnLst>
              <a:rect l="0" t="0" r="r" b="b"/>
              <a:pathLst>
                <a:path w="21600" h="21600" extrusionOk="0">
                  <a:moveTo>
                    <a:pt x="8606" y="3000"/>
                  </a:moveTo>
                  <a:lnTo>
                    <a:pt x="21600" y="0"/>
                  </a:lnTo>
                  <a:lnTo>
                    <a:pt x="18445" y="10511"/>
                  </a:lnTo>
                  <a:lnTo>
                    <a:pt x="15227" y="21600"/>
                  </a:lnTo>
                  <a:lnTo>
                    <a:pt x="0" y="20686"/>
                  </a:lnTo>
                  <a:lnTo>
                    <a:pt x="8606" y="3000"/>
                  </a:lnTo>
                  <a:close/>
                </a:path>
              </a:pathLst>
            </a:custGeom>
            <a:grpFill/>
            <a:ln w="25400" cap="flat">
              <a:noFill/>
              <a:prstDash val="solid"/>
              <a:miter lim="400000"/>
            </a:ln>
            <a:effectLst/>
          </p:spPr>
          <p:txBody>
            <a:bodyPr anchor="ctr"/>
            <a:lstStyle/>
            <a:p>
              <a:pPr algn="ctr"/>
              <a:endParaRPr/>
            </a:p>
          </p:txBody>
        </p:sp>
        <p:sp>
          <p:nvSpPr>
            <p:cNvPr id="109" name="任意多边形: 形状 108">
              <a:extLst>
                <a:ext uri="{FF2B5EF4-FFF2-40B4-BE49-F238E27FC236}">
                  <a16:creationId xmlns:a16="http://schemas.microsoft.com/office/drawing/2014/main" id="{BB9B4B2D-A017-4F9A-BB8D-043FF8AF9D0E}"/>
                </a:ext>
              </a:extLst>
            </p:cNvPr>
            <p:cNvSpPr/>
            <p:nvPr/>
          </p:nvSpPr>
          <p:spPr>
            <a:xfrm>
              <a:off x="7953865" y="3917350"/>
              <a:ext cx="21543" cy="20151"/>
            </a:xfrm>
            <a:custGeom>
              <a:avLst/>
              <a:gdLst/>
              <a:ahLst/>
              <a:cxnLst>
                <a:cxn ang="0">
                  <a:pos x="wd2" y="hd2"/>
                </a:cxn>
                <a:cxn ang="5400000">
                  <a:pos x="wd2" y="hd2"/>
                </a:cxn>
                <a:cxn ang="10800000">
                  <a:pos x="wd2" y="hd2"/>
                </a:cxn>
                <a:cxn ang="16200000">
                  <a:pos x="wd2" y="hd2"/>
                </a:cxn>
              </a:cxnLst>
              <a:rect l="0" t="0" r="r" b="b"/>
              <a:pathLst>
                <a:path w="21600" h="21600" extrusionOk="0">
                  <a:moveTo>
                    <a:pt x="10494" y="0"/>
                  </a:moveTo>
                  <a:lnTo>
                    <a:pt x="0" y="8708"/>
                  </a:lnTo>
                  <a:lnTo>
                    <a:pt x="11400" y="21600"/>
                  </a:lnTo>
                  <a:lnTo>
                    <a:pt x="21600" y="9737"/>
                  </a:lnTo>
                  <a:lnTo>
                    <a:pt x="10494" y="0"/>
                  </a:lnTo>
                  <a:close/>
                </a:path>
              </a:pathLst>
            </a:custGeom>
            <a:grpFill/>
            <a:ln w="25400" cap="flat">
              <a:noFill/>
              <a:prstDash val="solid"/>
              <a:miter lim="400000"/>
            </a:ln>
            <a:effectLst/>
          </p:spPr>
          <p:txBody>
            <a:bodyPr anchor="ctr"/>
            <a:lstStyle/>
            <a:p>
              <a:pPr algn="ctr"/>
              <a:endParaRPr/>
            </a:p>
          </p:txBody>
        </p:sp>
        <p:sp>
          <p:nvSpPr>
            <p:cNvPr id="110" name="任意多边形: 形状 109">
              <a:extLst>
                <a:ext uri="{FF2B5EF4-FFF2-40B4-BE49-F238E27FC236}">
                  <a16:creationId xmlns:a16="http://schemas.microsoft.com/office/drawing/2014/main" id="{8FC2058F-BFB0-4564-8512-A4D02A0AED1D}"/>
                </a:ext>
              </a:extLst>
            </p:cNvPr>
            <p:cNvSpPr/>
            <p:nvPr/>
          </p:nvSpPr>
          <p:spPr>
            <a:xfrm>
              <a:off x="7931635" y="3837005"/>
              <a:ext cx="18834" cy="20358"/>
            </a:xfrm>
            <a:custGeom>
              <a:avLst/>
              <a:gdLst/>
              <a:ahLst/>
              <a:cxnLst>
                <a:cxn ang="0">
                  <a:pos x="wd2" y="hd2"/>
                </a:cxn>
                <a:cxn ang="5400000">
                  <a:pos x="wd2" y="hd2"/>
                </a:cxn>
                <a:cxn ang="10800000">
                  <a:pos x="wd2" y="hd2"/>
                </a:cxn>
                <a:cxn ang="16200000">
                  <a:pos x="wd2" y="hd2"/>
                </a:cxn>
              </a:cxnLst>
              <a:rect l="0" t="0" r="r" b="b"/>
              <a:pathLst>
                <a:path w="21600" h="21600" extrusionOk="0">
                  <a:moveTo>
                    <a:pt x="11886" y="0"/>
                  </a:moveTo>
                  <a:lnTo>
                    <a:pt x="0" y="12052"/>
                  </a:lnTo>
                  <a:lnTo>
                    <a:pt x="10759" y="21600"/>
                  </a:lnTo>
                  <a:lnTo>
                    <a:pt x="21600" y="9540"/>
                  </a:lnTo>
                  <a:lnTo>
                    <a:pt x="11886" y="0"/>
                  </a:lnTo>
                  <a:close/>
                </a:path>
              </a:pathLst>
            </a:custGeom>
            <a:grpFill/>
            <a:ln w="25400" cap="flat">
              <a:noFill/>
              <a:prstDash val="solid"/>
              <a:miter lim="400000"/>
            </a:ln>
            <a:effectLst/>
          </p:spPr>
          <p:txBody>
            <a:bodyPr anchor="ctr"/>
            <a:lstStyle/>
            <a:p>
              <a:pPr algn="ctr"/>
              <a:endParaRPr/>
            </a:p>
          </p:txBody>
        </p:sp>
        <p:sp>
          <p:nvSpPr>
            <p:cNvPr id="111" name="任意多边形: 形状 110">
              <a:extLst>
                <a:ext uri="{FF2B5EF4-FFF2-40B4-BE49-F238E27FC236}">
                  <a16:creationId xmlns:a16="http://schemas.microsoft.com/office/drawing/2014/main" id="{7FB65DE9-E432-4E39-9A34-0CCA6A90D900}"/>
                </a:ext>
              </a:extLst>
            </p:cNvPr>
            <p:cNvSpPr/>
            <p:nvPr/>
          </p:nvSpPr>
          <p:spPr>
            <a:xfrm>
              <a:off x="7171214" y="3107084"/>
              <a:ext cx="22347" cy="31175"/>
            </a:xfrm>
            <a:custGeom>
              <a:avLst/>
              <a:gdLst/>
              <a:ahLst/>
              <a:cxnLst>
                <a:cxn ang="0">
                  <a:pos x="wd2" y="hd2"/>
                </a:cxn>
                <a:cxn ang="5400000">
                  <a:pos x="wd2" y="hd2"/>
                </a:cxn>
                <a:cxn ang="10800000">
                  <a:pos x="wd2" y="hd2"/>
                </a:cxn>
                <a:cxn ang="16200000">
                  <a:pos x="wd2" y="hd2"/>
                </a:cxn>
              </a:cxnLst>
              <a:rect l="0" t="0" r="r" b="b"/>
              <a:pathLst>
                <a:path w="21600" h="21600" extrusionOk="0">
                  <a:moveTo>
                    <a:pt x="18226" y="0"/>
                  </a:moveTo>
                  <a:lnTo>
                    <a:pt x="0" y="6738"/>
                  </a:lnTo>
                  <a:lnTo>
                    <a:pt x="6059" y="21600"/>
                  </a:lnTo>
                  <a:lnTo>
                    <a:pt x="21600" y="18596"/>
                  </a:lnTo>
                  <a:lnTo>
                    <a:pt x="18226" y="0"/>
                  </a:lnTo>
                  <a:close/>
                </a:path>
              </a:pathLst>
            </a:custGeom>
            <a:grpFill/>
            <a:ln w="25400" cap="flat">
              <a:noFill/>
              <a:prstDash val="solid"/>
              <a:miter lim="400000"/>
            </a:ln>
            <a:effectLst/>
          </p:spPr>
          <p:txBody>
            <a:bodyPr anchor="ctr"/>
            <a:lstStyle/>
            <a:p>
              <a:pPr algn="ctr"/>
              <a:endParaRPr/>
            </a:p>
          </p:txBody>
        </p:sp>
        <p:sp>
          <p:nvSpPr>
            <p:cNvPr id="112" name="任意多边形: 形状 111">
              <a:extLst>
                <a:ext uri="{FF2B5EF4-FFF2-40B4-BE49-F238E27FC236}">
                  <a16:creationId xmlns:a16="http://schemas.microsoft.com/office/drawing/2014/main" id="{5362F661-7A84-4B09-A8F4-1EC2BFAF8ADB}"/>
                </a:ext>
              </a:extLst>
            </p:cNvPr>
            <p:cNvSpPr/>
            <p:nvPr/>
          </p:nvSpPr>
          <p:spPr>
            <a:xfrm>
              <a:off x="6561284" y="2785626"/>
              <a:ext cx="67222" cy="44468"/>
            </a:xfrm>
            <a:custGeom>
              <a:avLst/>
              <a:gdLst/>
              <a:ahLst/>
              <a:cxnLst>
                <a:cxn ang="0">
                  <a:pos x="wd2" y="hd2"/>
                </a:cxn>
                <a:cxn ang="5400000">
                  <a:pos x="wd2" y="hd2"/>
                </a:cxn>
                <a:cxn ang="10800000">
                  <a:pos x="wd2" y="hd2"/>
                </a:cxn>
                <a:cxn ang="16200000">
                  <a:pos x="wd2" y="hd2"/>
                </a:cxn>
              </a:cxnLst>
              <a:rect l="0" t="0" r="r" b="b"/>
              <a:pathLst>
                <a:path w="21600" h="21600" extrusionOk="0">
                  <a:moveTo>
                    <a:pt x="16119" y="0"/>
                  </a:moveTo>
                  <a:lnTo>
                    <a:pt x="12851" y="4376"/>
                  </a:lnTo>
                  <a:lnTo>
                    <a:pt x="8517" y="6430"/>
                  </a:lnTo>
                  <a:lnTo>
                    <a:pt x="671" y="5939"/>
                  </a:lnTo>
                  <a:lnTo>
                    <a:pt x="0" y="12809"/>
                  </a:lnTo>
                  <a:lnTo>
                    <a:pt x="3338" y="16202"/>
                  </a:lnTo>
                  <a:lnTo>
                    <a:pt x="10189" y="21600"/>
                  </a:lnTo>
                  <a:lnTo>
                    <a:pt x="13007" y="15425"/>
                  </a:lnTo>
                  <a:lnTo>
                    <a:pt x="16167" y="10356"/>
                  </a:lnTo>
                  <a:lnTo>
                    <a:pt x="19327" y="7105"/>
                  </a:lnTo>
                  <a:lnTo>
                    <a:pt x="21600" y="1381"/>
                  </a:lnTo>
                  <a:lnTo>
                    <a:pt x="16119" y="0"/>
                  </a:lnTo>
                  <a:close/>
                </a:path>
              </a:pathLst>
            </a:custGeom>
            <a:grpFill/>
            <a:ln w="25400" cap="flat">
              <a:noFill/>
              <a:prstDash val="solid"/>
              <a:miter lim="400000"/>
            </a:ln>
            <a:effectLst/>
          </p:spPr>
          <p:txBody>
            <a:bodyPr anchor="ctr"/>
            <a:lstStyle/>
            <a:p>
              <a:pPr algn="ctr"/>
              <a:endParaRPr/>
            </a:p>
          </p:txBody>
        </p:sp>
        <p:sp>
          <p:nvSpPr>
            <p:cNvPr id="113" name="任意多边形: 形状 112">
              <a:extLst>
                <a:ext uri="{FF2B5EF4-FFF2-40B4-BE49-F238E27FC236}">
                  <a16:creationId xmlns:a16="http://schemas.microsoft.com/office/drawing/2014/main" id="{C5F96E0D-7734-474F-8F2C-9FD9E7683409}"/>
                </a:ext>
              </a:extLst>
            </p:cNvPr>
            <p:cNvSpPr/>
            <p:nvPr/>
          </p:nvSpPr>
          <p:spPr>
            <a:xfrm>
              <a:off x="5255087" y="1585911"/>
              <a:ext cx="2042366" cy="1189722"/>
            </a:xfrm>
            <a:custGeom>
              <a:avLst/>
              <a:gdLst/>
              <a:ahLst/>
              <a:cxnLst>
                <a:cxn ang="0">
                  <a:pos x="wd2" y="hd2"/>
                </a:cxn>
                <a:cxn ang="5400000">
                  <a:pos x="wd2" y="hd2"/>
                </a:cxn>
                <a:cxn ang="10800000">
                  <a:pos x="wd2" y="hd2"/>
                </a:cxn>
                <a:cxn ang="16200000">
                  <a:pos x="wd2" y="hd2"/>
                </a:cxn>
              </a:cxnLst>
              <a:rect l="0" t="0" r="r" b="b"/>
              <a:pathLst>
                <a:path w="21600" h="21600" extrusionOk="0">
                  <a:moveTo>
                    <a:pt x="20807" y="1150"/>
                  </a:moveTo>
                  <a:lnTo>
                    <a:pt x="20140" y="892"/>
                  </a:lnTo>
                  <a:lnTo>
                    <a:pt x="19827" y="747"/>
                  </a:lnTo>
                  <a:lnTo>
                    <a:pt x="19506" y="542"/>
                  </a:lnTo>
                  <a:lnTo>
                    <a:pt x="19194" y="459"/>
                  </a:lnTo>
                  <a:lnTo>
                    <a:pt x="18976" y="267"/>
                  </a:lnTo>
                  <a:lnTo>
                    <a:pt x="18803" y="212"/>
                  </a:lnTo>
                  <a:lnTo>
                    <a:pt x="18690" y="293"/>
                  </a:lnTo>
                  <a:lnTo>
                    <a:pt x="18482" y="457"/>
                  </a:lnTo>
                  <a:lnTo>
                    <a:pt x="18589" y="626"/>
                  </a:lnTo>
                  <a:lnTo>
                    <a:pt x="18799" y="626"/>
                  </a:lnTo>
                  <a:lnTo>
                    <a:pt x="18944" y="749"/>
                  </a:lnTo>
                  <a:lnTo>
                    <a:pt x="19057" y="799"/>
                  </a:lnTo>
                  <a:lnTo>
                    <a:pt x="19162" y="663"/>
                  </a:lnTo>
                  <a:lnTo>
                    <a:pt x="19282" y="649"/>
                  </a:lnTo>
                  <a:lnTo>
                    <a:pt x="19425" y="814"/>
                  </a:lnTo>
                  <a:lnTo>
                    <a:pt x="19336" y="1164"/>
                  </a:lnTo>
                  <a:lnTo>
                    <a:pt x="19232" y="1314"/>
                  </a:lnTo>
                  <a:lnTo>
                    <a:pt x="19042" y="1149"/>
                  </a:lnTo>
                  <a:lnTo>
                    <a:pt x="18875" y="1149"/>
                  </a:lnTo>
                  <a:lnTo>
                    <a:pt x="18733" y="1250"/>
                  </a:lnTo>
                  <a:lnTo>
                    <a:pt x="18426" y="1346"/>
                  </a:lnTo>
                  <a:lnTo>
                    <a:pt x="18234" y="1428"/>
                  </a:lnTo>
                  <a:lnTo>
                    <a:pt x="18001" y="1483"/>
                  </a:lnTo>
                  <a:lnTo>
                    <a:pt x="17885" y="1455"/>
                  </a:lnTo>
                  <a:lnTo>
                    <a:pt x="17764" y="1282"/>
                  </a:lnTo>
                  <a:lnTo>
                    <a:pt x="17591" y="1204"/>
                  </a:lnTo>
                  <a:lnTo>
                    <a:pt x="17472" y="1218"/>
                  </a:lnTo>
                  <a:lnTo>
                    <a:pt x="17205" y="1314"/>
                  </a:lnTo>
                  <a:lnTo>
                    <a:pt x="16942" y="1479"/>
                  </a:lnTo>
                  <a:lnTo>
                    <a:pt x="16671" y="1671"/>
                  </a:lnTo>
                  <a:lnTo>
                    <a:pt x="16451" y="1882"/>
                  </a:lnTo>
                  <a:lnTo>
                    <a:pt x="16191" y="2147"/>
                  </a:lnTo>
                  <a:lnTo>
                    <a:pt x="16038" y="2203"/>
                  </a:lnTo>
                  <a:lnTo>
                    <a:pt x="15932" y="2029"/>
                  </a:lnTo>
                  <a:lnTo>
                    <a:pt x="15829" y="1988"/>
                  </a:lnTo>
                  <a:lnTo>
                    <a:pt x="15732" y="1892"/>
                  </a:lnTo>
                  <a:lnTo>
                    <a:pt x="15762" y="1710"/>
                  </a:lnTo>
                  <a:lnTo>
                    <a:pt x="15657" y="1417"/>
                  </a:lnTo>
                  <a:lnTo>
                    <a:pt x="15517" y="1390"/>
                  </a:lnTo>
                  <a:lnTo>
                    <a:pt x="15378" y="1390"/>
                  </a:lnTo>
                  <a:lnTo>
                    <a:pt x="15253" y="1481"/>
                  </a:lnTo>
                  <a:lnTo>
                    <a:pt x="15278" y="1641"/>
                  </a:lnTo>
                  <a:lnTo>
                    <a:pt x="15392" y="1819"/>
                  </a:lnTo>
                  <a:lnTo>
                    <a:pt x="15384" y="1998"/>
                  </a:lnTo>
                  <a:lnTo>
                    <a:pt x="15457" y="2135"/>
                  </a:lnTo>
                  <a:lnTo>
                    <a:pt x="15449" y="2313"/>
                  </a:lnTo>
                  <a:lnTo>
                    <a:pt x="15372" y="2418"/>
                  </a:lnTo>
                  <a:lnTo>
                    <a:pt x="15165" y="2528"/>
                  </a:lnTo>
                  <a:lnTo>
                    <a:pt x="14864" y="2652"/>
                  </a:lnTo>
                  <a:lnTo>
                    <a:pt x="14558" y="2802"/>
                  </a:lnTo>
                  <a:lnTo>
                    <a:pt x="14501" y="2964"/>
                  </a:lnTo>
                  <a:lnTo>
                    <a:pt x="14580" y="3129"/>
                  </a:lnTo>
                  <a:lnTo>
                    <a:pt x="14535" y="3260"/>
                  </a:lnTo>
                  <a:lnTo>
                    <a:pt x="14301" y="3357"/>
                  </a:lnTo>
                  <a:lnTo>
                    <a:pt x="14167" y="3571"/>
                  </a:lnTo>
                  <a:lnTo>
                    <a:pt x="14002" y="3383"/>
                  </a:lnTo>
                  <a:lnTo>
                    <a:pt x="13882" y="3233"/>
                  </a:lnTo>
                  <a:lnTo>
                    <a:pt x="13736" y="3151"/>
                  </a:lnTo>
                  <a:lnTo>
                    <a:pt x="13601" y="3165"/>
                  </a:lnTo>
                  <a:lnTo>
                    <a:pt x="13544" y="3303"/>
                  </a:lnTo>
                  <a:lnTo>
                    <a:pt x="13684" y="3412"/>
                  </a:lnTo>
                  <a:lnTo>
                    <a:pt x="13810" y="3412"/>
                  </a:lnTo>
                  <a:lnTo>
                    <a:pt x="13898" y="3509"/>
                  </a:lnTo>
                  <a:lnTo>
                    <a:pt x="13968" y="3600"/>
                  </a:lnTo>
                  <a:lnTo>
                    <a:pt x="14044" y="3723"/>
                  </a:lnTo>
                  <a:lnTo>
                    <a:pt x="13921" y="3938"/>
                  </a:lnTo>
                  <a:lnTo>
                    <a:pt x="13743" y="3952"/>
                  </a:lnTo>
                  <a:lnTo>
                    <a:pt x="13682" y="4102"/>
                  </a:lnTo>
                  <a:lnTo>
                    <a:pt x="13545" y="4125"/>
                  </a:lnTo>
                  <a:lnTo>
                    <a:pt x="13425" y="3918"/>
                  </a:lnTo>
                  <a:lnTo>
                    <a:pt x="13296" y="3768"/>
                  </a:lnTo>
                  <a:lnTo>
                    <a:pt x="13175" y="3714"/>
                  </a:lnTo>
                  <a:lnTo>
                    <a:pt x="13055" y="3663"/>
                  </a:lnTo>
                  <a:lnTo>
                    <a:pt x="12975" y="3430"/>
                  </a:lnTo>
                  <a:lnTo>
                    <a:pt x="12892" y="3238"/>
                  </a:lnTo>
                  <a:lnTo>
                    <a:pt x="12851" y="3047"/>
                  </a:lnTo>
                  <a:lnTo>
                    <a:pt x="12766" y="2877"/>
                  </a:lnTo>
                  <a:lnTo>
                    <a:pt x="12599" y="2739"/>
                  </a:lnTo>
                  <a:lnTo>
                    <a:pt x="12494" y="2631"/>
                  </a:lnTo>
                  <a:lnTo>
                    <a:pt x="12368" y="2420"/>
                  </a:lnTo>
                  <a:lnTo>
                    <a:pt x="12304" y="2245"/>
                  </a:lnTo>
                  <a:lnTo>
                    <a:pt x="12377" y="2017"/>
                  </a:lnTo>
                  <a:lnTo>
                    <a:pt x="12699" y="2003"/>
                  </a:lnTo>
                  <a:cubicBezTo>
                    <a:pt x="12738" y="2035"/>
                    <a:pt x="12777" y="2063"/>
                    <a:pt x="12817" y="2090"/>
                  </a:cubicBezTo>
                  <a:cubicBezTo>
                    <a:pt x="12952" y="2178"/>
                    <a:pt x="13094" y="2236"/>
                    <a:pt x="13239" y="2259"/>
                  </a:cubicBezTo>
                  <a:lnTo>
                    <a:pt x="13399" y="2479"/>
                  </a:lnTo>
                  <a:lnTo>
                    <a:pt x="13603" y="2506"/>
                  </a:lnTo>
                  <a:lnTo>
                    <a:pt x="13797" y="2506"/>
                  </a:lnTo>
                  <a:cubicBezTo>
                    <a:pt x="13873" y="2506"/>
                    <a:pt x="13949" y="2506"/>
                    <a:pt x="14025" y="2506"/>
                  </a:cubicBezTo>
                  <a:cubicBezTo>
                    <a:pt x="14058" y="2506"/>
                    <a:pt x="14090" y="2506"/>
                    <a:pt x="14122" y="2506"/>
                  </a:cubicBezTo>
                  <a:lnTo>
                    <a:pt x="14251" y="2356"/>
                  </a:lnTo>
                  <a:lnTo>
                    <a:pt x="14347" y="2302"/>
                  </a:lnTo>
                  <a:lnTo>
                    <a:pt x="14484" y="2237"/>
                  </a:lnTo>
                  <a:lnTo>
                    <a:pt x="14616" y="2210"/>
                  </a:lnTo>
                  <a:lnTo>
                    <a:pt x="14613" y="2040"/>
                  </a:lnTo>
                  <a:lnTo>
                    <a:pt x="14460" y="1889"/>
                  </a:lnTo>
                  <a:lnTo>
                    <a:pt x="14355" y="1605"/>
                  </a:lnTo>
                  <a:cubicBezTo>
                    <a:pt x="14271" y="1573"/>
                    <a:pt x="14188" y="1533"/>
                    <a:pt x="14107" y="1486"/>
                  </a:cubicBezTo>
                  <a:cubicBezTo>
                    <a:pt x="14008" y="1428"/>
                    <a:pt x="13911" y="1359"/>
                    <a:pt x="13817" y="1279"/>
                  </a:cubicBezTo>
                  <a:lnTo>
                    <a:pt x="13451" y="1078"/>
                  </a:lnTo>
                  <a:lnTo>
                    <a:pt x="13212" y="945"/>
                  </a:lnTo>
                  <a:lnTo>
                    <a:pt x="12842" y="766"/>
                  </a:lnTo>
                  <a:lnTo>
                    <a:pt x="12603" y="849"/>
                  </a:lnTo>
                  <a:lnTo>
                    <a:pt x="12436" y="968"/>
                  </a:lnTo>
                  <a:lnTo>
                    <a:pt x="12291" y="899"/>
                  </a:lnTo>
                  <a:lnTo>
                    <a:pt x="12112" y="639"/>
                  </a:lnTo>
                  <a:lnTo>
                    <a:pt x="11879" y="402"/>
                  </a:lnTo>
                  <a:lnTo>
                    <a:pt x="11669" y="320"/>
                  </a:lnTo>
                  <a:lnTo>
                    <a:pt x="11486" y="252"/>
                  </a:lnTo>
                  <a:lnTo>
                    <a:pt x="11279" y="156"/>
                  </a:lnTo>
                  <a:lnTo>
                    <a:pt x="11086" y="73"/>
                  </a:lnTo>
                  <a:lnTo>
                    <a:pt x="10931" y="18"/>
                  </a:lnTo>
                  <a:lnTo>
                    <a:pt x="10715" y="114"/>
                  </a:lnTo>
                  <a:lnTo>
                    <a:pt x="10556" y="192"/>
                  </a:lnTo>
                  <a:lnTo>
                    <a:pt x="10395" y="137"/>
                  </a:lnTo>
                  <a:lnTo>
                    <a:pt x="10285" y="82"/>
                  </a:lnTo>
                  <a:lnTo>
                    <a:pt x="10146" y="27"/>
                  </a:lnTo>
                  <a:lnTo>
                    <a:pt x="10010" y="0"/>
                  </a:lnTo>
                  <a:lnTo>
                    <a:pt x="9706" y="83"/>
                  </a:lnTo>
                  <a:lnTo>
                    <a:pt x="9387" y="184"/>
                  </a:lnTo>
                  <a:lnTo>
                    <a:pt x="8981" y="564"/>
                  </a:lnTo>
                  <a:lnTo>
                    <a:pt x="8797" y="728"/>
                  </a:lnTo>
                  <a:lnTo>
                    <a:pt x="8584" y="783"/>
                  </a:lnTo>
                  <a:lnTo>
                    <a:pt x="8320" y="915"/>
                  </a:lnTo>
                  <a:lnTo>
                    <a:pt x="8160" y="996"/>
                  </a:lnTo>
                  <a:lnTo>
                    <a:pt x="7967" y="1147"/>
                  </a:lnTo>
                  <a:lnTo>
                    <a:pt x="7886" y="1297"/>
                  </a:lnTo>
                  <a:lnTo>
                    <a:pt x="7888" y="1470"/>
                  </a:lnTo>
                  <a:lnTo>
                    <a:pt x="7855" y="1675"/>
                  </a:lnTo>
                  <a:lnTo>
                    <a:pt x="7776" y="1784"/>
                  </a:lnTo>
                  <a:lnTo>
                    <a:pt x="7655" y="1839"/>
                  </a:lnTo>
                  <a:lnTo>
                    <a:pt x="7530" y="1894"/>
                  </a:lnTo>
                  <a:lnTo>
                    <a:pt x="7376" y="2183"/>
                  </a:lnTo>
                  <a:lnTo>
                    <a:pt x="7276" y="2430"/>
                  </a:lnTo>
                  <a:lnTo>
                    <a:pt x="7123" y="2673"/>
                  </a:lnTo>
                  <a:lnTo>
                    <a:pt x="7099" y="2824"/>
                  </a:lnTo>
                  <a:lnTo>
                    <a:pt x="7051" y="3056"/>
                  </a:lnTo>
                  <a:lnTo>
                    <a:pt x="6924" y="3316"/>
                  </a:lnTo>
                  <a:lnTo>
                    <a:pt x="6795" y="3550"/>
                  </a:lnTo>
                  <a:lnTo>
                    <a:pt x="6610" y="3688"/>
                  </a:lnTo>
                  <a:lnTo>
                    <a:pt x="6375" y="3930"/>
                  </a:lnTo>
                  <a:lnTo>
                    <a:pt x="6295" y="4053"/>
                  </a:lnTo>
                  <a:lnTo>
                    <a:pt x="6207" y="4241"/>
                  </a:lnTo>
                  <a:lnTo>
                    <a:pt x="6072" y="4323"/>
                  </a:lnTo>
                  <a:lnTo>
                    <a:pt x="5796" y="4429"/>
                  </a:lnTo>
                  <a:lnTo>
                    <a:pt x="5615" y="4524"/>
                  </a:lnTo>
                  <a:lnTo>
                    <a:pt x="5511" y="4647"/>
                  </a:lnTo>
                  <a:lnTo>
                    <a:pt x="5386" y="4780"/>
                  </a:lnTo>
                  <a:lnTo>
                    <a:pt x="5249" y="4999"/>
                  </a:lnTo>
                  <a:lnTo>
                    <a:pt x="5158" y="5155"/>
                  </a:lnTo>
                  <a:lnTo>
                    <a:pt x="5088" y="5329"/>
                  </a:lnTo>
                  <a:lnTo>
                    <a:pt x="5065" y="5480"/>
                  </a:lnTo>
                  <a:lnTo>
                    <a:pt x="5065" y="5754"/>
                  </a:lnTo>
                  <a:lnTo>
                    <a:pt x="5089" y="5900"/>
                  </a:lnTo>
                  <a:lnTo>
                    <a:pt x="5118" y="6123"/>
                  </a:lnTo>
                  <a:lnTo>
                    <a:pt x="5094" y="6315"/>
                  </a:lnTo>
                  <a:lnTo>
                    <a:pt x="5118" y="6590"/>
                  </a:lnTo>
                  <a:lnTo>
                    <a:pt x="5312" y="6948"/>
                  </a:lnTo>
                  <a:lnTo>
                    <a:pt x="5497" y="7278"/>
                  </a:lnTo>
                  <a:lnTo>
                    <a:pt x="5698" y="7360"/>
                  </a:lnTo>
                  <a:lnTo>
                    <a:pt x="6010" y="7347"/>
                  </a:lnTo>
                  <a:lnTo>
                    <a:pt x="6179" y="7123"/>
                  </a:lnTo>
                  <a:lnTo>
                    <a:pt x="6421" y="6806"/>
                  </a:lnTo>
                  <a:lnTo>
                    <a:pt x="6673" y="6770"/>
                  </a:lnTo>
                  <a:lnTo>
                    <a:pt x="6722" y="7029"/>
                  </a:lnTo>
                  <a:lnTo>
                    <a:pt x="6859" y="7341"/>
                  </a:lnTo>
                  <a:lnTo>
                    <a:pt x="6923" y="7657"/>
                  </a:lnTo>
                  <a:lnTo>
                    <a:pt x="7026" y="7817"/>
                  </a:lnTo>
                  <a:lnTo>
                    <a:pt x="7026" y="8065"/>
                  </a:lnTo>
                  <a:lnTo>
                    <a:pt x="7034" y="8312"/>
                  </a:lnTo>
                  <a:lnTo>
                    <a:pt x="7120" y="8458"/>
                  </a:lnTo>
                  <a:lnTo>
                    <a:pt x="7192" y="8650"/>
                  </a:lnTo>
                  <a:lnTo>
                    <a:pt x="7493" y="8925"/>
                  </a:lnTo>
                  <a:lnTo>
                    <a:pt x="7581" y="8833"/>
                  </a:lnTo>
                  <a:lnTo>
                    <a:pt x="7850" y="8512"/>
                  </a:lnTo>
                  <a:lnTo>
                    <a:pt x="7962" y="8471"/>
                  </a:lnTo>
                  <a:lnTo>
                    <a:pt x="8086" y="8224"/>
                  </a:lnTo>
                  <a:lnTo>
                    <a:pt x="8142" y="7954"/>
                  </a:lnTo>
                  <a:lnTo>
                    <a:pt x="8118" y="7546"/>
                  </a:lnTo>
                  <a:lnTo>
                    <a:pt x="8183" y="7331"/>
                  </a:lnTo>
                  <a:lnTo>
                    <a:pt x="8408" y="7069"/>
                  </a:lnTo>
                  <a:lnTo>
                    <a:pt x="8596" y="6868"/>
                  </a:lnTo>
                  <a:lnTo>
                    <a:pt x="8782" y="6652"/>
                  </a:lnTo>
                  <a:lnTo>
                    <a:pt x="8870" y="6378"/>
                  </a:lnTo>
                  <a:lnTo>
                    <a:pt x="8870" y="6199"/>
                  </a:lnTo>
                  <a:lnTo>
                    <a:pt x="8675" y="6099"/>
                  </a:lnTo>
                  <a:lnTo>
                    <a:pt x="8400" y="5782"/>
                  </a:lnTo>
                  <a:cubicBezTo>
                    <a:pt x="8345" y="5725"/>
                    <a:pt x="8303" y="5638"/>
                    <a:pt x="8280" y="5535"/>
                  </a:cubicBezTo>
                  <a:cubicBezTo>
                    <a:pt x="8253" y="5415"/>
                    <a:pt x="8255" y="5284"/>
                    <a:pt x="8280" y="5163"/>
                  </a:cubicBezTo>
                  <a:cubicBezTo>
                    <a:pt x="8308" y="5024"/>
                    <a:pt x="8366" y="4907"/>
                    <a:pt x="8441" y="4834"/>
                  </a:cubicBezTo>
                  <a:cubicBezTo>
                    <a:pt x="8456" y="4723"/>
                    <a:pt x="8474" y="4613"/>
                    <a:pt x="8494" y="4505"/>
                  </a:cubicBezTo>
                  <a:cubicBezTo>
                    <a:pt x="8510" y="4424"/>
                    <a:pt x="8527" y="4342"/>
                    <a:pt x="8558" y="4276"/>
                  </a:cubicBezTo>
                  <a:cubicBezTo>
                    <a:pt x="8643" y="4100"/>
                    <a:pt x="8795" y="4075"/>
                    <a:pt x="8897" y="4221"/>
                  </a:cubicBezTo>
                  <a:cubicBezTo>
                    <a:pt x="8958" y="4155"/>
                    <a:pt x="9013" y="4077"/>
                    <a:pt x="9061" y="3987"/>
                  </a:cubicBezTo>
                  <a:cubicBezTo>
                    <a:pt x="9136" y="3848"/>
                    <a:pt x="9193" y="3684"/>
                    <a:pt x="9260" y="3534"/>
                  </a:cubicBezTo>
                  <a:cubicBezTo>
                    <a:pt x="9306" y="3430"/>
                    <a:pt x="9356" y="3332"/>
                    <a:pt x="9405" y="3232"/>
                  </a:cubicBezTo>
                  <a:cubicBezTo>
                    <a:pt x="9452" y="3137"/>
                    <a:pt x="9497" y="3041"/>
                    <a:pt x="9542" y="2943"/>
                  </a:cubicBezTo>
                  <a:lnTo>
                    <a:pt x="9832" y="2723"/>
                  </a:lnTo>
                  <a:lnTo>
                    <a:pt x="9993" y="2545"/>
                  </a:lnTo>
                  <a:lnTo>
                    <a:pt x="10111" y="2705"/>
                  </a:lnTo>
                  <a:lnTo>
                    <a:pt x="10183" y="2884"/>
                  </a:lnTo>
                  <a:lnTo>
                    <a:pt x="10183" y="3144"/>
                  </a:lnTo>
                  <a:lnTo>
                    <a:pt x="10098" y="3332"/>
                  </a:lnTo>
                  <a:lnTo>
                    <a:pt x="10098" y="3689"/>
                  </a:lnTo>
                  <a:lnTo>
                    <a:pt x="10082" y="3859"/>
                  </a:lnTo>
                  <a:lnTo>
                    <a:pt x="9930" y="3957"/>
                  </a:lnTo>
                  <a:lnTo>
                    <a:pt x="9906" y="4204"/>
                  </a:lnTo>
                  <a:lnTo>
                    <a:pt x="9849" y="4492"/>
                  </a:lnTo>
                  <a:lnTo>
                    <a:pt x="9683" y="4633"/>
                  </a:lnTo>
                  <a:lnTo>
                    <a:pt x="9586" y="4780"/>
                  </a:lnTo>
                  <a:lnTo>
                    <a:pt x="9482" y="5082"/>
                  </a:lnTo>
                  <a:lnTo>
                    <a:pt x="9514" y="5403"/>
                  </a:lnTo>
                  <a:lnTo>
                    <a:pt x="9716" y="5586"/>
                  </a:lnTo>
                  <a:cubicBezTo>
                    <a:pt x="9796" y="5549"/>
                    <a:pt x="9881" y="5586"/>
                    <a:pt x="9941" y="5682"/>
                  </a:cubicBezTo>
                  <a:cubicBezTo>
                    <a:pt x="9990" y="5760"/>
                    <a:pt x="10017" y="5871"/>
                    <a:pt x="10065" y="5951"/>
                  </a:cubicBezTo>
                  <a:cubicBezTo>
                    <a:pt x="10132" y="6062"/>
                    <a:pt x="10229" y="6103"/>
                    <a:pt x="10318" y="6056"/>
                  </a:cubicBezTo>
                  <a:lnTo>
                    <a:pt x="10508" y="6070"/>
                  </a:lnTo>
                  <a:lnTo>
                    <a:pt x="10731" y="6002"/>
                  </a:lnTo>
                  <a:lnTo>
                    <a:pt x="10946" y="5851"/>
                  </a:lnTo>
                  <a:lnTo>
                    <a:pt x="11105" y="5786"/>
                  </a:lnTo>
                  <a:lnTo>
                    <a:pt x="11391" y="5848"/>
                  </a:lnTo>
                  <a:lnTo>
                    <a:pt x="11503" y="6039"/>
                  </a:lnTo>
                  <a:lnTo>
                    <a:pt x="11785" y="6094"/>
                  </a:lnTo>
                  <a:lnTo>
                    <a:pt x="11854" y="6226"/>
                  </a:lnTo>
                  <a:lnTo>
                    <a:pt x="11801" y="6390"/>
                  </a:lnTo>
                  <a:lnTo>
                    <a:pt x="11600" y="6542"/>
                  </a:lnTo>
                  <a:lnTo>
                    <a:pt x="11427" y="6730"/>
                  </a:lnTo>
                  <a:lnTo>
                    <a:pt x="11242" y="6739"/>
                  </a:lnTo>
                  <a:lnTo>
                    <a:pt x="11084" y="6698"/>
                  </a:lnTo>
                  <a:lnTo>
                    <a:pt x="10942" y="6629"/>
                  </a:lnTo>
                  <a:lnTo>
                    <a:pt x="10752" y="6588"/>
                  </a:lnTo>
                  <a:lnTo>
                    <a:pt x="10578" y="6629"/>
                  </a:lnTo>
                  <a:lnTo>
                    <a:pt x="10435" y="6670"/>
                  </a:lnTo>
                  <a:lnTo>
                    <a:pt x="10291" y="6748"/>
                  </a:lnTo>
                  <a:lnTo>
                    <a:pt x="10218" y="6936"/>
                  </a:lnTo>
                  <a:lnTo>
                    <a:pt x="10315" y="7045"/>
                  </a:lnTo>
                  <a:lnTo>
                    <a:pt x="10580" y="7535"/>
                  </a:lnTo>
                  <a:lnTo>
                    <a:pt x="10580" y="7737"/>
                  </a:lnTo>
                  <a:lnTo>
                    <a:pt x="10500" y="7925"/>
                  </a:lnTo>
                  <a:lnTo>
                    <a:pt x="10333" y="8021"/>
                  </a:lnTo>
                  <a:lnTo>
                    <a:pt x="10285" y="8145"/>
                  </a:lnTo>
                  <a:lnTo>
                    <a:pt x="10181" y="8076"/>
                  </a:lnTo>
                  <a:lnTo>
                    <a:pt x="10133" y="7815"/>
                  </a:lnTo>
                  <a:lnTo>
                    <a:pt x="10012" y="7706"/>
                  </a:lnTo>
                  <a:lnTo>
                    <a:pt x="9771" y="7733"/>
                  </a:lnTo>
                  <a:lnTo>
                    <a:pt x="9701" y="7811"/>
                  </a:lnTo>
                  <a:lnTo>
                    <a:pt x="9701" y="8017"/>
                  </a:lnTo>
                  <a:lnTo>
                    <a:pt x="9581" y="8163"/>
                  </a:lnTo>
                  <a:lnTo>
                    <a:pt x="9597" y="8488"/>
                  </a:lnTo>
                  <a:lnTo>
                    <a:pt x="9637" y="8686"/>
                  </a:lnTo>
                  <a:lnTo>
                    <a:pt x="9693" y="8944"/>
                  </a:lnTo>
                  <a:lnTo>
                    <a:pt x="9588" y="9131"/>
                  </a:lnTo>
                  <a:lnTo>
                    <a:pt x="9435" y="9310"/>
                  </a:lnTo>
                  <a:lnTo>
                    <a:pt x="9298" y="9530"/>
                  </a:lnTo>
                  <a:lnTo>
                    <a:pt x="9180" y="9627"/>
                  </a:lnTo>
                  <a:lnTo>
                    <a:pt x="9092" y="9735"/>
                  </a:lnTo>
                  <a:lnTo>
                    <a:pt x="8983" y="9736"/>
                  </a:lnTo>
                  <a:cubicBezTo>
                    <a:pt x="8962" y="9703"/>
                    <a:pt x="8942" y="9671"/>
                    <a:pt x="8921" y="9640"/>
                  </a:cubicBezTo>
                  <a:cubicBezTo>
                    <a:pt x="8891" y="9595"/>
                    <a:pt x="8861" y="9551"/>
                    <a:pt x="8830" y="9508"/>
                  </a:cubicBezTo>
                  <a:lnTo>
                    <a:pt x="8564" y="9467"/>
                  </a:lnTo>
                  <a:lnTo>
                    <a:pt x="8300" y="9659"/>
                  </a:lnTo>
                  <a:lnTo>
                    <a:pt x="7986" y="9865"/>
                  </a:lnTo>
                  <a:lnTo>
                    <a:pt x="7905" y="9974"/>
                  </a:lnTo>
                  <a:lnTo>
                    <a:pt x="7739" y="10070"/>
                  </a:lnTo>
                  <a:lnTo>
                    <a:pt x="7634" y="10001"/>
                  </a:lnTo>
                  <a:lnTo>
                    <a:pt x="7465" y="9864"/>
                  </a:lnTo>
                  <a:lnTo>
                    <a:pt x="7314" y="9781"/>
                  </a:lnTo>
                  <a:lnTo>
                    <a:pt x="7226" y="9644"/>
                  </a:lnTo>
                  <a:lnTo>
                    <a:pt x="7149" y="9740"/>
                  </a:lnTo>
                  <a:lnTo>
                    <a:pt x="6975" y="9746"/>
                  </a:lnTo>
                  <a:lnTo>
                    <a:pt x="6769" y="9966"/>
                  </a:lnTo>
                  <a:lnTo>
                    <a:pt x="6586" y="9828"/>
                  </a:lnTo>
                  <a:lnTo>
                    <a:pt x="6498" y="9655"/>
                  </a:lnTo>
                  <a:lnTo>
                    <a:pt x="6359" y="9499"/>
                  </a:lnTo>
                  <a:lnTo>
                    <a:pt x="6246" y="9210"/>
                  </a:lnTo>
                  <a:lnTo>
                    <a:pt x="6332" y="9059"/>
                  </a:lnTo>
                  <a:lnTo>
                    <a:pt x="6468" y="9059"/>
                  </a:lnTo>
                  <a:lnTo>
                    <a:pt x="6436" y="9269"/>
                  </a:lnTo>
                  <a:lnTo>
                    <a:pt x="6594" y="9356"/>
                  </a:lnTo>
                  <a:lnTo>
                    <a:pt x="6642" y="9122"/>
                  </a:lnTo>
                  <a:lnTo>
                    <a:pt x="6779" y="9264"/>
                  </a:lnTo>
                  <a:lnTo>
                    <a:pt x="6939" y="9386"/>
                  </a:lnTo>
                  <a:lnTo>
                    <a:pt x="7020" y="9181"/>
                  </a:lnTo>
                  <a:lnTo>
                    <a:pt x="7095" y="8939"/>
                  </a:lnTo>
                  <a:lnTo>
                    <a:pt x="7009" y="8646"/>
                  </a:lnTo>
                  <a:lnTo>
                    <a:pt x="6883" y="8491"/>
                  </a:lnTo>
                  <a:lnTo>
                    <a:pt x="6741" y="8555"/>
                  </a:lnTo>
                  <a:lnTo>
                    <a:pt x="6645" y="8802"/>
                  </a:lnTo>
                  <a:lnTo>
                    <a:pt x="6668" y="8966"/>
                  </a:lnTo>
                  <a:lnTo>
                    <a:pt x="6572" y="8980"/>
                  </a:lnTo>
                  <a:lnTo>
                    <a:pt x="6524" y="8733"/>
                  </a:lnTo>
                  <a:lnTo>
                    <a:pt x="6425" y="8870"/>
                  </a:lnTo>
                  <a:lnTo>
                    <a:pt x="6282" y="8896"/>
                  </a:lnTo>
                  <a:lnTo>
                    <a:pt x="6298" y="8622"/>
                  </a:lnTo>
                  <a:lnTo>
                    <a:pt x="6338" y="8473"/>
                  </a:lnTo>
                  <a:lnTo>
                    <a:pt x="6394" y="8309"/>
                  </a:lnTo>
                  <a:lnTo>
                    <a:pt x="6394" y="7953"/>
                  </a:lnTo>
                  <a:lnTo>
                    <a:pt x="6380" y="7651"/>
                  </a:lnTo>
                  <a:lnTo>
                    <a:pt x="6254" y="7719"/>
                  </a:lnTo>
                  <a:lnTo>
                    <a:pt x="6189" y="7989"/>
                  </a:lnTo>
                  <a:lnTo>
                    <a:pt x="6096" y="8126"/>
                  </a:lnTo>
                  <a:lnTo>
                    <a:pt x="5932" y="8300"/>
                  </a:lnTo>
                  <a:lnTo>
                    <a:pt x="5836" y="8520"/>
                  </a:lnTo>
                  <a:lnTo>
                    <a:pt x="5819" y="8717"/>
                  </a:lnTo>
                  <a:lnTo>
                    <a:pt x="5921" y="8917"/>
                  </a:lnTo>
                  <a:lnTo>
                    <a:pt x="5974" y="9081"/>
                  </a:lnTo>
                  <a:lnTo>
                    <a:pt x="5934" y="9324"/>
                  </a:lnTo>
                  <a:lnTo>
                    <a:pt x="6004" y="9512"/>
                  </a:lnTo>
                  <a:lnTo>
                    <a:pt x="6235" y="9416"/>
                  </a:lnTo>
                  <a:lnTo>
                    <a:pt x="6253" y="9581"/>
                  </a:lnTo>
                  <a:lnTo>
                    <a:pt x="6088" y="9704"/>
                  </a:lnTo>
                  <a:lnTo>
                    <a:pt x="6016" y="9787"/>
                  </a:lnTo>
                  <a:lnTo>
                    <a:pt x="5983" y="10057"/>
                  </a:lnTo>
                  <a:lnTo>
                    <a:pt x="5865" y="10144"/>
                  </a:lnTo>
                  <a:lnTo>
                    <a:pt x="5664" y="10172"/>
                  </a:lnTo>
                  <a:lnTo>
                    <a:pt x="5506" y="10172"/>
                  </a:lnTo>
                  <a:lnTo>
                    <a:pt x="5370" y="10240"/>
                  </a:lnTo>
                  <a:lnTo>
                    <a:pt x="5273" y="10337"/>
                  </a:lnTo>
                  <a:lnTo>
                    <a:pt x="5101" y="10364"/>
                  </a:lnTo>
                  <a:lnTo>
                    <a:pt x="5002" y="10364"/>
                  </a:lnTo>
                  <a:lnTo>
                    <a:pt x="4982" y="10538"/>
                  </a:lnTo>
                  <a:lnTo>
                    <a:pt x="4867" y="10739"/>
                  </a:lnTo>
                  <a:lnTo>
                    <a:pt x="4738" y="10945"/>
                  </a:lnTo>
                  <a:lnTo>
                    <a:pt x="4563" y="11169"/>
                  </a:lnTo>
                  <a:lnTo>
                    <a:pt x="4385" y="11316"/>
                  </a:lnTo>
                  <a:lnTo>
                    <a:pt x="4328" y="11463"/>
                  </a:lnTo>
                  <a:lnTo>
                    <a:pt x="4152" y="11706"/>
                  </a:lnTo>
                  <a:lnTo>
                    <a:pt x="4065" y="11719"/>
                  </a:lnTo>
                  <a:lnTo>
                    <a:pt x="3934" y="11751"/>
                  </a:lnTo>
                  <a:lnTo>
                    <a:pt x="3849" y="11911"/>
                  </a:lnTo>
                  <a:lnTo>
                    <a:pt x="3781" y="12158"/>
                  </a:lnTo>
                  <a:lnTo>
                    <a:pt x="3725" y="12255"/>
                  </a:lnTo>
                  <a:lnTo>
                    <a:pt x="3603" y="12585"/>
                  </a:lnTo>
                  <a:lnTo>
                    <a:pt x="3316" y="12676"/>
                  </a:lnTo>
                  <a:lnTo>
                    <a:pt x="3265" y="12951"/>
                  </a:lnTo>
                  <a:lnTo>
                    <a:pt x="3134" y="12987"/>
                  </a:lnTo>
                  <a:lnTo>
                    <a:pt x="3035" y="12919"/>
                  </a:lnTo>
                  <a:lnTo>
                    <a:pt x="2939" y="12754"/>
                  </a:lnTo>
                  <a:cubicBezTo>
                    <a:pt x="2886" y="12812"/>
                    <a:pt x="2837" y="12876"/>
                    <a:pt x="2790" y="12947"/>
                  </a:cubicBezTo>
                  <a:cubicBezTo>
                    <a:pt x="2744" y="13015"/>
                    <a:pt x="2702" y="13088"/>
                    <a:pt x="2663" y="13166"/>
                  </a:cubicBezTo>
                  <a:lnTo>
                    <a:pt x="2511" y="13235"/>
                  </a:lnTo>
                  <a:lnTo>
                    <a:pt x="2334" y="13327"/>
                  </a:lnTo>
                  <a:lnTo>
                    <a:pt x="2256" y="13258"/>
                  </a:lnTo>
                  <a:lnTo>
                    <a:pt x="2079" y="13176"/>
                  </a:lnTo>
                  <a:lnTo>
                    <a:pt x="1886" y="13313"/>
                  </a:lnTo>
                  <a:lnTo>
                    <a:pt x="1701" y="13451"/>
                  </a:lnTo>
                  <a:lnTo>
                    <a:pt x="1776" y="13589"/>
                  </a:lnTo>
                  <a:lnTo>
                    <a:pt x="1890" y="13693"/>
                  </a:lnTo>
                  <a:lnTo>
                    <a:pt x="2105" y="13776"/>
                  </a:lnTo>
                  <a:lnTo>
                    <a:pt x="2379" y="13955"/>
                  </a:lnTo>
                  <a:lnTo>
                    <a:pt x="2554" y="14129"/>
                  </a:lnTo>
                  <a:lnTo>
                    <a:pt x="2659" y="14413"/>
                  </a:lnTo>
                  <a:lnTo>
                    <a:pt x="2704" y="14587"/>
                  </a:lnTo>
                  <a:lnTo>
                    <a:pt x="2768" y="14861"/>
                  </a:lnTo>
                  <a:lnTo>
                    <a:pt x="2792" y="15475"/>
                  </a:lnTo>
                  <a:lnTo>
                    <a:pt x="2771" y="15814"/>
                  </a:lnTo>
                  <a:cubicBezTo>
                    <a:pt x="2745" y="15996"/>
                    <a:pt x="2708" y="16172"/>
                    <a:pt x="2661" y="16341"/>
                  </a:cubicBezTo>
                  <a:cubicBezTo>
                    <a:pt x="2629" y="16460"/>
                    <a:pt x="2591" y="16574"/>
                    <a:pt x="2549" y="16684"/>
                  </a:cubicBezTo>
                  <a:lnTo>
                    <a:pt x="2342" y="16817"/>
                  </a:lnTo>
                  <a:lnTo>
                    <a:pt x="2030" y="16830"/>
                  </a:lnTo>
                  <a:lnTo>
                    <a:pt x="1856" y="16830"/>
                  </a:lnTo>
                  <a:lnTo>
                    <a:pt x="1549" y="16804"/>
                  </a:lnTo>
                  <a:lnTo>
                    <a:pt x="1329" y="16707"/>
                  </a:lnTo>
                  <a:lnTo>
                    <a:pt x="970" y="16537"/>
                  </a:lnTo>
                  <a:lnTo>
                    <a:pt x="739" y="16469"/>
                  </a:lnTo>
                  <a:lnTo>
                    <a:pt x="478" y="16547"/>
                  </a:lnTo>
                  <a:lnTo>
                    <a:pt x="293" y="16647"/>
                  </a:lnTo>
                  <a:lnTo>
                    <a:pt x="164" y="17042"/>
                  </a:lnTo>
                  <a:lnTo>
                    <a:pt x="199" y="17371"/>
                  </a:lnTo>
                  <a:lnTo>
                    <a:pt x="231" y="17765"/>
                  </a:lnTo>
                  <a:lnTo>
                    <a:pt x="199" y="18217"/>
                  </a:lnTo>
                  <a:lnTo>
                    <a:pt x="86" y="18602"/>
                  </a:lnTo>
                  <a:lnTo>
                    <a:pt x="24" y="19028"/>
                  </a:lnTo>
                  <a:lnTo>
                    <a:pt x="0" y="19390"/>
                  </a:lnTo>
                  <a:lnTo>
                    <a:pt x="32" y="19623"/>
                  </a:lnTo>
                  <a:lnTo>
                    <a:pt x="105" y="19880"/>
                  </a:lnTo>
                  <a:lnTo>
                    <a:pt x="97" y="20137"/>
                  </a:lnTo>
                  <a:lnTo>
                    <a:pt x="40" y="20343"/>
                  </a:lnTo>
                  <a:lnTo>
                    <a:pt x="81" y="20612"/>
                  </a:lnTo>
                  <a:lnTo>
                    <a:pt x="245" y="20708"/>
                  </a:lnTo>
                  <a:lnTo>
                    <a:pt x="417" y="20644"/>
                  </a:lnTo>
                  <a:lnTo>
                    <a:pt x="624" y="20794"/>
                  </a:lnTo>
                  <a:lnTo>
                    <a:pt x="693" y="20881"/>
                  </a:lnTo>
                  <a:lnTo>
                    <a:pt x="1007" y="21211"/>
                  </a:lnTo>
                  <a:lnTo>
                    <a:pt x="1064" y="21408"/>
                  </a:lnTo>
                  <a:lnTo>
                    <a:pt x="1160" y="21436"/>
                  </a:lnTo>
                  <a:lnTo>
                    <a:pt x="1241" y="21600"/>
                  </a:lnTo>
                  <a:lnTo>
                    <a:pt x="1286" y="21437"/>
                  </a:lnTo>
                  <a:lnTo>
                    <a:pt x="1286" y="21236"/>
                  </a:lnTo>
                  <a:lnTo>
                    <a:pt x="1358" y="21119"/>
                  </a:lnTo>
                  <a:lnTo>
                    <a:pt x="1562" y="21092"/>
                  </a:lnTo>
                  <a:lnTo>
                    <a:pt x="1667" y="21105"/>
                  </a:lnTo>
                  <a:cubicBezTo>
                    <a:pt x="1731" y="21119"/>
                    <a:pt x="1796" y="21128"/>
                    <a:pt x="1860" y="21133"/>
                  </a:cubicBezTo>
                  <a:cubicBezTo>
                    <a:pt x="1936" y="21139"/>
                    <a:pt x="2011" y="21139"/>
                    <a:pt x="2086" y="21133"/>
                  </a:cubicBezTo>
                  <a:lnTo>
                    <a:pt x="2247" y="21051"/>
                  </a:lnTo>
                  <a:lnTo>
                    <a:pt x="2333" y="20941"/>
                  </a:lnTo>
                  <a:lnTo>
                    <a:pt x="2422" y="20693"/>
                  </a:lnTo>
                  <a:lnTo>
                    <a:pt x="2519" y="20556"/>
                  </a:lnTo>
                  <a:lnTo>
                    <a:pt x="2655" y="20387"/>
                  </a:lnTo>
                  <a:lnTo>
                    <a:pt x="2784" y="20214"/>
                  </a:lnTo>
                  <a:lnTo>
                    <a:pt x="2897" y="20063"/>
                  </a:lnTo>
                  <a:lnTo>
                    <a:pt x="2921" y="19885"/>
                  </a:lnTo>
                  <a:lnTo>
                    <a:pt x="2921" y="19541"/>
                  </a:lnTo>
                  <a:lnTo>
                    <a:pt x="2969" y="19349"/>
                  </a:lnTo>
                  <a:lnTo>
                    <a:pt x="3039" y="19161"/>
                  </a:lnTo>
                  <a:lnTo>
                    <a:pt x="3241" y="18748"/>
                  </a:lnTo>
                  <a:lnTo>
                    <a:pt x="3257" y="18515"/>
                  </a:lnTo>
                  <a:cubicBezTo>
                    <a:pt x="3267" y="18464"/>
                    <a:pt x="3283" y="18417"/>
                    <a:pt x="3305" y="18379"/>
                  </a:cubicBezTo>
                  <a:cubicBezTo>
                    <a:pt x="3367" y="18269"/>
                    <a:pt x="3459" y="18240"/>
                    <a:pt x="3541" y="18187"/>
                  </a:cubicBezTo>
                  <a:cubicBezTo>
                    <a:pt x="3616" y="18139"/>
                    <a:pt x="3685" y="18071"/>
                    <a:pt x="3745" y="17985"/>
                  </a:cubicBezTo>
                  <a:lnTo>
                    <a:pt x="3923" y="17728"/>
                  </a:lnTo>
                  <a:lnTo>
                    <a:pt x="4081" y="17581"/>
                  </a:lnTo>
                  <a:lnTo>
                    <a:pt x="4167" y="17554"/>
                  </a:lnTo>
                  <a:lnTo>
                    <a:pt x="4059" y="17247"/>
                  </a:lnTo>
                  <a:lnTo>
                    <a:pt x="3955" y="17261"/>
                  </a:lnTo>
                  <a:lnTo>
                    <a:pt x="3938" y="16973"/>
                  </a:lnTo>
                  <a:lnTo>
                    <a:pt x="4118" y="16859"/>
                  </a:lnTo>
                  <a:lnTo>
                    <a:pt x="4354" y="16726"/>
                  </a:lnTo>
                  <a:lnTo>
                    <a:pt x="4432" y="16658"/>
                  </a:lnTo>
                  <a:lnTo>
                    <a:pt x="4620" y="16554"/>
                  </a:lnTo>
                  <a:lnTo>
                    <a:pt x="4738" y="16663"/>
                  </a:lnTo>
                  <a:lnTo>
                    <a:pt x="4945" y="16842"/>
                  </a:lnTo>
                  <a:lnTo>
                    <a:pt x="5057" y="16801"/>
                  </a:lnTo>
                  <a:lnTo>
                    <a:pt x="5270" y="16614"/>
                  </a:lnTo>
                  <a:cubicBezTo>
                    <a:pt x="5348" y="16588"/>
                    <a:pt x="5424" y="16547"/>
                    <a:pt x="5495" y="16490"/>
                  </a:cubicBezTo>
                  <a:cubicBezTo>
                    <a:pt x="5582" y="16422"/>
                    <a:pt x="5661" y="16332"/>
                    <a:pt x="5732" y="16224"/>
                  </a:cubicBezTo>
                  <a:lnTo>
                    <a:pt x="5896" y="16096"/>
                  </a:lnTo>
                  <a:lnTo>
                    <a:pt x="6009" y="16027"/>
                  </a:lnTo>
                  <a:lnTo>
                    <a:pt x="6185" y="15959"/>
                  </a:lnTo>
                  <a:lnTo>
                    <a:pt x="6336" y="16187"/>
                  </a:lnTo>
                  <a:lnTo>
                    <a:pt x="6513" y="16558"/>
                  </a:lnTo>
                  <a:lnTo>
                    <a:pt x="6478" y="16957"/>
                  </a:lnTo>
                  <a:lnTo>
                    <a:pt x="6566" y="17191"/>
                  </a:lnTo>
                  <a:cubicBezTo>
                    <a:pt x="6627" y="17266"/>
                    <a:pt x="6693" y="17327"/>
                    <a:pt x="6762" y="17374"/>
                  </a:cubicBezTo>
                  <a:cubicBezTo>
                    <a:pt x="6828" y="17418"/>
                    <a:pt x="6896" y="17449"/>
                    <a:pt x="6961" y="17493"/>
                  </a:cubicBezTo>
                  <a:cubicBezTo>
                    <a:pt x="7076" y="17571"/>
                    <a:pt x="7181" y="17688"/>
                    <a:pt x="7268" y="17837"/>
                  </a:cubicBezTo>
                  <a:lnTo>
                    <a:pt x="7381" y="17960"/>
                  </a:lnTo>
                  <a:lnTo>
                    <a:pt x="7502" y="18097"/>
                  </a:lnTo>
                  <a:lnTo>
                    <a:pt x="7652" y="18230"/>
                  </a:lnTo>
                  <a:lnTo>
                    <a:pt x="7765" y="18312"/>
                  </a:lnTo>
                  <a:lnTo>
                    <a:pt x="7950" y="18500"/>
                  </a:lnTo>
                  <a:lnTo>
                    <a:pt x="8004" y="18619"/>
                  </a:lnTo>
                  <a:lnTo>
                    <a:pt x="8122" y="18894"/>
                  </a:lnTo>
                  <a:lnTo>
                    <a:pt x="8273" y="19251"/>
                  </a:lnTo>
                  <a:lnTo>
                    <a:pt x="8399" y="19535"/>
                  </a:lnTo>
                  <a:lnTo>
                    <a:pt x="8203" y="19705"/>
                  </a:lnTo>
                  <a:lnTo>
                    <a:pt x="8232" y="19896"/>
                  </a:lnTo>
                  <a:lnTo>
                    <a:pt x="8184" y="20192"/>
                  </a:lnTo>
                  <a:lnTo>
                    <a:pt x="8313" y="20256"/>
                  </a:lnTo>
                  <a:lnTo>
                    <a:pt x="8369" y="20092"/>
                  </a:lnTo>
                  <a:lnTo>
                    <a:pt x="8471" y="19927"/>
                  </a:lnTo>
                  <a:lnTo>
                    <a:pt x="8584" y="19703"/>
                  </a:lnTo>
                  <a:lnTo>
                    <a:pt x="8621" y="19542"/>
                  </a:lnTo>
                  <a:lnTo>
                    <a:pt x="8570" y="19314"/>
                  </a:lnTo>
                  <a:lnTo>
                    <a:pt x="8522" y="19090"/>
                  </a:lnTo>
                  <a:lnTo>
                    <a:pt x="8493" y="18927"/>
                  </a:lnTo>
                  <a:lnTo>
                    <a:pt x="8573" y="18716"/>
                  </a:lnTo>
                  <a:lnTo>
                    <a:pt x="8735" y="18702"/>
                  </a:lnTo>
                  <a:lnTo>
                    <a:pt x="8831" y="18752"/>
                  </a:lnTo>
                  <a:lnTo>
                    <a:pt x="8888" y="18876"/>
                  </a:lnTo>
                  <a:lnTo>
                    <a:pt x="9070" y="18944"/>
                  </a:lnTo>
                  <a:lnTo>
                    <a:pt x="9159" y="18880"/>
                  </a:lnTo>
                  <a:lnTo>
                    <a:pt x="9054" y="18697"/>
                  </a:lnTo>
                  <a:lnTo>
                    <a:pt x="8898" y="18523"/>
                  </a:lnTo>
                  <a:lnTo>
                    <a:pt x="8594" y="18261"/>
                  </a:lnTo>
                  <a:lnTo>
                    <a:pt x="8368" y="18041"/>
                  </a:lnTo>
                  <a:lnTo>
                    <a:pt x="8097" y="17835"/>
                  </a:lnTo>
                  <a:lnTo>
                    <a:pt x="7917" y="17422"/>
                  </a:lnTo>
                  <a:lnTo>
                    <a:pt x="7716" y="17353"/>
                  </a:lnTo>
                  <a:lnTo>
                    <a:pt x="7485" y="16964"/>
                  </a:lnTo>
                  <a:lnTo>
                    <a:pt x="7541" y="16565"/>
                  </a:lnTo>
                  <a:lnTo>
                    <a:pt x="7398" y="16378"/>
                  </a:lnTo>
                  <a:lnTo>
                    <a:pt x="7222" y="16240"/>
                  </a:lnTo>
                  <a:lnTo>
                    <a:pt x="6975" y="15938"/>
                  </a:lnTo>
                  <a:lnTo>
                    <a:pt x="6974" y="15498"/>
                  </a:lnTo>
                  <a:lnTo>
                    <a:pt x="7213" y="15265"/>
                  </a:lnTo>
                  <a:lnTo>
                    <a:pt x="7388" y="15320"/>
                  </a:lnTo>
                  <a:lnTo>
                    <a:pt x="7527" y="15712"/>
                  </a:lnTo>
                  <a:lnTo>
                    <a:pt x="7790" y="15919"/>
                  </a:lnTo>
                  <a:cubicBezTo>
                    <a:pt x="7896" y="15936"/>
                    <a:pt x="7997" y="15992"/>
                    <a:pt x="8089" y="16084"/>
                  </a:cubicBezTo>
                  <a:cubicBezTo>
                    <a:pt x="8148" y="16143"/>
                    <a:pt x="8203" y="16217"/>
                    <a:pt x="8250" y="16304"/>
                  </a:cubicBezTo>
                  <a:lnTo>
                    <a:pt x="8390" y="16623"/>
                  </a:lnTo>
                  <a:lnTo>
                    <a:pt x="8497" y="16783"/>
                  </a:lnTo>
                  <a:lnTo>
                    <a:pt x="8659" y="16893"/>
                  </a:lnTo>
                  <a:cubicBezTo>
                    <a:pt x="8718" y="16911"/>
                    <a:pt x="8777" y="16939"/>
                    <a:pt x="8833" y="16975"/>
                  </a:cubicBezTo>
                  <a:cubicBezTo>
                    <a:pt x="8886" y="17009"/>
                    <a:pt x="8937" y="17050"/>
                    <a:pt x="8986" y="17098"/>
                  </a:cubicBezTo>
                  <a:lnTo>
                    <a:pt x="9201" y="17368"/>
                  </a:lnTo>
                  <a:lnTo>
                    <a:pt x="9367" y="17642"/>
                  </a:lnTo>
                  <a:lnTo>
                    <a:pt x="9448" y="18069"/>
                  </a:lnTo>
                  <a:lnTo>
                    <a:pt x="9472" y="18476"/>
                  </a:lnTo>
                  <a:lnTo>
                    <a:pt x="9480" y="18860"/>
                  </a:lnTo>
                  <a:lnTo>
                    <a:pt x="9606" y="19231"/>
                  </a:lnTo>
                  <a:lnTo>
                    <a:pt x="9708" y="19433"/>
                  </a:lnTo>
                  <a:lnTo>
                    <a:pt x="9931" y="19550"/>
                  </a:lnTo>
                  <a:lnTo>
                    <a:pt x="10097" y="19631"/>
                  </a:lnTo>
                  <a:lnTo>
                    <a:pt x="10223" y="19645"/>
                  </a:lnTo>
                  <a:lnTo>
                    <a:pt x="10379" y="19791"/>
                  </a:lnTo>
                  <a:lnTo>
                    <a:pt x="10473" y="19924"/>
                  </a:lnTo>
                  <a:lnTo>
                    <a:pt x="10384" y="20183"/>
                  </a:lnTo>
                  <a:lnTo>
                    <a:pt x="10159" y="20128"/>
                  </a:lnTo>
                  <a:lnTo>
                    <a:pt x="10073" y="20243"/>
                  </a:lnTo>
                  <a:lnTo>
                    <a:pt x="10193" y="20472"/>
                  </a:lnTo>
                  <a:lnTo>
                    <a:pt x="10266" y="20815"/>
                  </a:lnTo>
                  <a:cubicBezTo>
                    <a:pt x="10273" y="20912"/>
                    <a:pt x="10304" y="20999"/>
                    <a:pt x="10352" y="21053"/>
                  </a:cubicBezTo>
                  <a:cubicBezTo>
                    <a:pt x="10384" y="21090"/>
                    <a:pt x="10423" y="21109"/>
                    <a:pt x="10462" y="21108"/>
                  </a:cubicBezTo>
                  <a:lnTo>
                    <a:pt x="10696" y="20998"/>
                  </a:lnTo>
                  <a:lnTo>
                    <a:pt x="10712" y="20701"/>
                  </a:lnTo>
                  <a:cubicBezTo>
                    <a:pt x="10707" y="20596"/>
                    <a:pt x="10707" y="20491"/>
                    <a:pt x="10712" y="20387"/>
                  </a:cubicBezTo>
                  <a:cubicBezTo>
                    <a:pt x="10716" y="20296"/>
                    <a:pt x="10724" y="20206"/>
                    <a:pt x="10736" y="20117"/>
                  </a:cubicBezTo>
                  <a:cubicBezTo>
                    <a:pt x="10735" y="20034"/>
                    <a:pt x="10727" y="19953"/>
                    <a:pt x="10712" y="19874"/>
                  </a:cubicBezTo>
                  <a:cubicBezTo>
                    <a:pt x="10684" y="19724"/>
                    <a:pt x="10633" y="19589"/>
                    <a:pt x="10564" y="19484"/>
                  </a:cubicBezTo>
                  <a:lnTo>
                    <a:pt x="10443" y="19117"/>
                  </a:lnTo>
                  <a:cubicBezTo>
                    <a:pt x="10405" y="19035"/>
                    <a:pt x="10398" y="18922"/>
                    <a:pt x="10427" y="18829"/>
                  </a:cubicBezTo>
                  <a:cubicBezTo>
                    <a:pt x="10451" y="18751"/>
                    <a:pt x="10497" y="18700"/>
                    <a:pt x="10548" y="18692"/>
                  </a:cubicBezTo>
                  <a:lnTo>
                    <a:pt x="10680" y="18705"/>
                  </a:lnTo>
                  <a:lnTo>
                    <a:pt x="10811" y="18765"/>
                  </a:lnTo>
                  <a:lnTo>
                    <a:pt x="10929" y="18911"/>
                  </a:lnTo>
                  <a:lnTo>
                    <a:pt x="10953" y="18597"/>
                  </a:lnTo>
                  <a:lnTo>
                    <a:pt x="11025" y="18391"/>
                  </a:lnTo>
                  <a:lnTo>
                    <a:pt x="11310" y="18336"/>
                  </a:lnTo>
                  <a:lnTo>
                    <a:pt x="11533" y="18336"/>
                  </a:lnTo>
                  <a:lnTo>
                    <a:pt x="11766" y="18570"/>
                  </a:lnTo>
                  <a:lnTo>
                    <a:pt x="11991" y="18469"/>
                  </a:lnTo>
                  <a:lnTo>
                    <a:pt x="12104" y="18400"/>
                  </a:lnTo>
                  <a:lnTo>
                    <a:pt x="12392" y="18317"/>
                  </a:lnTo>
                  <a:lnTo>
                    <a:pt x="12469" y="18171"/>
                  </a:lnTo>
                  <a:cubicBezTo>
                    <a:pt x="12441" y="18118"/>
                    <a:pt x="12413" y="18066"/>
                    <a:pt x="12383" y="18015"/>
                  </a:cubicBezTo>
                  <a:cubicBezTo>
                    <a:pt x="12320" y="17907"/>
                    <a:pt x="12252" y="17806"/>
                    <a:pt x="12181" y="17713"/>
                  </a:cubicBezTo>
                  <a:cubicBezTo>
                    <a:pt x="12169" y="17590"/>
                    <a:pt x="12166" y="17465"/>
                    <a:pt x="12173" y="17342"/>
                  </a:cubicBezTo>
                  <a:cubicBezTo>
                    <a:pt x="12182" y="17201"/>
                    <a:pt x="12204" y="17063"/>
                    <a:pt x="12238" y="16934"/>
                  </a:cubicBezTo>
                  <a:lnTo>
                    <a:pt x="12262" y="16700"/>
                  </a:lnTo>
                  <a:lnTo>
                    <a:pt x="12383" y="16233"/>
                  </a:lnTo>
                  <a:lnTo>
                    <a:pt x="12447" y="15904"/>
                  </a:lnTo>
                  <a:lnTo>
                    <a:pt x="12552" y="15455"/>
                  </a:lnTo>
                  <a:lnTo>
                    <a:pt x="12671" y="15194"/>
                  </a:lnTo>
                  <a:lnTo>
                    <a:pt x="12888" y="14822"/>
                  </a:lnTo>
                  <a:lnTo>
                    <a:pt x="13179" y="14607"/>
                  </a:lnTo>
                  <a:lnTo>
                    <a:pt x="13407" y="14414"/>
                  </a:lnTo>
                  <a:lnTo>
                    <a:pt x="13485" y="14588"/>
                  </a:lnTo>
                  <a:lnTo>
                    <a:pt x="13485" y="14898"/>
                  </a:lnTo>
                  <a:lnTo>
                    <a:pt x="13692" y="14926"/>
                  </a:lnTo>
                  <a:lnTo>
                    <a:pt x="13794" y="15008"/>
                  </a:lnTo>
                  <a:lnTo>
                    <a:pt x="13842" y="15254"/>
                  </a:lnTo>
                  <a:lnTo>
                    <a:pt x="13659" y="15264"/>
                  </a:lnTo>
                  <a:lnTo>
                    <a:pt x="13643" y="15414"/>
                  </a:lnTo>
                  <a:lnTo>
                    <a:pt x="13845" y="15703"/>
                  </a:lnTo>
                  <a:lnTo>
                    <a:pt x="13960" y="15946"/>
                  </a:lnTo>
                  <a:lnTo>
                    <a:pt x="14162" y="15979"/>
                  </a:lnTo>
                  <a:lnTo>
                    <a:pt x="14250" y="15857"/>
                  </a:lnTo>
                  <a:lnTo>
                    <a:pt x="14403" y="15678"/>
                  </a:lnTo>
                  <a:lnTo>
                    <a:pt x="14752" y="15546"/>
                  </a:lnTo>
                  <a:lnTo>
                    <a:pt x="14728" y="15315"/>
                  </a:lnTo>
                  <a:lnTo>
                    <a:pt x="14639" y="15250"/>
                  </a:lnTo>
                  <a:lnTo>
                    <a:pt x="14489" y="15305"/>
                  </a:lnTo>
                  <a:cubicBezTo>
                    <a:pt x="14437" y="15251"/>
                    <a:pt x="14386" y="15193"/>
                    <a:pt x="14336" y="15132"/>
                  </a:cubicBezTo>
                  <a:cubicBezTo>
                    <a:pt x="14301" y="15088"/>
                    <a:pt x="14266" y="15042"/>
                    <a:pt x="14232" y="14994"/>
                  </a:cubicBezTo>
                  <a:lnTo>
                    <a:pt x="14288" y="14817"/>
                  </a:lnTo>
                  <a:lnTo>
                    <a:pt x="14447" y="14721"/>
                  </a:lnTo>
                  <a:lnTo>
                    <a:pt x="14613" y="14569"/>
                  </a:lnTo>
                  <a:lnTo>
                    <a:pt x="14824" y="14382"/>
                  </a:lnTo>
                  <a:lnTo>
                    <a:pt x="14966" y="14231"/>
                  </a:lnTo>
                  <a:lnTo>
                    <a:pt x="15155" y="14089"/>
                  </a:lnTo>
                  <a:lnTo>
                    <a:pt x="15299" y="14048"/>
                  </a:lnTo>
                  <a:lnTo>
                    <a:pt x="15474" y="14204"/>
                  </a:lnTo>
                  <a:lnTo>
                    <a:pt x="15391" y="14386"/>
                  </a:lnTo>
                  <a:lnTo>
                    <a:pt x="15273" y="14666"/>
                  </a:lnTo>
                  <a:lnTo>
                    <a:pt x="15265" y="14990"/>
                  </a:lnTo>
                  <a:lnTo>
                    <a:pt x="15230" y="15325"/>
                  </a:lnTo>
                  <a:lnTo>
                    <a:pt x="15118" y="15517"/>
                  </a:lnTo>
                  <a:lnTo>
                    <a:pt x="15096" y="15705"/>
                  </a:lnTo>
                  <a:lnTo>
                    <a:pt x="15233" y="15800"/>
                  </a:lnTo>
                  <a:cubicBezTo>
                    <a:pt x="15284" y="15813"/>
                    <a:pt x="15335" y="15836"/>
                    <a:pt x="15383" y="15869"/>
                  </a:cubicBezTo>
                  <a:cubicBezTo>
                    <a:pt x="15456" y="15919"/>
                    <a:pt x="15524" y="15992"/>
                    <a:pt x="15582" y="16084"/>
                  </a:cubicBezTo>
                  <a:lnTo>
                    <a:pt x="15792" y="16341"/>
                  </a:lnTo>
                  <a:lnTo>
                    <a:pt x="16009" y="16409"/>
                  </a:lnTo>
                  <a:lnTo>
                    <a:pt x="16163" y="16684"/>
                  </a:lnTo>
                  <a:lnTo>
                    <a:pt x="16364" y="16863"/>
                  </a:lnTo>
                  <a:lnTo>
                    <a:pt x="16519" y="17063"/>
                  </a:lnTo>
                  <a:lnTo>
                    <a:pt x="16602" y="17384"/>
                  </a:lnTo>
                  <a:lnTo>
                    <a:pt x="16900" y="17421"/>
                  </a:lnTo>
                  <a:lnTo>
                    <a:pt x="17231" y="17499"/>
                  </a:lnTo>
                  <a:lnTo>
                    <a:pt x="17545" y="17705"/>
                  </a:lnTo>
                  <a:lnTo>
                    <a:pt x="17840" y="17980"/>
                  </a:lnTo>
                  <a:lnTo>
                    <a:pt x="18090" y="18259"/>
                  </a:lnTo>
                  <a:lnTo>
                    <a:pt x="18475" y="18575"/>
                  </a:lnTo>
                  <a:lnTo>
                    <a:pt x="18792" y="18777"/>
                  </a:lnTo>
                  <a:lnTo>
                    <a:pt x="19129" y="19050"/>
                  </a:lnTo>
                  <a:lnTo>
                    <a:pt x="19351" y="19182"/>
                  </a:lnTo>
                  <a:lnTo>
                    <a:pt x="19359" y="18839"/>
                  </a:lnTo>
                  <a:lnTo>
                    <a:pt x="19201" y="18353"/>
                  </a:lnTo>
                  <a:lnTo>
                    <a:pt x="19056" y="17804"/>
                  </a:lnTo>
                  <a:lnTo>
                    <a:pt x="18836" y="17575"/>
                  </a:lnTo>
                  <a:lnTo>
                    <a:pt x="18691" y="17287"/>
                  </a:lnTo>
                  <a:lnTo>
                    <a:pt x="18580" y="17027"/>
                  </a:lnTo>
                  <a:lnTo>
                    <a:pt x="18437" y="16793"/>
                  </a:lnTo>
                  <a:lnTo>
                    <a:pt x="18437" y="16531"/>
                  </a:lnTo>
                  <a:lnTo>
                    <a:pt x="18220" y="16330"/>
                  </a:lnTo>
                  <a:lnTo>
                    <a:pt x="18064" y="15973"/>
                  </a:lnTo>
                  <a:lnTo>
                    <a:pt x="18247" y="15607"/>
                  </a:lnTo>
                  <a:lnTo>
                    <a:pt x="18424" y="15318"/>
                  </a:lnTo>
                  <a:lnTo>
                    <a:pt x="18655" y="15304"/>
                  </a:lnTo>
                  <a:lnTo>
                    <a:pt x="18759" y="15057"/>
                  </a:lnTo>
                  <a:cubicBezTo>
                    <a:pt x="18777" y="14995"/>
                    <a:pt x="18799" y="14935"/>
                    <a:pt x="18824" y="14880"/>
                  </a:cubicBezTo>
                  <a:cubicBezTo>
                    <a:pt x="18871" y="14776"/>
                    <a:pt x="18929" y="14689"/>
                    <a:pt x="18996" y="14623"/>
                  </a:cubicBezTo>
                  <a:lnTo>
                    <a:pt x="19321" y="14418"/>
                  </a:lnTo>
                  <a:lnTo>
                    <a:pt x="19622" y="14295"/>
                  </a:lnTo>
                  <a:lnTo>
                    <a:pt x="19459" y="13998"/>
                  </a:lnTo>
                  <a:lnTo>
                    <a:pt x="19352" y="13728"/>
                  </a:lnTo>
                  <a:lnTo>
                    <a:pt x="19263" y="13311"/>
                  </a:lnTo>
                  <a:lnTo>
                    <a:pt x="19263" y="12674"/>
                  </a:lnTo>
                  <a:lnTo>
                    <a:pt x="19094" y="12413"/>
                  </a:lnTo>
                  <a:lnTo>
                    <a:pt x="18905" y="12303"/>
                  </a:lnTo>
                  <a:lnTo>
                    <a:pt x="18825" y="11587"/>
                  </a:lnTo>
                  <a:lnTo>
                    <a:pt x="18825" y="11300"/>
                  </a:lnTo>
                  <a:lnTo>
                    <a:pt x="19026" y="11176"/>
                  </a:lnTo>
                  <a:lnTo>
                    <a:pt x="19153" y="11204"/>
                  </a:lnTo>
                  <a:lnTo>
                    <a:pt x="19685" y="11492"/>
                  </a:lnTo>
                  <a:lnTo>
                    <a:pt x="19916" y="11286"/>
                  </a:lnTo>
                  <a:lnTo>
                    <a:pt x="20085" y="11176"/>
                  </a:lnTo>
                  <a:lnTo>
                    <a:pt x="20330" y="11204"/>
                  </a:lnTo>
                  <a:lnTo>
                    <a:pt x="20504" y="11392"/>
                  </a:lnTo>
                  <a:lnTo>
                    <a:pt x="20892" y="11571"/>
                  </a:lnTo>
                  <a:lnTo>
                    <a:pt x="21279" y="11763"/>
                  </a:lnTo>
                  <a:lnTo>
                    <a:pt x="21416" y="11557"/>
                  </a:lnTo>
                  <a:lnTo>
                    <a:pt x="21488" y="11250"/>
                  </a:lnTo>
                  <a:lnTo>
                    <a:pt x="21480" y="10939"/>
                  </a:lnTo>
                  <a:lnTo>
                    <a:pt x="21585" y="10788"/>
                  </a:lnTo>
                  <a:lnTo>
                    <a:pt x="21472" y="10615"/>
                  </a:lnTo>
                  <a:lnTo>
                    <a:pt x="21445" y="10409"/>
                  </a:lnTo>
                  <a:lnTo>
                    <a:pt x="21539" y="10161"/>
                  </a:lnTo>
                  <a:lnTo>
                    <a:pt x="21600" y="9773"/>
                  </a:lnTo>
                  <a:lnTo>
                    <a:pt x="21449" y="9398"/>
                  </a:lnTo>
                  <a:lnTo>
                    <a:pt x="21248" y="9192"/>
                  </a:lnTo>
                  <a:lnTo>
                    <a:pt x="21117" y="9270"/>
                  </a:lnTo>
                  <a:lnTo>
                    <a:pt x="21077" y="9513"/>
                  </a:lnTo>
                  <a:lnTo>
                    <a:pt x="21021" y="9718"/>
                  </a:lnTo>
                  <a:lnTo>
                    <a:pt x="20909" y="9814"/>
                  </a:lnTo>
                  <a:lnTo>
                    <a:pt x="20756" y="9882"/>
                  </a:lnTo>
                  <a:lnTo>
                    <a:pt x="20592" y="9662"/>
                  </a:lnTo>
                  <a:lnTo>
                    <a:pt x="20385" y="9355"/>
                  </a:lnTo>
                  <a:lnTo>
                    <a:pt x="20422" y="9122"/>
                  </a:lnTo>
                  <a:lnTo>
                    <a:pt x="20264" y="8894"/>
                  </a:lnTo>
                  <a:lnTo>
                    <a:pt x="20434" y="8637"/>
                  </a:lnTo>
                  <a:lnTo>
                    <a:pt x="20710" y="8587"/>
                  </a:lnTo>
                  <a:lnTo>
                    <a:pt x="20858" y="8416"/>
                  </a:lnTo>
                  <a:lnTo>
                    <a:pt x="20898" y="8128"/>
                  </a:lnTo>
                  <a:lnTo>
                    <a:pt x="20858" y="7798"/>
                  </a:lnTo>
                  <a:lnTo>
                    <a:pt x="20732" y="7675"/>
                  </a:lnTo>
                  <a:lnTo>
                    <a:pt x="20644" y="7355"/>
                  </a:lnTo>
                  <a:lnTo>
                    <a:pt x="20491" y="7121"/>
                  </a:lnTo>
                  <a:lnTo>
                    <a:pt x="20507" y="6709"/>
                  </a:lnTo>
                  <a:lnTo>
                    <a:pt x="20499" y="6365"/>
                  </a:lnTo>
                  <a:lnTo>
                    <a:pt x="20459" y="5985"/>
                  </a:lnTo>
                  <a:lnTo>
                    <a:pt x="20451" y="5531"/>
                  </a:lnTo>
                  <a:lnTo>
                    <a:pt x="20370" y="5106"/>
                  </a:lnTo>
                  <a:lnTo>
                    <a:pt x="20231" y="4810"/>
                  </a:lnTo>
                  <a:lnTo>
                    <a:pt x="20145" y="4182"/>
                  </a:lnTo>
                  <a:lnTo>
                    <a:pt x="20065" y="3716"/>
                  </a:lnTo>
                  <a:lnTo>
                    <a:pt x="19979" y="3404"/>
                  </a:lnTo>
                  <a:lnTo>
                    <a:pt x="19963" y="3062"/>
                  </a:lnTo>
                  <a:lnTo>
                    <a:pt x="20091" y="2842"/>
                  </a:lnTo>
                  <a:lnTo>
                    <a:pt x="20317" y="2737"/>
                  </a:lnTo>
                  <a:lnTo>
                    <a:pt x="20570" y="2546"/>
                  </a:lnTo>
                  <a:lnTo>
                    <a:pt x="20683" y="2340"/>
                  </a:lnTo>
                  <a:lnTo>
                    <a:pt x="20965" y="2162"/>
                  </a:lnTo>
                  <a:lnTo>
                    <a:pt x="21059" y="2043"/>
                  </a:lnTo>
                  <a:lnTo>
                    <a:pt x="21076" y="1814"/>
                  </a:lnTo>
                  <a:lnTo>
                    <a:pt x="21092" y="1581"/>
                  </a:lnTo>
                  <a:lnTo>
                    <a:pt x="20928" y="1371"/>
                  </a:lnTo>
                  <a:lnTo>
                    <a:pt x="20807" y="1150"/>
                  </a:lnTo>
                  <a:close/>
                </a:path>
              </a:pathLst>
            </a:custGeom>
            <a:grpFill/>
            <a:ln w="25400" cap="flat">
              <a:noFill/>
              <a:prstDash val="solid"/>
              <a:miter lim="400000"/>
            </a:ln>
            <a:effectLst/>
          </p:spPr>
          <p:txBody>
            <a:bodyPr anchor="ctr"/>
            <a:lstStyle/>
            <a:p>
              <a:pPr algn="ctr"/>
              <a:endParaRPr/>
            </a:p>
          </p:txBody>
        </p:sp>
        <p:sp>
          <p:nvSpPr>
            <p:cNvPr id="114" name="任意多边形: 形状 113">
              <a:extLst>
                <a:ext uri="{FF2B5EF4-FFF2-40B4-BE49-F238E27FC236}">
                  <a16:creationId xmlns:a16="http://schemas.microsoft.com/office/drawing/2014/main" id="{1E9F246D-FB29-4B13-B33C-1DBDD4FA5AC6}"/>
                </a:ext>
              </a:extLst>
            </p:cNvPr>
            <p:cNvSpPr/>
            <p:nvPr/>
          </p:nvSpPr>
          <p:spPr>
            <a:xfrm>
              <a:off x="6872934" y="1426645"/>
              <a:ext cx="308560" cy="179738"/>
            </a:xfrm>
            <a:custGeom>
              <a:avLst/>
              <a:gdLst/>
              <a:ahLst/>
              <a:cxnLst>
                <a:cxn ang="0">
                  <a:pos x="wd2" y="hd2"/>
                </a:cxn>
                <a:cxn ang="5400000">
                  <a:pos x="wd2" y="hd2"/>
                </a:cxn>
                <a:cxn ang="10800000">
                  <a:pos x="wd2" y="hd2"/>
                </a:cxn>
                <a:cxn ang="16200000">
                  <a:pos x="wd2" y="hd2"/>
                </a:cxn>
              </a:cxnLst>
              <a:rect l="0" t="0" r="r" b="b"/>
              <a:pathLst>
                <a:path w="21600" h="21600" extrusionOk="0">
                  <a:moveTo>
                    <a:pt x="4445" y="7866"/>
                  </a:moveTo>
                  <a:lnTo>
                    <a:pt x="3880" y="8515"/>
                  </a:lnTo>
                  <a:lnTo>
                    <a:pt x="2778" y="8369"/>
                  </a:lnTo>
                  <a:lnTo>
                    <a:pt x="2178" y="9461"/>
                  </a:lnTo>
                  <a:lnTo>
                    <a:pt x="3120" y="10277"/>
                  </a:lnTo>
                  <a:lnTo>
                    <a:pt x="3156" y="12185"/>
                  </a:lnTo>
                  <a:lnTo>
                    <a:pt x="2430" y="12337"/>
                  </a:lnTo>
                  <a:lnTo>
                    <a:pt x="1278" y="11885"/>
                  </a:lnTo>
                  <a:lnTo>
                    <a:pt x="769" y="12613"/>
                  </a:lnTo>
                  <a:lnTo>
                    <a:pt x="566" y="13516"/>
                  </a:lnTo>
                  <a:lnTo>
                    <a:pt x="1354" y="13873"/>
                  </a:lnTo>
                  <a:lnTo>
                    <a:pt x="1463" y="14966"/>
                  </a:lnTo>
                  <a:lnTo>
                    <a:pt x="698" y="15754"/>
                  </a:lnTo>
                  <a:lnTo>
                    <a:pt x="273" y="16479"/>
                  </a:lnTo>
                  <a:lnTo>
                    <a:pt x="0" y="18023"/>
                  </a:lnTo>
                  <a:lnTo>
                    <a:pt x="841" y="18266"/>
                  </a:lnTo>
                  <a:lnTo>
                    <a:pt x="2336" y="18448"/>
                  </a:lnTo>
                  <a:lnTo>
                    <a:pt x="3297" y="19783"/>
                  </a:lnTo>
                  <a:lnTo>
                    <a:pt x="3987" y="20416"/>
                  </a:lnTo>
                  <a:lnTo>
                    <a:pt x="5126" y="21509"/>
                  </a:lnTo>
                  <a:lnTo>
                    <a:pt x="6761" y="21418"/>
                  </a:lnTo>
                  <a:lnTo>
                    <a:pt x="8539" y="21600"/>
                  </a:lnTo>
                  <a:lnTo>
                    <a:pt x="8021" y="19297"/>
                  </a:lnTo>
                  <a:lnTo>
                    <a:pt x="6548" y="18235"/>
                  </a:lnTo>
                  <a:lnTo>
                    <a:pt x="6499" y="15428"/>
                  </a:lnTo>
                  <a:lnTo>
                    <a:pt x="6997" y="13668"/>
                  </a:lnTo>
                  <a:lnTo>
                    <a:pt x="8012" y="10664"/>
                  </a:lnTo>
                  <a:lnTo>
                    <a:pt x="8386" y="8570"/>
                  </a:lnTo>
                  <a:lnTo>
                    <a:pt x="9594" y="6965"/>
                  </a:lnTo>
                  <a:lnTo>
                    <a:pt x="10818" y="7328"/>
                  </a:lnTo>
                  <a:lnTo>
                    <a:pt x="12132" y="6430"/>
                  </a:lnTo>
                  <a:lnTo>
                    <a:pt x="13272" y="5308"/>
                  </a:lnTo>
                  <a:lnTo>
                    <a:pt x="14533" y="4941"/>
                  </a:lnTo>
                  <a:lnTo>
                    <a:pt x="16291" y="4582"/>
                  </a:lnTo>
                  <a:cubicBezTo>
                    <a:pt x="16608" y="4821"/>
                    <a:pt x="16969" y="4821"/>
                    <a:pt x="17286" y="4583"/>
                  </a:cubicBezTo>
                  <a:cubicBezTo>
                    <a:pt x="17607" y="4341"/>
                    <a:pt x="17852" y="3877"/>
                    <a:pt x="17960" y="3308"/>
                  </a:cubicBezTo>
                  <a:lnTo>
                    <a:pt x="19113" y="3551"/>
                  </a:lnTo>
                  <a:lnTo>
                    <a:pt x="19985" y="3581"/>
                  </a:lnTo>
                  <a:lnTo>
                    <a:pt x="20338" y="2523"/>
                  </a:lnTo>
                  <a:lnTo>
                    <a:pt x="21351" y="2592"/>
                  </a:lnTo>
                  <a:lnTo>
                    <a:pt x="21600" y="1704"/>
                  </a:lnTo>
                  <a:lnTo>
                    <a:pt x="20641" y="1406"/>
                  </a:lnTo>
                  <a:lnTo>
                    <a:pt x="20071" y="705"/>
                  </a:lnTo>
                  <a:lnTo>
                    <a:pt x="18972" y="0"/>
                  </a:lnTo>
                  <a:lnTo>
                    <a:pt x="18514" y="430"/>
                  </a:lnTo>
                  <a:lnTo>
                    <a:pt x="18354" y="1523"/>
                  </a:lnTo>
                  <a:lnTo>
                    <a:pt x="17731" y="802"/>
                  </a:lnTo>
                  <a:lnTo>
                    <a:pt x="16469" y="984"/>
                  </a:lnTo>
                  <a:lnTo>
                    <a:pt x="15528" y="1617"/>
                  </a:lnTo>
                  <a:lnTo>
                    <a:pt x="14947" y="2494"/>
                  </a:lnTo>
                  <a:lnTo>
                    <a:pt x="13721" y="2312"/>
                  </a:lnTo>
                  <a:lnTo>
                    <a:pt x="11020" y="2130"/>
                  </a:lnTo>
                  <a:lnTo>
                    <a:pt x="9792" y="2039"/>
                  </a:lnTo>
                  <a:lnTo>
                    <a:pt x="8352" y="2392"/>
                  </a:lnTo>
                  <a:lnTo>
                    <a:pt x="7818" y="3025"/>
                  </a:lnTo>
                  <a:lnTo>
                    <a:pt x="6699" y="4565"/>
                  </a:lnTo>
                  <a:lnTo>
                    <a:pt x="5633" y="4656"/>
                  </a:lnTo>
                  <a:lnTo>
                    <a:pt x="4834" y="5829"/>
                  </a:lnTo>
                  <a:lnTo>
                    <a:pt x="4445" y="7866"/>
                  </a:lnTo>
                  <a:close/>
                </a:path>
              </a:pathLst>
            </a:custGeom>
            <a:grpFill/>
            <a:ln w="25400" cap="flat">
              <a:noFill/>
              <a:prstDash val="solid"/>
              <a:miter lim="400000"/>
            </a:ln>
            <a:effectLst/>
          </p:spPr>
          <p:txBody>
            <a:bodyPr anchor="ctr"/>
            <a:lstStyle/>
            <a:p>
              <a:pPr algn="ctr"/>
              <a:endParaRPr/>
            </a:p>
          </p:txBody>
        </p:sp>
        <p:sp>
          <p:nvSpPr>
            <p:cNvPr id="115" name="任意多边形: 形状 114">
              <a:extLst>
                <a:ext uri="{FF2B5EF4-FFF2-40B4-BE49-F238E27FC236}">
                  <a16:creationId xmlns:a16="http://schemas.microsoft.com/office/drawing/2014/main" id="{70D79EBE-78F2-4C91-91AF-2F1907AD693E}"/>
                </a:ext>
              </a:extLst>
            </p:cNvPr>
            <p:cNvSpPr/>
            <p:nvPr/>
          </p:nvSpPr>
          <p:spPr>
            <a:xfrm>
              <a:off x="5869377" y="1326101"/>
              <a:ext cx="358160" cy="136980"/>
            </a:xfrm>
            <a:custGeom>
              <a:avLst/>
              <a:gdLst/>
              <a:ahLst/>
              <a:cxnLst>
                <a:cxn ang="0">
                  <a:pos x="wd2" y="hd2"/>
                </a:cxn>
                <a:cxn ang="5400000">
                  <a:pos x="wd2" y="hd2"/>
                </a:cxn>
                <a:cxn ang="10800000">
                  <a:pos x="wd2" y="hd2"/>
                </a:cxn>
                <a:cxn ang="16200000">
                  <a:pos x="wd2" y="hd2"/>
                </a:cxn>
              </a:cxnLst>
              <a:rect l="0" t="0" r="r" b="b"/>
              <a:pathLst>
                <a:path w="21600" h="21600" extrusionOk="0">
                  <a:moveTo>
                    <a:pt x="21036" y="2810"/>
                  </a:moveTo>
                  <a:lnTo>
                    <a:pt x="18126" y="2696"/>
                  </a:lnTo>
                  <a:lnTo>
                    <a:pt x="15876" y="2514"/>
                  </a:lnTo>
                  <a:lnTo>
                    <a:pt x="14560" y="2399"/>
                  </a:lnTo>
                  <a:lnTo>
                    <a:pt x="13964" y="607"/>
                  </a:lnTo>
                  <a:lnTo>
                    <a:pt x="13265" y="0"/>
                  </a:lnTo>
                  <a:lnTo>
                    <a:pt x="13209" y="2844"/>
                  </a:lnTo>
                  <a:lnTo>
                    <a:pt x="12490" y="2839"/>
                  </a:lnTo>
                  <a:lnTo>
                    <a:pt x="12105" y="3909"/>
                  </a:lnTo>
                  <a:lnTo>
                    <a:pt x="12121" y="6612"/>
                  </a:lnTo>
                  <a:lnTo>
                    <a:pt x="11757" y="7673"/>
                  </a:lnTo>
                  <a:lnTo>
                    <a:pt x="11102" y="6284"/>
                  </a:lnTo>
                  <a:lnTo>
                    <a:pt x="11237" y="3700"/>
                  </a:lnTo>
                  <a:lnTo>
                    <a:pt x="10419" y="2546"/>
                  </a:lnTo>
                  <a:lnTo>
                    <a:pt x="9953" y="4134"/>
                  </a:lnTo>
                  <a:lnTo>
                    <a:pt x="9148" y="5886"/>
                  </a:lnTo>
                  <a:lnTo>
                    <a:pt x="7705" y="5408"/>
                  </a:lnTo>
                  <a:lnTo>
                    <a:pt x="6697" y="5288"/>
                  </a:lnTo>
                  <a:lnTo>
                    <a:pt x="6009" y="4218"/>
                  </a:lnTo>
                  <a:lnTo>
                    <a:pt x="5379" y="3745"/>
                  </a:lnTo>
                  <a:lnTo>
                    <a:pt x="2617" y="4347"/>
                  </a:lnTo>
                  <a:lnTo>
                    <a:pt x="1144" y="3636"/>
                  </a:lnTo>
                  <a:lnTo>
                    <a:pt x="135" y="4591"/>
                  </a:lnTo>
                  <a:lnTo>
                    <a:pt x="0" y="6851"/>
                  </a:lnTo>
                  <a:lnTo>
                    <a:pt x="1109" y="8265"/>
                  </a:lnTo>
                  <a:lnTo>
                    <a:pt x="1858" y="9728"/>
                  </a:lnTo>
                  <a:lnTo>
                    <a:pt x="2773" y="10918"/>
                  </a:lnTo>
                  <a:lnTo>
                    <a:pt x="3798" y="10560"/>
                  </a:lnTo>
                  <a:lnTo>
                    <a:pt x="4488" y="11864"/>
                  </a:lnTo>
                  <a:lnTo>
                    <a:pt x="5238" y="12297"/>
                  </a:lnTo>
                  <a:lnTo>
                    <a:pt x="5238" y="9037"/>
                  </a:lnTo>
                  <a:lnTo>
                    <a:pt x="6816" y="8599"/>
                  </a:lnTo>
                  <a:lnTo>
                    <a:pt x="6769" y="11506"/>
                  </a:lnTo>
                  <a:lnTo>
                    <a:pt x="6906" y="13288"/>
                  </a:lnTo>
                  <a:lnTo>
                    <a:pt x="4182" y="13367"/>
                  </a:lnTo>
                  <a:lnTo>
                    <a:pt x="4105" y="14562"/>
                  </a:lnTo>
                  <a:lnTo>
                    <a:pt x="4611" y="15358"/>
                  </a:lnTo>
                  <a:lnTo>
                    <a:pt x="5606" y="16747"/>
                  </a:lnTo>
                  <a:lnTo>
                    <a:pt x="7302" y="19415"/>
                  </a:lnTo>
                  <a:lnTo>
                    <a:pt x="8040" y="21600"/>
                  </a:lnTo>
                  <a:lnTo>
                    <a:pt x="8822" y="21485"/>
                  </a:lnTo>
                  <a:lnTo>
                    <a:pt x="9465" y="18116"/>
                  </a:lnTo>
                  <a:lnTo>
                    <a:pt x="9649" y="15258"/>
                  </a:lnTo>
                  <a:lnTo>
                    <a:pt x="10369" y="13745"/>
                  </a:lnTo>
                  <a:lnTo>
                    <a:pt x="11287" y="14343"/>
                  </a:lnTo>
                  <a:lnTo>
                    <a:pt x="11640" y="11993"/>
                  </a:lnTo>
                  <a:lnTo>
                    <a:pt x="11640" y="9136"/>
                  </a:lnTo>
                  <a:lnTo>
                    <a:pt x="13126" y="8703"/>
                  </a:lnTo>
                  <a:lnTo>
                    <a:pt x="14029" y="10490"/>
                  </a:lnTo>
                  <a:lnTo>
                    <a:pt x="14715" y="12003"/>
                  </a:lnTo>
                  <a:lnTo>
                    <a:pt x="14303" y="13193"/>
                  </a:lnTo>
                  <a:lnTo>
                    <a:pt x="13891" y="14507"/>
                  </a:lnTo>
                  <a:lnTo>
                    <a:pt x="14441" y="16856"/>
                  </a:lnTo>
                  <a:lnTo>
                    <a:pt x="15346" y="16264"/>
                  </a:lnTo>
                  <a:lnTo>
                    <a:pt x="15759" y="14472"/>
                  </a:lnTo>
                  <a:lnTo>
                    <a:pt x="16864" y="14472"/>
                  </a:lnTo>
                  <a:lnTo>
                    <a:pt x="17370" y="15303"/>
                  </a:lnTo>
                  <a:lnTo>
                    <a:pt x="17732" y="17409"/>
                  </a:lnTo>
                  <a:lnTo>
                    <a:pt x="18407" y="16692"/>
                  </a:lnTo>
                  <a:lnTo>
                    <a:pt x="19503" y="15398"/>
                  </a:lnTo>
                  <a:lnTo>
                    <a:pt x="18539" y="14208"/>
                  </a:lnTo>
                  <a:lnTo>
                    <a:pt x="18004" y="13969"/>
                  </a:lnTo>
                  <a:lnTo>
                    <a:pt x="17870" y="12460"/>
                  </a:lnTo>
                  <a:lnTo>
                    <a:pt x="17136" y="11630"/>
                  </a:lnTo>
                  <a:lnTo>
                    <a:pt x="15759" y="11037"/>
                  </a:lnTo>
                  <a:lnTo>
                    <a:pt x="14891" y="9608"/>
                  </a:lnTo>
                  <a:lnTo>
                    <a:pt x="14017" y="8334"/>
                  </a:lnTo>
                  <a:lnTo>
                    <a:pt x="13655" y="7742"/>
                  </a:lnTo>
                  <a:lnTo>
                    <a:pt x="13563" y="5253"/>
                  </a:lnTo>
                  <a:lnTo>
                    <a:pt x="14253" y="4895"/>
                  </a:lnTo>
                  <a:lnTo>
                    <a:pt x="14864" y="7105"/>
                  </a:lnTo>
                  <a:lnTo>
                    <a:pt x="16948" y="7941"/>
                  </a:lnTo>
                  <a:lnTo>
                    <a:pt x="18002" y="8891"/>
                  </a:lnTo>
                  <a:lnTo>
                    <a:pt x="19472" y="7458"/>
                  </a:lnTo>
                  <a:lnTo>
                    <a:pt x="20699" y="6542"/>
                  </a:lnTo>
                  <a:lnTo>
                    <a:pt x="21374" y="4805"/>
                  </a:lnTo>
                  <a:lnTo>
                    <a:pt x="21600" y="3028"/>
                  </a:lnTo>
                  <a:lnTo>
                    <a:pt x="21036" y="2810"/>
                  </a:lnTo>
                  <a:close/>
                </a:path>
              </a:pathLst>
            </a:custGeom>
            <a:grpFill/>
            <a:ln w="25400" cap="flat">
              <a:noFill/>
              <a:prstDash val="solid"/>
              <a:miter lim="400000"/>
            </a:ln>
            <a:effectLst/>
          </p:spPr>
          <p:txBody>
            <a:bodyPr anchor="ctr"/>
            <a:lstStyle/>
            <a:p>
              <a:pPr algn="ctr"/>
              <a:endParaRPr/>
            </a:p>
          </p:txBody>
        </p:sp>
        <p:sp>
          <p:nvSpPr>
            <p:cNvPr id="116" name="任意多边形: 形状 115">
              <a:extLst>
                <a:ext uri="{FF2B5EF4-FFF2-40B4-BE49-F238E27FC236}">
                  <a16:creationId xmlns:a16="http://schemas.microsoft.com/office/drawing/2014/main" id="{95E2F5D7-F48B-4B54-86CD-3DF24A7789B5}"/>
                </a:ext>
              </a:extLst>
            </p:cNvPr>
            <p:cNvSpPr/>
            <p:nvPr/>
          </p:nvSpPr>
          <p:spPr>
            <a:xfrm>
              <a:off x="5016160" y="1729403"/>
              <a:ext cx="228706" cy="93668"/>
            </a:xfrm>
            <a:custGeom>
              <a:avLst/>
              <a:gdLst/>
              <a:ahLst/>
              <a:cxnLst>
                <a:cxn ang="0">
                  <a:pos x="wd2" y="hd2"/>
                </a:cxn>
                <a:cxn ang="5400000">
                  <a:pos x="wd2" y="hd2"/>
                </a:cxn>
                <a:cxn ang="10800000">
                  <a:pos x="wd2" y="hd2"/>
                </a:cxn>
                <a:cxn ang="16200000">
                  <a:pos x="wd2" y="hd2"/>
                </a:cxn>
              </a:cxnLst>
              <a:rect l="0" t="0" r="r" b="b"/>
              <a:pathLst>
                <a:path w="21600" h="21600" extrusionOk="0">
                  <a:moveTo>
                    <a:pt x="17441" y="270"/>
                  </a:moveTo>
                  <a:lnTo>
                    <a:pt x="15742" y="0"/>
                  </a:lnTo>
                  <a:lnTo>
                    <a:pt x="14405" y="1481"/>
                  </a:lnTo>
                  <a:lnTo>
                    <a:pt x="12187" y="4101"/>
                  </a:lnTo>
                  <a:lnTo>
                    <a:pt x="10897" y="4101"/>
                  </a:lnTo>
                  <a:lnTo>
                    <a:pt x="8628" y="1546"/>
                  </a:lnTo>
                  <a:lnTo>
                    <a:pt x="6724" y="2070"/>
                  </a:lnTo>
                  <a:lnTo>
                    <a:pt x="5296" y="4167"/>
                  </a:lnTo>
                  <a:lnTo>
                    <a:pt x="1948" y="7428"/>
                  </a:lnTo>
                  <a:lnTo>
                    <a:pt x="1232" y="7428"/>
                  </a:lnTo>
                  <a:lnTo>
                    <a:pt x="0" y="9510"/>
                  </a:lnTo>
                  <a:lnTo>
                    <a:pt x="92" y="13288"/>
                  </a:lnTo>
                  <a:lnTo>
                    <a:pt x="773" y="15544"/>
                  </a:lnTo>
                  <a:lnTo>
                    <a:pt x="2067" y="12989"/>
                  </a:lnTo>
                  <a:lnTo>
                    <a:pt x="3646" y="15959"/>
                  </a:lnTo>
                  <a:cubicBezTo>
                    <a:pt x="4278" y="16734"/>
                    <a:pt x="4893" y="17587"/>
                    <a:pt x="5489" y="18514"/>
                  </a:cubicBezTo>
                  <a:cubicBezTo>
                    <a:pt x="6102" y="19467"/>
                    <a:pt x="6694" y="20497"/>
                    <a:pt x="7263" y="21600"/>
                  </a:cubicBezTo>
                  <a:lnTo>
                    <a:pt x="8821" y="21600"/>
                  </a:lnTo>
                  <a:lnTo>
                    <a:pt x="10787" y="16890"/>
                  </a:lnTo>
                  <a:lnTo>
                    <a:pt x="12583" y="16890"/>
                  </a:lnTo>
                  <a:lnTo>
                    <a:pt x="15533" y="16716"/>
                  </a:lnTo>
                  <a:lnTo>
                    <a:pt x="17142" y="13513"/>
                  </a:lnTo>
                  <a:lnTo>
                    <a:pt x="18721" y="10914"/>
                  </a:lnTo>
                  <a:lnTo>
                    <a:pt x="20955" y="10041"/>
                  </a:lnTo>
                  <a:lnTo>
                    <a:pt x="21600" y="8323"/>
                  </a:lnTo>
                  <a:lnTo>
                    <a:pt x="20688" y="4902"/>
                  </a:lnTo>
                  <a:lnTo>
                    <a:pt x="19658" y="3045"/>
                  </a:lnTo>
                  <a:lnTo>
                    <a:pt x="18823" y="1655"/>
                  </a:lnTo>
                  <a:lnTo>
                    <a:pt x="17441" y="270"/>
                  </a:lnTo>
                  <a:close/>
                </a:path>
              </a:pathLst>
            </a:custGeom>
            <a:grpFill/>
            <a:ln w="25400" cap="flat">
              <a:noFill/>
              <a:prstDash val="solid"/>
              <a:miter lim="400000"/>
            </a:ln>
            <a:effectLst/>
          </p:spPr>
          <p:txBody>
            <a:bodyPr anchor="ctr"/>
            <a:lstStyle/>
            <a:p>
              <a:pPr algn="ctr"/>
              <a:endParaRPr/>
            </a:p>
          </p:txBody>
        </p:sp>
        <p:sp>
          <p:nvSpPr>
            <p:cNvPr id="117" name="任意多边形: 形状 116">
              <a:extLst>
                <a:ext uri="{FF2B5EF4-FFF2-40B4-BE49-F238E27FC236}">
                  <a16:creationId xmlns:a16="http://schemas.microsoft.com/office/drawing/2014/main" id="{055CF327-6AE0-4476-B793-71A483EEAB68}"/>
                </a:ext>
              </a:extLst>
            </p:cNvPr>
            <p:cNvSpPr/>
            <p:nvPr/>
          </p:nvSpPr>
          <p:spPr>
            <a:xfrm>
              <a:off x="5414902" y="1601282"/>
              <a:ext cx="41288" cy="20045"/>
            </a:xfrm>
            <a:custGeom>
              <a:avLst/>
              <a:gdLst/>
              <a:ahLst/>
              <a:cxnLst>
                <a:cxn ang="0">
                  <a:pos x="wd2" y="hd2"/>
                </a:cxn>
                <a:cxn ang="5400000">
                  <a:pos x="wd2" y="hd2"/>
                </a:cxn>
                <a:cxn ang="10800000">
                  <a:pos x="wd2" y="hd2"/>
                </a:cxn>
                <a:cxn ang="16200000">
                  <a:pos x="wd2" y="hd2"/>
                </a:cxn>
              </a:cxnLst>
              <a:rect l="0" t="0" r="r" b="b"/>
              <a:pathLst>
                <a:path w="21600" h="21600" extrusionOk="0">
                  <a:moveTo>
                    <a:pt x="15176" y="0"/>
                  </a:moveTo>
                  <a:lnTo>
                    <a:pt x="10983" y="4657"/>
                  </a:lnTo>
                  <a:lnTo>
                    <a:pt x="5919" y="4185"/>
                  </a:lnTo>
                  <a:lnTo>
                    <a:pt x="0" y="5818"/>
                  </a:lnTo>
                  <a:lnTo>
                    <a:pt x="17" y="18606"/>
                  </a:lnTo>
                  <a:lnTo>
                    <a:pt x="11091" y="21600"/>
                  </a:lnTo>
                  <a:lnTo>
                    <a:pt x="21600" y="16735"/>
                  </a:lnTo>
                  <a:lnTo>
                    <a:pt x="21483" y="2347"/>
                  </a:lnTo>
                  <a:lnTo>
                    <a:pt x="15176" y="0"/>
                  </a:lnTo>
                  <a:close/>
                </a:path>
              </a:pathLst>
            </a:custGeom>
            <a:grpFill/>
            <a:ln w="25400" cap="flat">
              <a:noFill/>
              <a:prstDash val="solid"/>
              <a:miter lim="400000"/>
            </a:ln>
            <a:effectLst/>
          </p:spPr>
          <p:txBody>
            <a:bodyPr anchor="ctr"/>
            <a:lstStyle/>
            <a:p>
              <a:pPr algn="ctr"/>
              <a:endParaRPr/>
            </a:p>
          </p:txBody>
        </p:sp>
        <p:sp>
          <p:nvSpPr>
            <p:cNvPr id="118" name="任意多边形: 形状 117">
              <a:extLst>
                <a:ext uri="{FF2B5EF4-FFF2-40B4-BE49-F238E27FC236}">
                  <a16:creationId xmlns:a16="http://schemas.microsoft.com/office/drawing/2014/main" id="{3E02AAC6-6ED1-4A26-86D3-5709232A2788}"/>
                </a:ext>
              </a:extLst>
            </p:cNvPr>
            <p:cNvSpPr/>
            <p:nvPr/>
          </p:nvSpPr>
          <p:spPr>
            <a:xfrm>
              <a:off x="5426458" y="1837882"/>
              <a:ext cx="35170" cy="22995"/>
            </a:xfrm>
            <a:custGeom>
              <a:avLst/>
              <a:gdLst/>
              <a:ahLst/>
              <a:cxnLst>
                <a:cxn ang="0">
                  <a:pos x="wd2" y="hd2"/>
                </a:cxn>
                <a:cxn ang="5400000">
                  <a:pos x="wd2" y="hd2"/>
                </a:cxn>
                <a:cxn ang="10800000">
                  <a:pos x="wd2" y="hd2"/>
                </a:cxn>
                <a:cxn ang="16200000">
                  <a:pos x="wd2" y="hd2"/>
                </a:cxn>
              </a:cxnLst>
              <a:rect l="0" t="0" r="r" b="b"/>
              <a:pathLst>
                <a:path w="21600" h="21600" extrusionOk="0">
                  <a:moveTo>
                    <a:pt x="9779" y="0"/>
                  </a:moveTo>
                  <a:lnTo>
                    <a:pt x="0" y="1898"/>
                  </a:lnTo>
                  <a:lnTo>
                    <a:pt x="497" y="14515"/>
                  </a:lnTo>
                  <a:lnTo>
                    <a:pt x="10043" y="15938"/>
                  </a:lnTo>
                  <a:lnTo>
                    <a:pt x="21600" y="21600"/>
                  </a:lnTo>
                  <a:lnTo>
                    <a:pt x="18457" y="5083"/>
                  </a:lnTo>
                  <a:lnTo>
                    <a:pt x="9779" y="0"/>
                  </a:lnTo>
                  <a:close/>
                </a:path>
              </a:pathLst>
            </a:custGeom>
            <a:grpFill/>
            <a:ln w="25400" cap="flat">
              <a:noFill/>
              <a:prstDash val="solid"/>
              <a:miter lim="400000"/>
            </a:ln>
            <a:effectLst/>
          </p:spPr>
          <p:txBody>
            <a:bodyPr anchor="ctr"/>
            <a:lstStyle/>
            <a:p>
              <a:pPr algn="ctr"/>
              <a:endParaRPr/>
            </a:p>
          </p:txBody>
        </p:sp>
        <p:sp>
          <p:nvSpPr>
            <p:cNvPr id="119" name="任意多边形: 形状 118">
              <a:extLst>
                <a:ext uri="{FF2B5EF4-FFF2-40B4-BE49-F238E27FC236}">
                  <a16:creationId xmlns:a16="http://schemas.microsoft.com/office/drawing/2014/main" id="{FCD23F0F-6B34-4A93-9CC8-655D3A7C3E96}"/>
                </a:ext>
              </a:extLst>
            </p:cNvPr>
            <p:cNvSpPr/>
            <p:nvPr/>
          </p:nvSpPr>
          <p:spPr>
            <a:xfrm>
              <a:off x="5430421" y="1863360"/>
              <a:ext cx="21346" cy="16360"/>
            </a:xfrm>
            <a:custGeom>
              <a:avLst/>
              <a:gdLst/>
              <a:ahLst/>
              <a:cxnLst>
                <a:cxn ang="0">
                  <a:pos x="wd2" y="hd2"/>
                </a:cxn>
                <a:cxn ang="5400000">
                  <a:pos x="wd2" y="hd2"/>
                </a:cxn>
                <a:cxn ang="10800000">
                  <a:pos x="wd2" y="hd2"/>
                </a:cxn>
                <a:cxn ang="16200000">
                  <a:pos x="wd2" y="hd2"/>
                </a:cxn>
              </a:cxnLst>
              <a:rect l="0" t="0" r="r" b="b"/>
              <a:pathLst>
                <a:path w="21600" h="21600" extrusionOk="0">
                  <a:moveTo>
                    <a:pt x="12170" y="2345"/>
                  </a:moveTo>
                  <a:lnTo>
                    <a:pt x="2749" y="0"/>
                  </a:lnTo>
                  <a:lnTo>
                    <a:pt x="0" y="17437"/>
                  </a:lnTo>
                  <a:lnTo>
                    <a:pt x="16227" y="21600"/>
                  </a:lnTo>
                  <a:lnTo>
                    <a:pt x="21600" y="10871"/>
                  </a:lnTo>
                  <a:lnTo>
                    <a:pt x="12170" y="2345"/>
                  </a:lnTo>
                  <a:close/>
                </a:path>
              </a:pathLst>
            </a:custGeom>
            <a:grpFill/>
            <a:ln w="25400" cap="flat">
              <a:noFill/>
              <a:prstDash val="solid"/>
              <a:miter lim="400000"/>
            </a:ln>
            <a:effectLst/>
          </p:spPr>
          <p:txBody>
            <a:bodyPr anchor="ctr"/>
            <a:lstStyle/>
            <a:p>
              <a:pPr algn="ctr"/>
              <a:endParaRPr/>
            </a:p>
          </p:txBody>
        </p:sp>
        <p:sp>
          <p:nvSpPr>
            <p:cNvPr id="120" name="任意多边形: 形状 119">
              <a:extLst>
                <a:ext uri="{FF2B5EF4-FFF2-40B4-BE49-F238E27FC236}">
                  <a16:creationId xmlns:a16="http://schemas.microsoft.com/office/drawing/2014/main" id="{731181E2-8A5D-44F5-905E-3838127115DF}"/>
                </a:ext>
              </a:extLst>
            </p:cNvPr>
            <p:cNvSpPr/>
            <p:nvPr/>
          </p:nvSpPr>
          <p:spPr>
            <a:xfrm>
              <a:off x="5276566" y="2090226"/>
              <a:ext cx="141495" cy="136887"/>
            </a:xfrm>
            <a:custGeom>
              <a:avLst/>
              <a:gdLst/>
              <a:ahLst/>
              <a:cxnLst>
                <a:cxn ang="0">
                  <a:pos x="wd2" y="hd2"/>
                </a:cxn>
                <a:cxn ang="5400000">
                  <a:pos x="wd2" y="hd2"/>
                </a:cxn>
                <a:cxn ang="10800000">
                  <a:pos x="wd2" y="hd2"/>
                </a:cxn>
                <a:cxn ang="16200000">
                  <a:pos x="wd2" y="hd2"/>
                </a:cxn>
              </a:cxnLst>
              <a:rect l="0" t="0" r="r" b="b"/>
              <a:pathLst>
                <a:path w="21600" h="21600" extrusionOk="0">
                  <a:moveTo>
                    <a:pt x="15382" y="115"/>
                  </a:moveTo>
                  <a:lnTo>
                    <a:pt x="11359" y="0"/>
                  </a:lnTo>
                  <a:lnTo>
                    <a:pt x="9153" y="2568"/>
                  </a:lnTo>
                  <a:lnTo>
                    <a:pt x="6986" y="4361"/>
                  </a:lnTo>
                  <a:lnTo>
                    <a:pt x="4456" y="4002"/>
                  </a:lnTo>
                  <a:lnTo>
                    <a:pt x="1440" y="5073"/>
                  </a:lnTo>
                  <a:lnTo>
                    <a:pt x="1800" y="7574"/>
                  </a:lnTo>
                  <a:lnTo>
                    <a:pt x="3652" y="8406"/>
                  </a:lnTo>
                  <a:lnTo>
                    <a:pt x="4457" y="9915"/>
                  </a:lnTo>
                  <a:lnTo>
                    <a:pt x="3642" y="11583"/>
                  </a:lnTo>
                  <a:lnTo>
                    <a:pt x="2953" y="12535"/>
                  </a:lnTo>
                  <a:lnTo>
                    <a:pt x="2371" y="14995"/>
                  </a:lnTo>
                  <a:lnTo>
                    <a:pt x="42" y="15588"/>
                  </a:lnTo>
                  <a:lnTo>
                    <a:pt x="0" y="17102"/>
                  </a:lnTo>
                  <a:lnTo>
                    <a:pt x="974" y="18138"/>
                  </a:lnTo>
                  <a:lnTo>
                    <a:pt x="1672" y="20768"/>
                  </a:lnTo>
                  <a:lnTo>
                    <a:pt x="3483" y="21600"/>
                  </a:lnTo>
                  <a:lnTo>
                    <a:pt x="5773" y="20165"/>
                  </a:lnTo>
                  <a:lnTo>
                    <a:pt x="8334" y="18253"/>
                  </a:lnTo>
                  <a:lnTo>
                    <a:pt x="10697" y="17097"/>
                  </a:lnTo>
                  <a:cubicBezTo>
                    <a:pt x="11878" y="17476"/>
                    <a:pt x="13148" y="17434"/>
                    <a:pt x="14302" y="16978"/>
                  </a:cubicBezTo>
                  <a:cubicBezTo>
                    <a:pt x="14998" y="16703"/>
                    <a:pt x="15630" y="16284"/>
                    <a:pt x="16161" y="15748"/>
                  </a:cubicBezTo>
                  <a:cubicBezTo>
                    <a:pt x="16616" y="15267"/>
                    <a:pt x="16972" y="14698"/>
                    <a:pt x="17209" y="14074"/>
                  </a:cubicBezTo>
                  <a:cubicBezTo>
                    <a:pt x="17751" y="12641"/>
                    <a:pt x="17639" y="11035"/>
                    <a:pt x="16903" y="9696"/>
                  </a:cubicBezTo>
                  <a:lnTo>
                    <a:pt x="17252" y="7434"/>
                  </a:lnTo>
                  <a:lnTo>
                    <a:pt x="18650" y="5686"/>
                  </a:lnTo>
                  <a:lnTo>
                    <a:pt x="20358" y="4730"/>
                  </a:lnTo>
                  <a:lnTo>
                    <a:pt x="21600" y="2658"/>
                  </a:lnTo>
                  <a:lnTo>
                    <a:pt x="19703" y="870"/>
                  </a:lnTo>
                  <a:lnTo>
                    <a:pt x="16922" y="162"/>
                  </a:lnTo>
                  <a:lnTo>
                    <a:pt x="15382" y="115"/>
                  </a:lnTo>
                  <a:close/>
                </a:path>
              </a:pathLst>
            </a:custGeom>
            <a:grpFill/>
            <a:ln w="25400" cap="flat">
              <a:noFill/>
              <a:prstDash val="solid"/>
              <a:miter lim="400000"/>
            </a:ln>
            <a:effectLst/>
          </p:spPr>
          <p:txBody>
            <a:bodyPr anchor="ctr"/>
            <a:lstStyle/>
            <a:p>
              <a:pPr algn="ctr"/>
              <a:endParaRPr/>
            </a:p>
          </p:txBody>
        </p:sp>
        <p:sp>
          <p:nvSpPr>
            <p:cNvPr id="121" name="任意多边形: 形状 120">
              <a:extLst>
                <a:ext uri="{FF2B5EF4-FFF2-40B4-BE49-F238E27FC236}">
                  <a16:creationId xmlns:a16="http://schemas.microsoft.com/office/drawing/2014/main" id="{D712207B-5E5A-4C72-8FEE-4CB7564C1166}"/>
                </a:ext>
              </a:extLst>
            </p:cNvPr>
            <p:cNvSpPr/>
            <p:nvPr/>
          </p:nvSpPr>
          <p:spPr>
            <a:xfrm>
              <a:off x="5407156" y="1993299"/>
              <a:ext cx="206900" cy="271619"/>
            </a:xfrm>
            <a:custGeom>
              <a:avLst/>
              <a:gdLst/>
              <a:ahLst/>
              <a:cxnLst>
                <a:cxn ang="0">
                  <a:pos x="wd2" y="hd2"/>
                </a:cxn>
                <a:cxn ang="5400000">
                  <a:pos x="wd2" y="hd2"/>
                </a:cxn>
                <a:cxn ang="10800000">
                  <a:pos x="wd2" y="hd2"/>
                </a:cxn>
                <a:cxn ang="16200000">
                  <a:pos x="wd2" y="hd2"/>
                </a:cxn>
              </a:cxnLst>
              <a:rect l="0" t="0" r="r" b="b"/>
              <a:pathLst>
                <a:path w="21600" h="21600" extrusionOk="0">
                  <a:moveTo>
                    <a:pt x="6288" y="0"/>
                  </a:moveTo>
                  <a:lnTo>
                    <a:pt x="5027" y="806"/>
                  </a:lnTo>
                  <a:lnTo>
                    <a:pt x="3705" y="828"/>
                  </a:lnTo>
                  <a:lnTo>
                    <a:pt x="3047" y="1789"/>
                  </a:lnTo>
                  <a:lnTo>
                    <a:pt x="3106" y="2665"/>
                  </a:lnTo>
                  <a:lnTo>
                    <a:pt x="2104" y="3622"/>
                  </a:lnTo>
                  <a:lnTo>
                    <a:pt x="2256" y="4561"/>
                  </a:lnTo>
                  <a:lnTo>
                    <a:pt x="3288" y="5341"/>
                  </a:lnTo>
                  <a:lnTo>
                    <a:pt x="4241" y="6303"/>
                  </a:lnTo>
                  <a:lnTo>
                    <a:pt x="3288" y="6900"/>
                  </a:lnTo>
                  <a:lnTo>
                    <a:pt x="3129" y="7663"/>
                  </a:lnTo>
                  <a:cubicBezTo>
                    <a:pt x="3378" y="7883"/>
                    <a:pt x="3663" y="8077"/>
                    <a:pt x="3979" y="8241"/>
                  </a:cubicBezTo>
                  <a:cubicBezTo>
                    <a:pt x="4404" y="8461"/>
                    <a:pt x="4878" y="8624"/>
                    <a:pt x="5379" y="8720"/>
                  </a:cubicBezTo>
                  <a:lnTo>
                    <a:pt x="6013" y="7816"/>
                  </a:lnTo>
                  <a:lnTo>
                    <a:pt x="7340" y="7877"/>
                  </a:lnTo>
                  <a:lnTo>
                    <a:pt x="8475" y="8655"/>
                  </a:lnTo>
                  <a:lnTo>
                    <a:pt x="8475" y="9799"/>
                  </a:lnTo>
                  <a:cubicBezTo>
                    <a:pt x="8649" y="10161"/>
                    <a:pt x="8756" y="10540"/>
                    <a:pt x="8794" y="10924"/>
                  </a:cubicBezTo>
                  <a:cubicBezTo>
                    <a:pt x="8852" y="11516"/>
                    <a:pt x="8744" y="12110"/>
                    <a:pt x="8478" y="12668"/>
                  </a:cubicBezTo>
                  <a:lnTo>
                    <a:pt x="6756" y="12970"/>
                  </a:lnTo>
                  <a:lnTo>
                    <a:pt x="5830" y="13030"/>
                  </a:lnTo>
                  <a:lnTo>
                    <a:pt x="3796" y="13504"/>
                  </a:lnTo>
                  <a:lnTo>
                    <a:pt x="3975" y="14368"/>
                  </a:lnTo>
                  <a:lnTo>
                    <a:pt x="4901" y="14529"/>
                  </a:lnTo>
                  <a:lnTo>
                    <a:pt x="4662" y="15465"/>
                  </a:lnTo>
                  <a:lnTo>
                    <a:pt x="3020" y="15884"/>
                  </a:lnTo>
                  <a:lnTo>
                    <a:pt x="2091" y="16123"/>
                  </a:lnTo>
                  <a:lnTo>
                    <a:pt x="3022" y="16841"/>
                  </a:lnTo>
                  <a:lnTo>
                    <a:pt x="4564" y="17538"/>
                  </a:lnTo>
                  <a:lnTo>
                    <a:pt x="5725" y="17538"/>
                  </a:lnTo>
                  <a:lnTo>
                    <a:pt x="8134" y="17880"/>
                  </a:lnTo>
                  <a:lnTo>
                    <a:pt x="8426" y="18623"/>
                  </a:lnTo>
                  <a:lnTo>
                    <a:pt x="7232" y="19258"/>
                  </a:lnTo>
                  <a:lnTo>
                    <a:pt x="4232" y="19559"/>
                  </a:lnTo>
                  <a:lnTo>
                    <a:pt x="2642" y="20099"/>
                  </a:lnTo>
                  <a:lnTo>
                    <a:pt x="735" y="20340"/>
                  </a:lnTo>
                  <a:lnTo>
                    <a:pt x="0" y="21060"/>
                  </a:lnTo>
                  <a:lnTo>
                    <a:pt x="502" y="21600"/>
                  </a:lnTo>
                  <a:lnTo>
                    <a:pt x="2782" y="21359"/>
                  </a:lnTo>
                  <a:cubicBezTo>
                    <a:pt x="3310" y="21133"/>
                    <a:pt x="3861" y="20938"/>
                    <a:pt x="4428" y="20777"/>
                  </a:cubicBezTo>
                  <a:cubicBezTo>
                    <a:pt x="5234" y="20547"/>
                    <a:pt x="6071" y="20386"/>
                    <a:pt x="6924" y="20295"/>
                  </a:cubicBezTo>
                  <a:lnTo>
                    <a:pt x="8622" y="20174"/>
                  </a:lnTo>
                  <a:lnTo>
                    <a:pt x="11277" y="19873"/>
                  </a:lnTo>
                  <a:lnTo>
                    <a:pt x="12657" y="19753"/>
                  </a:lnTo>
                  <a:lnTo>
                    <a:pt x="14884" y="19050"/>
                  </a:lnTo>
                  <a:lnTo>
                    <a:pt x="16583" y="19391"/>
                  </a:lnTo>
                  <a:lnTo>
                    <a:pt x="19689" y="19030"/>
                  </a:lnTo>
                  <a:lnTo>
                    <a:pt x="18335" y="18548"/>
                  </a:lnTo>
                  <a:lnTo>
                    <a:pt x="16662" y="17767"/>
                  </a:lnTo>
                  <a:lnTo>
                    <a:pt x="21520" y="16502"/>
                  </a:lnTo>
                  <a:lnTo>
                    <a:pt x="21600" y="15842"/>
                  </a:lnTo>
                  <a:lnTo>
                    <a:pt x="21042" y="14238"/>
                  </a:lnTo>
                  <a:lnTo>
                    <a:pt x="19695" y="14120"/>
                  </a:lnTo>
                  <a:lnTo>
                    <a:pt x="18773" y="15157"/>
                  </a:lnTo>
                  <a:lnTo>
                    <a:pt x="16954" y="14916"/>
                  </a:lnTo>
                  <a:cubicBezTo>
                    <a:pt x="16658" y="14546"/>
                    <a:pt x="16446" y="14141"/>
                    <a:pt x="16327" y="13718"/>
                  </a:cubicBezTo>
                  <a:cubicBezTo>
                    <a:pt x="16175" y="13182"/>
                    <a:pt x="16175" y="12628"/>
                    <a:pt x="16327" y="12092"/>
                  </a:cubicBezTo>
                  <a:cubicBezTo>
                    <a:pt x="16208" y="11609"/>
                    <a:pt x="15994" y="11142"/>
                    <a:pt x="15690" y="10709"/>
                  </a:cubicBezTo>
                  <a:cubicBezTo>
                    <a:pt x="15360" y="10238"/>
                    <a:pt x="14929" y="9811"/>
                    <a:pt x="14416" y="9446"/>
                  </a:cubicBezTo>
                  <a:lnTo>
                    <a:pt x="13327" y="7779"/>
                  </a:lnTo>
                  <a:lnTo>
                    <a:pt x="10543" y="6097"/>
                  </a:lnTo>
                  <a:lnTo>
                    <a:pt x="8818" y="6097"/>
                  </a:lnTo>
                  <a:lnTo>
                    <a:pt x="7603" y="5799"/>
                  </a:lnTo>
                  <a:cubicBezTo>
                    <a:pt x="7249" y="5554"/>
                    <a:pt x="7071" y="5196"/>
                    <a:pt x="7125" y="4835"/>
                  </a:cubicBezTo>
                  <a:cubicBezTo>
                    <a:pt x="7216" y="4226"/>
                    <a:pt x="7901" y="3767"/>
                    <a:pt x="8711" y="3773"/>
                  </a:cubicBezTo>
                  <a:lnTo>
                    <a:pt x="10301" y="2689"/>
                  </a:lnTo>
                  <a:lnTo>
                    <a:pt x="8469" y="2151"/>
                  </a:lnTo>
                  <a:lnTo>
                    <a:pt x="6346" y="1730"/>
                  </a:lnTo>
                  <a:lnTo>
                    <a:pt x="6979" y="1072"/>
                  </a:lnTo>
                  <a:lnTo>
                    <a:pt x="7431" y="111"/>
                  </a:lnTo>
                  <a:lnTo>
                    <a:pt x="6288" y="0"/>
                  </a:lnTo>
                  <a:close/>
                </a:path>
              </a:pathLst>
            </a:custGeom>
            <a:grpFill/>
            <a:ln w="25400" cap="flat">
              <a:noFill/>
              <a:prstDash val="solid"/>
              <a:miter lim="400000"/>
            </a:ln>
            <a:effectLst/>
          </p:spPr>
          <p:txBody>
            <a:bodyPr anchor="ctr"/>
            <a:lstStyle/>
            <a:p>
              <a:pPr algn="ctr"/>
              <a:endParaRPr/>
            </a:p>
          </p:txBody>
        </p:sp>
        <p:sp>
          <p:nvSpPr>
            <p:cNvPr id="122" name="任意多边形: 形状 121">
              <a:extLst>
                <a:ext uri="{FF2B5EF4-FFF2-40B4-BE49-F238E27FC236}">
                  <a16:creationId xmlns:a16="http://schemas.microsoft.com/office/drawing/2014/main" id="{3F844453-81EF-43C3-8D19-8D9C68974D7E}"/>
                </a:ext>
              </a:extLst>
            </p:cNvPr>
            <p:cNvSpPr/>
            <p:nvPr/>
          </p:nvSpPr>
          <p:spPr>
            <a:xfrm>
              <a:off x="5439609" y="2113104"/>
              <a:ext cx="16360" cy="21150"/>
            </a:xfrm>
            <a:custGeom>
              <a:avLst/>
              <a:gdLst/>
              <a:ahLst/>
              <a:cxnLst>
                <a:cxn ang="0">
                  <a:pos x="wd2" y="hd2"/>
                </a:cxn>
                <a:cxn ang="5400000">
                  <a:pos x="wd2" y="hd2"/>
                </a:cxn>
                <a:cxn ang="10800000">
                  <a:pos x="wd2" y="hd2"/>
                </a:cxn>
                <a:cxn ang="16200000">
                  <a:pos x="wd2" y="hd2"/>
                </a:cxn>
              </a:cxnLst>
              <a:rect l="0" t="0" r="r" b="b"/>
              <a:pathLst>
                <a:path w="21600" h="21600" extrusionOk="0">
                  <a:moveTo>
                    <a:pt x="4405" y="858"/>
                  </a:moveTo>
                  <a:lnTo>
                    <a:pt x="0" y="8854"/>
                  </a:lnTo>
                  <a:lnTo>
                    <a:pt x="5633" y="18505"/>
                  </a:lnTo>
                  <a:lnTo>
                    <a:pt x="16548" y="21600"/>
                  </a:lnTo>
                  <a:lnTo>
                    <a:pt x="21600" y="10060"/>
                  </a:lnTo>
                  <a:lnTo>
                    <a:pt x="18861" y="0"/>
                  </a:lnTo>
                  <a:lnTo>
                    <a:pt x="4405" y="858"/>
                  </a:lnTo>
                  <a:close/>
                </a:path>
              </a:pathLst>
            </a:custGeom>
            <a:grpFill/>
            <a:ln w="25400" cap="flat">
              <a:noFill/>
              <a:prstDash val="solid"/>
              <a:miter lim="400000"/>
            </a:ln>
            <a:effectLst/>
          </p:spPr>
          <p:txBody>
            <a:bodyPr anchor="ctr"/>
            <a:lstStyle/>
            <a:p>
              <a:pPr algn="ctr"/>
              <a:endParaRPr/>
            </a:p>
          </p:txBody>
        </p:sp>
        <p:sp>
          <p:nvSpPr>
            <p:cNvPr id="123" name="任意多边形: 形状 122">
              <a:extLst>
                <a:ext uri="{FF2B5EF4-FFF2-40B4-BE49-F238E27FC236}">
                  <a16:creationId xmlns:a16="http://schemas.microsoft.com/office/drawing/2014/main" id="{D09A22A9-D546-4D8F-9225-7B03EC8FAFC5}"/>
                </a:ext>
              </a:extLst>
            </p:cNvPr>
            <p:cNvSpPr/>
            <p:nvPr/>
          </p:nvSpPr>
          <p:spPr>
            <a:xfrm>
              <a:off x="5461229" y="2281207"/>
              <a:ext cx="17764" cy="16360"/>
            </a:xfrm>
            <a:custGeom>
              <a:avLst/>
              <a:gdLst/>
              <a:ahLst/>
              <a:cxnLst>
                <a:cxn ang="0">
                  <a:pos x="wd2" y="hd2"/>
                </a:cxn>
                <a:cxn ang="5400000">
                  <a:pos x="wd2" y="hd2"/>
                </a:cxn>
                <a:cxn ang="10800000">
                  <a:pos x="wd2" y="hd2"/>
                </a:cxn>
                <a:cxn ang="16200000">
                  <a:pos x="wd2" y="hd2"/>
                </a:cxn>
              </a:cxnLst>
              <a:rect l="0" t="0" r="r" b="b"/>
              <a:pathLst>
                <a:path w="21600" h="21600" extrusionOk="0">
                  <a:moveTo>
                    <a:pt x="13214" y="0"/>
                  </a:moveTo>
                  <a:lnTo>
                    <a:pt x="0" y="6137"/>
                  </a:lnTo>
                  <a:lnTo>
                    <a:pt x="4727" y="21600"/>
                  </a:lnTo>
                  <a:lnTo>
                    <a:pt x="21600" y="12940"/>
                  </a:lnTo>
                  <a:lnTo>
                    <a:pt x="13214" y="0"/>
                  </a:lnTo>
                  <a:close/>
                </a:path>
              </a:pathLst>
            </a:custGeom>
            <a:grpFill/>
            <a:ln w="25400" cap="flat">
              <a:noFill/>
              <a:prstDash val="solid"/>
              <a:miter lim="400000"/>
            </a:ln>
            <a:effectLst/>
          </p:spPr>
          <p:txBody>
            <a:bodyPr anchor="ctr"/>
            <a:lstStyle/>
            <a:p>
              <a:pPr algn="ctr"/>
              <a:endParaRPr/>
            </a:p>
          </p:txBody>
        </p:sp>
        <p:sp>
          <p:nvSpPr>
            <p:cNvPr id="124" name="任意多边形: 形状 123">
              <a:extLst>
                <a:ext uri="{FF2B5EF4-FFF2-40B4-BE49-F238E27FC236}">
                  <a16:creationId xmlns:a16="http://schemas.microsoft.com/office/drawing/2014/main" id="{882D84FB-A452-4E93-AC69-7AD924C24C77}"/>
                </a:ext>
              </a:extLst>
            </p:cNvPr>
            <p:cNvSpPr/>
            <p:nvPr/>
          </p:nvSpPr>
          <p:spPr>
            <a:xfrm>
              <a:off x="5486629" y="228676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630" y="1789"/>
                  </a:lnTo>
                  <a:lnTo>
                    <a:pt x="0" y="17575"/>
                  </a:lnTo>
                  <a:lnTo>
                    <a:pt x="16425" y="21600"/>
                  </a:lnTo>
                  <a:lnTo>
                    <a:pt x="21600" y="0"/>
                  </a:lnTo>
                  <a:close/>
                </a:path>
              </a:pathLst>
            </a:custGeom>
            <a:grpFill/>
            <a:ln w="25400" cap="flat">
              <a:noFill/>
              <a:prstDash val="solid"/>
              <a:miter lim="400000"/>
            </a:ln>
            <a:effectLst/>
          </p:spPr>
          <p:txBody>
            <a:bodyPr anchor="ctr"/>
            <a:lstStyle/>
            <a:p>
              <a:pPr algn="ctr"/>
              <a:endParaRPr/>
            </a:p>
          </p:txBody>
        </p:sp>
        <p:sp>
          <p:nvSpPr>
            <p:cNvPr id="125" name="任意多边形: 形状 124">
              <a:extLst>
                <a:ext uri="{FF2B5EF4-FFF2-40B4-BE49-F238E27FC236}">
                  <a16:creationId xmlns:a16="http://schemas.microsoft.com/office/drawing/2014/main" id="{CE21F0F7-2BEA-473F-B38E-0AB426321FAC}"/>
                </a:ext>
              </a:extLst>
            </p:cNvPr>
            <p:cNvSpPr/>
            <p:nvPr/>
          </p:nvSpPr>
          <p:spPr>
            <a:xfrm>
              <a:off x="5605003" y="2617425"/>
              <a:ext cx="39478" cy="45925"/>
            </a:xfrm>
            <a:custGeom>
              <a:avLst/>
              <a:gdLst/>
              <a:ahLst/>
              <a:cxnLst>
                <a:cxn ang="0">
                  <a:pos x="wd2" y="hd2"/>
                </a:cxn>
                <a:cxn ang="5400000">
                  <a:pos x="wd2" y="hd2"/>
                </a:cxn>
                <a:cxn ang="10800000">
                  <a:pos x="wd2" y="hd2"/>
                </a:cxn>
                <a:cxn ang="16200000">
                  <a:pos x="wd2" y="hd2"/>
                </a:cxn>
              </a:cxnLst>
              <a:rect l="0" t="0" r="r" b="b"/>
              <a:pathLst>
                <a:path w="20245" h="21188" extrusionOk="0">
                  <a:moveTo>
                    <a:pt x="11664" y="4816"/>
                  </a:moveTo>
                  <a:lnTo>
                    <a:pt x="9025" y="9331"/>
                  </a:lnTo>
                  <a:lnTo>
                    <a:pt x="6223" y="14637"/>
                  </a:lnTo>
                  <a:lnTo>
                    <a:pt x="0" y="13938"/>
                  </a:lnTo>
                  <a:lnTo>
                    <a:pt x="635" y="18481"/>
                  </a:lnTo>
                  <a:lnTo>
                    <a:pt x="7824" y="19865"/>
                  </a:lnTo>
                  <a:cubicBezTo>
                    <a:pt x="10049" y="21332"/>
                    <a:pt x="12992" y="21600"/>
                    <a:pt x="15502" y="20564"/>
                  </a:cubicBezTo>
                  <a:cubicBezTo>
                    <a:pt x="19950" y="18729"/>
                    <a:pt x="21600" y="13831"/>
                    <a:pt x="19023" y="10107"/>
                  </a:cubicBezTo>
                  <a:lnTo>
                    <a:pt x="19415" y="0"/>
                  </a:lnTo>
                  <a:lnTo>
                    <a:pt x="11664" y="4816"/>
                  </a:lnTo>
                  <a:close/>
                </a:path>
              </a:pathLst>
            </a:custGeom>
            <a:grpFill/>
            <a:ln w="25400" cap="flat">
              <a:noFill/>
              <a:prstDash val="solid"/>
              <a:miter lim="400000"/>
            </a:ln>
            <a:effectLst/>
          </p:spPr>
          <p:txBody>
            <a:bodyPr anchor="ctr"/>
            <a:lstStyle/>
            <a:p>
              <a:pPr algn="ctr"/>
              <a:endParaRPr/>
            </a:p>
          </p:txBody>
        </p:sp>
        <p:sp>
          <p:nvSpPr>
            <p:cNvPr id="126" name="任意多边形: 形状 125">
              <a:extLst>
                <a:ext uri="{FF2B5EF4-FFF2-40B4-BE49-F238E27FC236}">
                  <a16:creationId xmlns:a16="http://schemas.microsoft.com/office/drawing/2014/main" id="{DCAB631E-1CFB-470B-9F95-F28C35C86490}"/>
                </a:ext>
              </a:extLst>
            </p:cNvPr>
            <p:cNvSpPr/>
            <p:nvPr/>
          </p:nvSpPr>
          <p:spPr>
            <a:xfrm>
              <a:off x="5813157" y="2519155"/>
              <a:ext cx="32675" cy="52401"/>
            </a:xfrm>
            <a:custGeom>
              <a:avLst/>
              <a:gdLst/>
              <a:ahLst/>
              <a:cxnLst>
                <a:cxn ang="0">
                  <a:pos x="wd2" y="hd2"/>
                </a:cxn>
                <a:cxn ang="5400000">
                  <a:pos x="wd2" y="hd2"/>
                </a:cxn>
                <a:cxn ang="10800000">
                  <a:pos x="wd2" y="hd2"/>
                </a:cxn>
                <a:cxn ang="16200000">
                  <a:pos x="wd2" y="hd2"/>
                </a:cxn>
              </a:cxnLst>
              <a:rect l="0" t="0" r="r" b="b"/>
              <a:pathLst>
                <a:path w="21600" h="21600" extrusionOk="0">
                  <a:moveTo>
                    <a:pt x="13661" y="1731"/>
                  </a:moveTo>
                  <a:lnTo>
                    <a:pt x="11853" y="5894"/>
                  </a:lnTo>
                  <a:lnTo>
                    <a:pt x="4206" y="5101"/>
                  </a:lnTo>
                  <a:lnTo>
                    <a:pt x="0" y="9460"/>
                  </a:lnTo>
                  <a:lnTo>
                    <a:pt x="168" y="14442"/>
                  </a:lnTo>
                  <a:cubicBezTo>
                    <a:pt x="2798" y="15061"/>
                    <a:pt x="5194" y="16010"/>
                    <a:pt x="7206" y="17228"/>
                  </a:cubicBezTo>
                  <a:cubicBezTo>
                    <a:pt x="9251" y="18466"/>
                    <a:pt x="10854" y="19955"/>
                    <a:pt x="11913" y="21600"/>
                  </a:cubicBezTo>
                  <a:lnTo>
                    <a:pt x="21600" y="20338"/>
                  </a:lnTo>
                  <a:lnTo>
                    <a:pt x="21600" y="12245"/>
                  </a:lnTo>
                  <a:lnTo>
                    <a:pt x="20591" y="5088"/>
                  </a:lnTo>
                  <a:lnTo>
                    <a:pt x="18069" y="0"/>
                  </a:lnTo>
                  <a:lnTo>
                    <a:pt x="13661" y="1731"/>
                  </a:lnTo>
                  <a:close/>
                </a:path>
              </a:pathLst>
            </a:custGeom>
            <a:grpFill/>
            <a:ln w="25400" cap="flat">
              <a:noFill/>
              <a:prstDash val="solid"/>
              <a:miter lim="400000"/>
            </a:ln>
            <a:effectLst/>
          </p:spPr>
          <p:txBody>
            <a:bodyPr anchor="ctr"/>
            <a:lstStyle/>
            <a:p>
              <a:pPr algn="ctr"/>
              <a:endParaRPr/>
            </a:p>
          </p:txBody>
        </p:sp>
        <p:sp>
          <p:nvSpPr>
            <p:cNvPr id="127" name="任意多边形: 形状 126">
              <a:extLst>
                <a:ext uri="{FF2B5EF4-FFF2-40B4-BE49-F238E27FC236}">
                  <a16:creationId xmlns:a16="http://schemas.microsoft.com/office/drawing/2014/main" id="{1D87A2BA-1A8B-424F-BA38-FEAAC50A3180}"/>
                </a:ext>
              </a:extLst>
            </p:cNvPr>
            <p:cNvSpPr/>
            <p:nvPr/>
          </p:nvSpPr>
          <p:spPr>
            <a:xfrm>
              <a:off x="5800394" y="2590774"/>
              <a:ext cx="44328" cy="77472"/>
            </a:xfrm>
            <a:custGeom>
              <a:avLst/>
              <a:gdLst/>
              <a:ahLst/>
              <a:cxnLst>
                <a:cxn ang="0">
                  <a:pos x="wd2" y="hd2"/>
                </a:cxn>
                <a:cxn ang="5400000">
                  <a:pos x="wd2" y="hd2"/>
                </a:cxn>
                <a:cxn ang="10800000">
                  <a:pos x="wd2" y="hd2"/>
                </a:cxn>
                <a:cxn ang="16200000">
                  <a:pos x="wd2" y="hd2"/>
                </a:cxn>
              </a:cxnLst>
              <a:rect l="0" t="0" r="r" b="b"/>
              <a:pathLst>
                <a:path w="21055" h="21324" extrusionOk="0">
                  <a:moveTo>
                    <a:pt x="8993" y="0"/>
                  </a:moveTo>
                  <a:lnTo>
                    <a:pt x="4720" y="2328"/>
                  </a:lnTo>
                  <a:lnTo>
                    <a:pt x="264" y="4061"/>
                  </a:lnTo>
                  <a:lnTo>
                    <a:pt x="0" y="7596"/>
                  </a:lnTo>
                  <a:lnTo>
                    <a:pt x="4908" y="9951"/>
                  </a:lnTo>
                  <a:lnTo>
                    <a:pt x="4908" y="14304"/>
                  </a:lnTo>
                  <a:lnTo>
                    <a:pt x="7308" y="16172"/>
                  </a:lnTo>
                  <a:lnTo>
                    <a:pt x="8380" y="19699"/>
                  </a:lnTo>
                  <a:cubicBezTo>
                    <a:pt x="8501" y="20496"/>
                    <a:pt x="9534" y="21148"/>
                    <a:pt x="10902" y="21289"/>
                  </a:cubicBezTo>
                  <a:cubicBezTo>
                    <a:pt x="13902" y="21600"/>
                    <a:pt x="16165" y="19752"/>
                    <a:pt x="14647" y="18231"/>
                  </a:cubicBezTo>
                  <a:lnTo>
                    <a:pt x="18270" y="17605"/>
                  </a:lnTo>
                  <a:cubicBezTo>
                    <a:pt x="19422" y="16417"/>
                    <a:pt x="20233" y="15129"/>
                    <a:pt x="20671" y="13792"/>
                  </a:cubicBezTo>
                  <a:cubicBezTo>
                    <a:pt x="21600" y="10953"/>
                    <a:pt x="20834" y="8017"/>
                    <a:pt x="18496" y="5460"/>
                  </a:cubicBezTo>
                  <a:lnTo>
                    <a:pt x="18149" y="907"/>
                  </a:lnTo>
                  <a:lnTo>
                    <a:pt x="8993" y="0"/>
                  </a:lnTo>
                  <a:close/>
                </a:path>
              </a:pathLst>
            </a:custGeom>
            <a:grpFill/>
            <a:ln w="25400" cap="flat">
              <a:noFill/>
              <a:prstDash val="solid"/>
              <a:miter lim="400000"/>
            </a:ln>
            <a:effectLst/>
          </p:spPr>
          <p:txBody>
            <a:bodyPr anchor="ctr"/>
            <a:lstStyle/>
            <a:p>
              <a:pPr algn="ctr"/>
              <a:endParaRPr/>
            </a:p>
          </p:txBody>
        </p:sp>
        <p:sp>
          <p:nvSpPr>
            <p:cNvPr id="128" name="任意多边形: 形状 127">
              <a:extLst>
                <a:ext uri="{FF2B5EF4-FFF2-40B4-BE49-F238E27FC236}">
                  <a16:creationId xmlns:a16="http://schemas.microsoft.com/office/drawing/2014/main" id="{8D1C6280-6FDE-4FDB-B396-CFB0B39F947A}"/>
                </a:ext>
              </a:extLst>
            </p:cNvPr>
            <p:cNvSpPr/>
            <p:nvPr/>
          </p:nvSpPr>
          <p:spPr>
            <a:xfrm>
              <a:off x="5935621" y="2695122"/>
              <a:ext cx="87464" cy="46959"/>
            </a:xfrm>
            <a:custGeom>
              <a:avLst/>
              <a:gdLst/>
              <a:ahLst/>
              <a:cxnLst>
                <a:cxn ang="0">
                  <a:pos x="wd2" y="hd2"/>
                </a:cxn>
                <a:cxn ang="5400000">
                  <a:pos x="wd2" y="hd2"/>
                </a:cxn>
                <a:cxn ang="10800000">
                  <a:pos x="wd2" y="hd2"/>
                </a:cxn>
                <a:cxn ang="16200000">
                  <a:pos x="wd2" y="hd2"/>
                </a:cxn>
              </a:cxnLst>
              <a:rect l="0" t="0" r="r" b="b"/>
              <a:pathLst>
                <a:path w="21600" h="21334" extrusionOk="0">
                  <a:moveTo>
                    <a:pt x="7882" y="0"/>
                  </a:moveTo>
                  <a:lnTo>
                    <a:pt x="5685" y="3441"/>
                  </a:lnTo>
                  <a:lnTo>
                    <a:pt x="1488" y="2877"/>
                  </a:lnTo>
                  <a:lnTo>
                    <a:pt x="0" y="5287"/>
                  </a:lnTo>
                  <a:lnTo>
                    <a:pt x="2117" y="8371"/>
                  </a:lnTo>
                  <a:lnTo>
                    <a:pt x="8892" y="11123"/>
                  </a:lnTo>
                  <a:lnTo>
                    <a:pt x="13224" y="15942"/>
                  </a:lnTo>
                  <a:lnTo>
                    <a:pt x="17549" y="21334"/>
                  </a:lnTo>
                  <a:lnTo>
                    <a:pt x="19418" y="15125"/>
                  </a:lnTo>
                  <a:lnTo>
                    <a:pt x="19418" y="11123"/>
                  </a:lnTo>
                  <a:lnTo>
                    <a:pt x="21600" y="5502"/>
                  </a:lnTo>
                  <a:cubicBezTo>
                    <a:pt x="21188" y="3626"/>
                    <a:pt x="20374" y="2139"/>
                    <a:pt x="19348" y="1386"/>
                  </a:cubicBezTo>
                  <a:cubicBezTo>
                    <a:pt x="17095" y="-266"/>
                    <a:pt x="14537" y="1740"/>
                    <a:pt x="13641" y="5861"/>
                  </a:cubicBezTo>
                  <a:lnTo>
                    <a:pt x="11263" y="1414"/>
                  </a:lnTo>
                  <a:lnTo>
                    <a:pt x="7882" y="0"/>
                  </a:lnTo>
                  <a:close/>
                </a:path>
              </a:pathLst>
            </a:custGeom>
            <a:grpFill/>
            <a:ln w="25400" cap="flat">
              <a:noFill/>
              <a:prstDash val="solid"/>
              <a:miter lim="400000"/>
            </a:ln>
            <a:effectLst/>
          </p:spPr>
          <p:txBody>
            <a:bodyPr anchor="ctr"/>
            <a:lstStyle/>
            <a:p>
              <a:pPr algn="ctr"/>
              <a:endParaRPr/>
            </a:p>
          </p:txBody>
        </p:sp>
        <p:sp>
          <p:nvSpPr>
            <p:cNvPr id="129" name="任意多边形: 形状 128">
              <a:extLst>
                <a:ext uri="{FF2B5EF4-FFF2-40B4-BE49-F238E27FC236}">
                  <a16:creationId xmlns:a16="http://schemas.microsoft.com/office/drawing/2014/main" id="{49954280-A386-428C-B561-F057F49B3CA0}"/>
                </a:ext>
              </a:extLst>
            </p:cNvPr>
            <p:cNvSpPr/>
            <p:nvPr/>
          </p:nvSpPr>
          <p:spPr>
            <a:xfrm>
              <a:off x="5977156" y="2768475"/>
              <a:ext cx="19383" cy="16966"/>
            </a:xfrm>
            <a:custGeom>
              <a:avLst/>
              <a:gdLst/>
              <a:ahLst/>
              <a:cxnLst>
                <a:cxn ang="0">
                  <a:pos x="wd2" y="hd2"/>
                </a:cxn>
                <a:cxn ang="5400000">
                  <a:pos x="wd2" y="hd2"/>
                </a:cxn>
                <a:cxn ang="10800000">
                  <a:pos x="wd2" y="hd2"/>
                </a:cxn>
                <a:cxn ang="16200000">
                  <a:pos x="wd2" y="hd2"/>
                </a:cxn>
              </a:cxnLst>
              <a:rect l="0" t="0" r="r" b="b"/>
              <a:pathLst>
                <a:path w="21600" h="21600" extrusionOk="0">
                  <a:moveTo>
                    <a:pt x="15774" y="1048"/>
                  </a:moveTo>
                  <a:lnTo>
                    <a:pt x="1426" y="0"/>
                  </a:lnTo>
                  <a:lnTo>
                    <a:pt x="0" y="17702"/>
                  </a:lnTo>
                  <a:lnTo>
                    <a:pt x="21600" y="21600"/>
                  </a:lnTo>
                  <a:lnTo>
                    <a:pt x="15774" y="1048"/>
                  </a:lnTo>
                  <a:close/>
                </a:path>
              </a:pathLst>
            </a:custGeom>
            <a:grpFill/>
            <a:ln w="25400" cap="flat">
              <a:noFill/>
              <a:prstDash val="solid"/>
              <a:miter lim="400000"/>
            </a:ln>
            <a:effectLst/>
          </p:spPr>
          <p:txBody>
            <a:bodyPr anchor="ctr"/>
            <a:lstStyle/>
            <a:p>
              <a:pPr algn="ctr"/>
              <a:endParaRPr/>
            </a:p>
          </p:txBody>
        </p:sp>
        <p:sp>
          <p:nvSpPr>
            <p:cNvPr id="130" name="任意多边形: 形状 129">
              <a:extLst>
                <a:ext uri="{FF2B5EF4-FFF2-40B4-BE49-F238E27FC236}">
                  <a16:creationId xmlns:a16="http://schemas.microsoft.com/office/drawing/2014/main" id="{2DA30875-85BA-4F32-B9E9-F91DE52081B3}"/>
                </a:ext>
              </a:extLst>
            </p:cNvPr>
            <p:cNvSpPr/>
            <p:nvPr/>
          </p:nvSpPr>
          <p:spPr>
            <a:xfrm>
              <a:off x="6277853" y="2784962"/>
              <a:ext cx="97332" cy="33679"/>
            </a:xfrm>
            <a:custGeom>
              <a:avLst/>
              <a:gdLst/>
              <a:ahLst/>
              <a:cxnLst>
                <a:cxn ang="0">
                  <a:pos x="wd2" y="hd2"/>
                </a:cxn>
                <a:cxn ang="5400000">
                  <a:pos x="wd2" y="hd2"/>
                </a:cxn>
                <a:cxn ang="10800000">
                  <a:pos x="wd2" y="hd2"/>
                </a:cxn>
                <a:cxn ang="16200000">
                  <a:pos x="wd2" y="hd2"/>
                </a:cxn>
              </a:cxnLst>
              <a:rect l="0" t="0" r="r" b="b"/>
              <a:pathLst>
                <a:path w="21565" h="19779" extrusionOk="0">
                  <a:moveTo>
                    <a:pt x="12434" y="4397"/>
                  </a:moveTo>
                  <a:lnTo>
                    <a:pt x="7006" y="2044"/>
                  </a:lnTo>
                  <a:lnTo>
                    <a:pt x="3364" y="1828"/>
                  </a:lnTo>
                  <a:cubicBezTo>
                    <a:pt x="2241" y="-1757"/>
                    <a:pt x="29" y="279"/>
                    <a:pt x="0" y="4926"/>
                  </a:cubicBezTo>
                  <a:cubicBezTo>
                    <a:pt x="-35" y="10379"/>
                    <a:pt x="2718" y="12346"/>
                    <a:pt x="3736" y="7595"/>
                  </a:cubicBezTo>
                  <a:lnTo>
                    <a:pt x="6269" y="12491"/>
                  </a:lnTo>
                  <a:lnTo>
                    <a:pt x="8797" y="17829"/>
                  </a:lnTo>
                  <a:cubicBezTo>
                    <a:pt x="10237" y="18722"/>
                    <a:pt x="11702" y="19311"/>
                    <a:pt x="13178" y="19590"/>
                  </a:cubicBezTo>
                  <a:cubicBezTo>
                    <a:pt x="14509" y="19843"/>
                    <a:pt x="15846" y="19843"/>
                    <a:pt x="17178" y="19590"/>
                  </a:cubicBezTo>
                  <a:lnTo>
                    <a:pt x="21565" y="16031"/>
                  </a:lnTo>
                  <a:lnTo>
                    <a:pt x="21234" y="9358"/>
                  </a:lnTo>
                  <a:cubicBezTo>
                    <a:pt x="20150" y="10055"/>
                    <a:pt x="19031" y="10305"/>
                    <a:pt x="17917" y="10099"/>
                  </a:cubicBezTo>
                  <a:cubicBezTo>
                    <a:pt x="16919" y="9915"/>
                    <a:pt x="15935" y="9366"/>
                    <a:pt x="14995" y="8468"/>
                  </a:cubicBezTo>
                  <a:lnTo>
                    <a:pt x="12434" y="4397"/>
                  </a:lnTo>
                  <a:close/>
                </a:path>
              </a:pathLst>
            </a:custGeom>
            <a:grpFill/>
            <a:ln w="25400" cap="flat">
              <a:noFill/>
              <a:prstDash val="solid"/>
              <a:miter lim="400000"/>
            </a:ln>
            <a:effectLst/>
          </p:spPr>
          <p:txBody>
            <a:bodyPr anchor="ctr"/>
            <a:lstStyle/>
            <a:p>
              <a:pPr algn="ctr"/>
              <a:endParaRPr/>
            </a:p>
          </p:txBody>
        </p:sp>
        <p:sp>
          <p:nvSpPr>
            <p:cNvPr id="131" name="任意多边形: 形状 130">
              <a:extLst>
                <a:ext uri="{FF2B5EF4-FFF2-40B4-BE49-F238E27FC236}">
                  <a16:creationId xmlns:a16="http://schemas.microsoft.com/office/drawing/2014/main" id="{28A2D4F8-4CF0-4CE7-80C3-65C6CDCD975E}"/>
                </a:ext>
              </a:extLst>
            </p:cNvPr>
            <p:cNvSpPr/>
            <p:nvPr/>
          </p:nvSpPr>
          <p:spPr>
            <a:xfrm>
              <a:off x="6105633" y="1911267"/>
              <a:ext cx="32397" cy="27552"/>
            </a:xfrm>
            <a:custGeom>
              <a:avLst/>
              <a:gdLst/>
              <a:ahLst/>
              <a:cxnLst>
                <a:cxn ang="0">
                  <a:pos x="wd2" y="hd2"/>
                </a:cxn>
                <a:cxn ang="5400000">
                  <a:pos x="wd2" y="hd2"/>
                </a:cxn>
                <a:cxn ang="10800000">
                  <a:pos x="wd2" y="hd2"/>
                </a:cxn>
                <a:cxn ang="16200000">
                  <a:pos x="wd2" y="hd2"/>
                </a:cxn>
              </a:cxnLst>
              <a:rect l="0" t="0" r="r" b="b"/>
              <a:pathLst>
                <a:path w="20495" h="21600" extrusionOk="0">
                  <a:moveTo>
                    <a:pt x="13981" y="0"/>
                  </a:moveTo>
                  <a:lnTo>
                    <a:pt x="5719" y="857"/>
                  </a:lnTo>
                  <a:lnTo>
                    <a:pt x="0" y="11369"/>
                  </a:lnTo>
                  <a:lnTo>
                    <a:pt x="5962" y="17640"/>
                  </a:lnTo>
                  <a:lnTo>
                    <a:pt x="14301" y="21600"/>
                  </a:lnTo>
                  <a:cubicBezTo>
                    <a:pt x="17054" y="20527"/>
                    <a:pt x="19207" y="17865"/>
                    <a:pt x="20066" y="14472"/>
                  </a:cubicBezTo>
                  <a:cubicBezTo>
                    <a:pt x="21600" y="8411"/>
                    <a:pt x="18887" y="1959"/>
                    <a:pt x="13981" y="0"/>
                  </a:cubicBezTo>
                  <a:close/>
                </a:path>
              </a:pathLst>
            </a:custGeom>
            <a:grpFill/>
            <a:ln w="25400" cap="flat">
              <a:noFill/>
              <a:prstDash val="solid"/>
              <a:miter lim="400000"/>
            </a:ln>
            <a:effectLst/>
          </p:spPr>
          <p:txBody>
            <a:bodyPr anchor="ctr"/>
            <a:lstStyle/>
            <a:p>
              <a:pPr algn="ctr"/>
              <a:endParaRPr/>
            </a:p>
          </p:txBody>
        </p:sp>
        <p:sp>
          <p:nvSpPr>
            <p:cNvPr id="132" name="任意多边形: 形状 131">
              <a:extLst>
                <a:ext uri="{FF2B5EF4-FFF2-40B4-BE49-F238E27FC236}">
                  <a16:creationId xmlns:a16="http://schemas.microsoft.com/office/drawing/2014/main" id="{D5212809-8DA8-4FC2-A5DF-9EB2F1887007}"/>
                </a:ext>
              </a:extLst>
            </p:cNvPr>
            <p:cNvSpPr/>
            <p:nvPr/>
          </p:nvSpPr>
          <p:spPr>
            <a:xfrm>
              <a:off x="9216497" y="4500642"/>
              <a:ext cx="1322325" cy="1010305"/>
            </a:xfrm>
            <a:custGeom>
              <a:avLst/>
              <a:gdLst/>
              <a:ahLst/>
              <a:cxnLst>
                <a:cxn ang="0">
                  <a:pos x="wd2" y="hd2"/>
                </a:cxn>
                <a:cxn ang="5400000">
                  <a:pos x="wd2" y="hd2"/>
                </a:cxn>
                <a:cxn ang="10800000">
                  <a:pos x="wd2" y="hd2"/>
                </a:cxn>
                <a:cxn ang="16200000">
                  <a:pos x="wd2" y="hd2"/>
                </a:cxn>
              </a:cxnLst>
              <a:rect l="0" t="0" r="r" b="b"/>
              <a:pathLst>
                <a:path w="21600" h="21587" extrusionOk="0">
                  <a:moveTo>
                    <a:pt x="5954" y="5356"/>
                  </a:moveTo>
                  <a:lnTo>
                    <a:pt x="5796" y="5869"/>
                  </a:lnTo>
                  <a:lnTo>
                    <a:pt x="5503" y="6311"/>
                  </a:lnTo>
                  <a:lnTo>
                    <a:pt x="5365" y="6483"/>
                  </a:lnTo>
                  <a:lnTo>
                    <a:pt x="5082" y="6656"/>
                  </a:lnTo>
                  <a:lnTo>
                    <a:pt x="4719" y="6834"/>
                  </a:lnTo>
                  <a:lnTo>
                    <a:pt x="4278" y="6893"/>
                  </a:lnTo>
                  <a:lnTo>
                    <a:pt x="3867" y="6963"/>
                  </a:lnTo>
                  <a:lnTo>
                    <a:pt x="3605" y="7152"/>
                  </a:lnTo>
                  <a:lnTo>
                    <a:pt x="3201" y="7421"/>
                  </a:lnTo>
                  <a:lnTo>
                    <a:pt x="2840" y="7616"/>
                  </a:lnTo>
                  <a:lnTo>
                    <a:pt x="2159" y="7891"/>
                  </a:lnTo>
                  <a:lnTo>
                    <a:pt x="1627" y="8085"/>
                  </a:lnTo>
                  <a:lnTo>
                    <a:pt x="1116" y="8295"/>
                  </a:lnTo>
                  <a:lnTo>
                    <a:pt x="1025" y="8677"/>
                  </a:lnTo>
                  <a:lnTo>
                    <a:pt x="980" y="8983"/>
                  </a:lnTo>
                  <a:lnTo>
                    <a:pt x="880" y="9313"/>
                  </a:lnTo>
                  <a:lnTo>
                    <a:pt x="718" y="9572"/>
                  </a:lnTo>
                  <a:lnTo>
                    <a:pt x="742" y="9911"/>
                  </a:lnTo>
                  <a:lnTo>
                    <a:pt x="766" y="10200"/>
                  </a:lnTo>
                  <a:lnTo>
                    <a:pt x="887" y="10459"/>
                  </a:lnTo>
                  <a:lnTo>
                    <a:pt x="982" y="10658"/>
                  </a:lnTo>
                  <a:lnTo>
                    <a:pt x="945" y="10981"/>
                  </a:lnTo>
                  <a:lnTo>
                    <a:pt x="804" y="11271"/>
                  </a:lnTo>
                  <a:lnTo>
                    <a:pt x="643" y="11837"/>
                  </a:lnTo>
                  <a:lnTo>
                    <a:pt x="607" y="12409"/>
                  </a:lnTo>
                  <a:lnTo>
                    <a:pt x="619" y="12825"/>
                  </a:lnTo>
                  <a:lnTo>
                    <a:pt x="619" y="14159"/>
                  </a:lnTo>
                  <a:lnTo>
                    <a:pt x="657" y="14449"/>
                  </a:lnTo>
                  <a:lnTo>
                    <a:pt x="756" y="14821"/>
                  </a:lnTo>
                  <a:lnTo>
                    <a:pt x="756" y="15123"/>
                  </a:lnTo>
                  <a:lnTo>
                    <a:pt x="806" y="15510"/>
                  </a:lnTo>
                  <a:lnTo>
                    <a:pt x="856" y="15799"/>
                  </a:lnTo>
                  <a:lnTo>
                    <a:pt x="756" y="16171"/>
                  </a:lnTo>
                  <a:lnTo>
                    <a:pt x="620" y="16478"/>
                  </a:lnTo>
                  <a:lnTo>
                    <a:pt x="546" y="16734"/>
                  </a:lnTo>
                  <a:lnTo>
                    <a:pt x="484" y="17052"/>
                  </a:lnTo>
                  <a:lnTo>
                    <a:pt x="393" y="17251"/>
                  </a:lnTo>
                  <a:lnTo>
                    <a:pt x="218" y="17348"/>
                  </a:lnTo>
                  <a:lnTo>
                    <a:pt x="0" y="17440"/>
                  </a:lnTo>
                  <a:lnTo>
                    <a:pt x="75" y="17639"/>
                  </a:lnTo>
                  <a:lnTo>
                    <a:pt x="148" y="17822"/>
                  </a:lnTo>
                  <a:lnTo>
                    <a:pt x="409" y="18166"/>
                  </a:lnTo>
                  <a:lnTo>
                    <a:pt x="717" y="18165"/>
                  </a:lnTo>
                  <a:lnTo>
                    <a:pt x="954" y="18364"/>
                  </a:lnTo>
                  <a:lnTo>
                    <a:pt x="1202" y="18316"/>
                  </a:lnTo>
                  <a:lnTo>
                    <a:pt x="1439" y="18047"/>
                  </a:lnTo>
                  <a:lnTo>
                    <a:pt x="1767" y="17901"/>
                  </a:lnTo>
                  <a:lnTo>
                    <a:pt x="2169" y="17804"/>
                  </a:lnTo>
                  <a:lnTo>
                    <a:pt x="2597" y="17535"/>
                  </a:lnTo>
                  <a:lnTo>
                    <a:pt x="2792" y="17454"/>
                  </a:lnTo>
                  <a:lnTo>
                    <a:pt x="3078" y="17389"/>
                  </a:lnTo>
                  <a:lnTo>
                    <a:pt x="3572" y="17373"/>
                  </a:lnTo>
                  <a:lnTo>
                    <a:pt x="3783" y="17308"/>
                  </a:lnTo>
                  <a:lnTo>
                    <a:pt x="4016" y="17260"/>
                  </a:lnTo>
                  <a:lnTo>
                    <a:pt x="4277" y="17211"/>
                  </a:lnTo>
                  <a:cubicBezTo>
                    <a:pt x="4368" y="17227"/>
                    <a:pt x="4461" y="17227"/>
                    <a:pt x="4552" y="17211"/>
                  </a:cubicBezTo>
                  <a:cubicBezTo>
                    <a:pt x="4646" y="17194"/>
                    <a:pt x="4738" y="17159"/>
                    <a:pt x="4825" y="17108"/>
                  </a:cubicBezTo>
                  <a:lnTo>
                    <a:pt x="5149" y="16802"/>
                  </a:lnTo>
                  <a:lnTo>
                    <a:pt x="5410" y="16608"/>
                  </a:lnTo>
                  <a:lnTo>
                    <a:pt x="5793" y="16451"/>
                  </a:lnTo>
                  <a:lnTo>
                    <a:pt x="6066" y="16339"/>
                  </a:lnTo>
                  <a:lnTo>
                    <a:pt x="6419" y="16236"/>
                  </a:lnTo>
                  <a:lnTo>
                    <a:pt x="7073" y="16033"/>
                  </a:lnTo>
                  <a:lnTo>
                    <a:pt x="7555" y="15812"/>
                  </a:lnTo>
                  <a:lnTo>
                    <a:pt x="7812" y="15893"/>
                  </a:lnTo>
                  <a:lnTo>
                    <a:pt x="8156" y="15925"/>
                  </a:lnTo>
                  <a:lnTo>
                    <a:pt x="8413" y="15764"/>
                  </a:lnTo>
                  <a:cubicBezTo>
                    <a:pt x="8514" y="15721"/>
                    <a:pt x="8618" y="15693"/>
                    <a:pt x="8724" y="15683"/>
                  </a:cubicBezTo>
                  <a:cubicBezTo>
                    <a:pt x="8850" y="15670"/>
                    <a:pt x="8977" y="15680"/>
                    <a:pt x="9101" y="15714"/>
                  </a:cubicBezTo>
                  <a:lnTo>
                    <a:pt x="9309" y="15811"/>
                  </a:lnTo>
                  <a:lnTo>
                    <a:pt x="9665" y="16129"/>
                  </a:lnTo>
                  <a:lnTo>
                    <a:pt x="9802" y="16323"/>
                  </a:lnTo>
                  <a:lnTo>
                    <a:pt x="10014" y="16431"/>
                  </a:lnTo>
                  <a:cubicBezTo>
                    <a:pt x="10054" y="16535"/>
                    <a:pt x="10087" y="16643"/>
                    <a:pt x="10112" y="16754"/>
                  </a:cubicBezTo>
                  <a:cubicBezTo>
                    <a:pt x="10146" y="16901"/>
                    <a:pt x="10167" y="17052"/>
                    <a:pt x="10174" y="17205"/>
                  </a:cubicBezTo>
                  <a:lnTo>
                    <a:pt x="10302" y="17344"/>
                  </a:lnTo>
                  <a:lnTo>
                    <a:pt x="10401" y="17554"/>
                  </a:lnTo>
                  <a:lnTo>
                    <a:pt x="10451" y="17811"/>
                  </a:lnTo>
                  <a:lnTo>
                    <a:pt x="10476" y="18064"/>
                  </a:lnTo>
                  <a:lnTo>
                    <a:pt x="10688" y="18145"/>
                  </a:lnTo>
                  <a:lnTo>
                    <a:pt x="10787" y="17837"/>
                  </a:lnTo>
                  <a:lnTo>
                    <a:pt x="10899" y="17643"/>
                  </a:lnTo>
                  <a:lnTo>
                    <a:pt x="11281" y="17568"/>
                  </a:lnTo>
                  <a:lnTo>
                    <a:pt x="11514" y="17330"/>
                  </a:lnTo>
                  <a:lnTo>
                    <a:pt x="11659" y="16996"/>
                  </a:lnTo>
                  <a:lnTo>
                    <a:pt x="11759" y="16727"/>
                  </a:lnTo>
                  <a:lnTo>
                    <a:pt x="11983" y="16727"/>
                  </a:lnTo>
                  <a:lnTo>
                    <a:pt x="12102" y="16986"/>
                  </a:lnTo>
                  <a:lnTo>
                    <a:pt x="12069" y="17282"/>
                  </a:lnTo>
                  <a:lnTo>
                    <a:pt x="11874" y="17524"/>
                  </a:lnTo>
                  <a:lnTo>
                    <a:pt x="11654" y="17767"/>
                  </a:lnTo>
                  <a:lnTo>
                    <a:pt x="11510" y="17972"/>
                  </a:lnTo>
                  <a:lnTo>
                    <a:pt x="11473" y="18225"/>
                  </a:lnTo>
                  <a:lnTo>
                    <a:pt x="11274" y="18418"/>
                  </a:lnTo>
                  <a:lnTo>
                    <a:pt x="11125" y="18467"/>
                  </a:lnTo>
                  <a:lnTo>
                    <a:pt x="11188" y="18634"/>
                  </a:lnTo>
                  <a:lnTo>
                    <a:pt x="11336" y="18634"/>
                  </a:lnTo>
                  <a:lnTo>
                    <a:pt x="11507" y="18537"/>
                  </a:lnTo>
                  <a:lnTo>
                    <a:pt x="11648" y="18208"/>
                  </a:lnTo>
                  <a:lnTo>
                    <a:pt x="11859" y="17966"/>
                  </a:lnTo>
                  <a:lnTo>
                    <a:pt x="11982" y="17997"/>
                  </a:lnTo>
                  <a:lnTo>
                    <a:pt x="12028" y="18234"/>
                  </a:lnTo>
                  <a:lnTo>
                    <a:pt x="12003" y="18557"/>
                  </a:lnTo>
                  <a:lnTo>
                    <a:pt x="11990" y="18719"/>
                  </a:lnTo>
                  <a:lnTo>
                    <a:pt x="12143" y="18913"/>
                  </a:lnTo>
                  <a:lnTo>
                    <a:pt x="12243" y="19251"/>
                  </a:lnTo>
                  <a:lnTo>
                    <a:pt x="12130" y="19639"/>
                  </a:lnTo>
                  <a:lnTo>
                    <a:pt x="12031" y="19855"/>
                  </a:lnTo>
                  <a:lnTo>
                    <a:pt x="11944" y="20096"/>
                  </a:lnTo>
                  <a:lnTo>
                    <a:pt x="12193" y="20469"/>
                  </a:lnTo>
                  <a:lnTo>
                    <a:pt x="12600" y="20760"/>
                  </a:lnTo>
                  <a:lnTo>
                    <a:pt x="12912" y="21094"/>
                  </a:lnTo>
                  <a:lnTo>
                    <a:pt x="13119" y="21142"/>
                  </a:lnTo>
                  <a:lnTo>
                    <a:pt x="13372" y="21202"/>
                  </a:lnTo>
                  <a:cubicBezTo>
                    <a:pt x="13427" y="21195"/>
                    <a:pt x="13481" y="21173"/>
                    <a:pt x="13529" y="21138"/>
                  </a:cubicBezTo>
                  <a:cubicBezTo>
                    <a:pt x="13608" y="21080"/>
                    <a:pt x="13669" y="20988"/>
                    <a:pt x="13703" y="20879"/>
                  </a:cubicBezTo>
                  <a:lnTo>
                    <a:pt x="13911" y="20820"/>
                  </a:lnTo>
                  <a:lnTo>
                    <a:pt x="14131" y="20831"/>
                  </a:lnTo>
                  <a:lnTo>
                    <a:pt x="14366" y="21000"/>
                  </a:lnTo>
                  <a:lnTo>
                    <a:pt x="14503" y="21323"/>
                  </a:lnTo>
                  <a:cubicBezTo>
                    <a:pt x="14516" y="21451"/>
                    <a:pt x="14589" y="21554"/>
                    <a:pt x="14686" y="21581"/>
                  </a:cubicBezTo>
                  <a:cubicBezTo>
                    <a:pt x="14755" y="21600"/>
                    <a:pt x="14827" y="21576"/>
                    <a:pt x="14881" y="21516"/>
                  </a:cubicBezTo>
                  <a:lnTo>
                    <a:pt x="15117" y="21042"/>
                  </a:lnTo>
                  <a:cubicBezTo>
                    <a:pt x="15153" y="20962"/>
                    <a:pt x="15199" y="20891"/>
                    <a:pt x="15254" y="20832"/>
                  </a:cubicBezTo>
                  <a:cubicBezTo>
                    <a:pt x="15361" y="20715"/>
                    <a:pt x="15495" y="20649"/>
                    <a:pt x="15635" y="20643"/>
                  </a:cubicBezTo>
                  <a:lnTo>
                    <a:pt x="15896" y="20578"/>
                  </a:lnTo>
                  <a:lnTo>
                    <a:pt x="16108" y="20578"/>
                  </a:lnTo>
                  <a:lnTo>
                    <a:pt x="16320" y="20708"/>
                  </a:lnTo>
                  <a:cubicBezTo>
                    <a:pt x="16368" y="20765"/>
                    <a:pt x="16429" y="20799"/>
                    <a:pt x="16494" y="20805"/>
                  </a:cubicBezTo>
                  <a:cubicBezTo>
                    <a:pt x="16587" y="20814"/>
                    <a:pt x="16677" y="20766"/>
                    <a:pt x="16739" y="20676"/>
                  </a:cubicBezTo>
                  <a:lnTo>
                    <a:pt x="16988" y="20110"/>
                  </a:lnTo>
                  <a:lnTo>
                    <a:pt x="17250" y="19592"/>
                  </a:lnTo>
                  <a:cubicBezTo>
                    <a:pt x="17331" y="19471"/>
                    <a:pt x="17410" y="19347"/>
                    <a:pt x="17487" y="19220"/>
                  </a:cubicBezTo>
                  <a:cubicBezTo>
                    <a:pt x="17562" y="19095"/>
                    <a:pt x="17636" y="18967"/>
                    <a:pt x="17707" y="18837"/>
                  </a:cubicBezTo>
                  <a:lnTo>
                    <a:pt x="18063" y="18805"/>
                  </a:lnTo>
                  <a:lnTo>
                    <a:pt x="18151" y="18627"/>
                  </a:lnTo>
                  <a:lnTo>
                    <a:pt x="18358" y="18341"/>
                  </a:lnTo>
                  <a:lnTo>
                    <a:pt x="18454" y="18136"/>
                  </a:lnTo>
                  <a:lnTo>
                    <a:pt x="18691" y="17893"/>
                  </a:lnTo>
                  <a:cubicBezTo>
                    <a:pt x="18717" y="17817"/>
                    <a:pt x="18736" y="17738"/>
                    <a:pt x="18748" y="17656"/>
                  </a:cubicBezTo>
                  <a:cubicBezTo>
                    <a:pt x="18765" y="17543"/>
                    <a:pt x="18767" y="17423"/>
                    <a:pt x="18810" y="17321"/>
                  </a:cubicBezTo>
                  <a:cubicBezTo>
                    <a:pt x="18860" y="17203"/>
                    <a:pt x="18955" y="17129"/>
                    <a:pt x="19059" y="17127"/>
                  </a:cubicBezTo>
                  <a:lnTo>
                    <a:pt x="19413" y="16924"/>
                  </a:lnTo>
                  <a:lnTo>
                    <a:pt x="19787" y="16655"/>
                  </a:lnTo>
                  <a:lnTo>
                    <a:pt x="19874" y="16445"/>
                  </a:lnTo>
                  <a:lnTo>
                    <a:pt x="20023" y="16251"/>
                  </a:lnTo>
                  <a:lnTo>
                    <a:pt x="20285" y="15880"/>
                  </a:lnTo>
                  <a:lnTo>
                    <a:pt x="20451" y="15642"/>
                  </a:lnTo>
                  <a:lnTo>
                    <a:pt x="20476" y="15370"/>
                  </a:lnTo>
                  <a:cubicBezTo>
                    <a:pt x="20512" y="15250"/>
                    <a:pt x="20553" y="15133"/>
                    <a:pt x="20601" y="15020"/>
                  </a:cubicBezTo>
                  <a:cubicBezTo>
                    <a:pt x="20671" y="14852"/>
                    <a:pt x="20753" y="14693"/>
                    <a:pt x="20846" y="14545"/>
                  </a:cubicBezTo>
                  <a:cubicBezTo>
                    <a:pt x="20913" y="14433"/>
                    <a:pt x="20979" y="14320"/>
                    <a:pt x="21045" y="14206"/>
                  </a:cubicBezTo>
                  <a:cubicBezTo>
                    <a:pt x="21111" y="14091"/>
                    <a:pt x="21176" y="13976"/>
                    <a:pt x="21240" y="13860"/>
                  </a:cubicBezTo>
                  <a:cubicBezTo>
                    <a:pt x="21281" y="13719"/>
                    <a:pt x="21310" y="13572"/>
                    <a:pt x="21327" y="13423"/>
                  </a:cubicBezTo>
                  <a:cubicBezTo>
                    <a:pt x="21345" y="13266"/>
                    <a:pt x="21349" y="13107"/>
                    <a:pt x="21340" y="12948"/>
                  </a:cubicBezTo>
                  <a:lnTo>
                    <a:pt x="21550" y="12563"/>
                  </a:lnTo>
                  <a:cubicBezTo>
                    <a:pt x="21536" y="12461"/>
                    <a:pt x="21532" y="12358"/>
                    <a:pt x="21538" y="12255"/>
                  </a:cubicBezTo>
                  <a:cubicBezTo>
                    <a:pt x="21545" y="12135"/>
                    <a:pt x="21566" y="12016"/>
                    <a:pt x="21600" y="11904"/>
                  </a:cubicBezTo>
                  <a:lnTo>
                    <a:pt x="21600" y="11340"/>
                  </a:lnTo>
                  <a:lnTo>
                    <a:pt x="21538" y="11038"/>
                  </a:lnTo>
                  <a:lnTo>
                    <a:pt x="21389" y="10617"/>
                  </a:lnTo>
                  <a:lnTo>
                    <a:pt x="21281" y="10240"/>
                  </a:lnTo>
                  <a:lnTo>
                    <a:pt x="21028" y="9986"/>
                  </a:lnTo>
                  <a:lnTo>
                    <a:pt x="20791" y="9581"/>
                  </a:lnTo>
                  <a:lnTo>
                    <a:pt x="20733" y="9333"/>
                  </a:lnTo>
                  <a:lnTo>
                    <a:pt x="20397" y="8721"/>
                  </a:lnTo>
                  <a:lnTo>
                    <a:pt x="20297" y="8091"/>
                  </a:lnTo>
                  <a:lnTo>
                    <a:pt x="20106" y="7525"/>
                  </a:lnTo>
                  <a:lnTo>
                    <a:pt x="19820" y="6996"/>
                  </a:lnTo>
                  <a:lnTo>
                    <a:pt x="19620" y="6527"/>
                  </a:lnTo>
                  <a:lnTo>
                    <a:pt x="19210" y="6155"/>
                  </a:lnTo>
                  <a:lnTo>
                    <a:pt x="18886" y="5767"/>
                  </a:lnTo>
                  <a:cubicBezTo>
                    <a:pt x="18800" y="5685"/>
                    <a:pt x="18761" y="5544"/>
                    <a:pt x="18786" y="5410"/>
                  </a:cubicBezTo>
                  <a:cubicBezTo>
                    <a:pt x="18811" y="5280"/>
                    <a:pt x="18892" y="5181"/>
                    <a:pt x="18994" y="5157"/>
                  </a:cubicBezTo>
                  <a:lnTo>
                    <a:pt x="19055" y="4833"/>
                  </a:lnTo>
                  <a:lnTo>
                    <a:pt x="19055" y="4472"/>
                  </a:lnTo>
                  <a:lnTo>
                    <a:pt x="19217" y="4028"/>
                  </a:lnTo>
                  <a:lnTo>
                    <a:pt x="19027" y="3743"/>
                  </a:lnTo>
                  <a:lnTo>
                    <a:pt x="18969" y="3459"/>
                  </a:lnTo>
                  <a:lnTo>
                    <a:pt x="18936" y="3040"/>
                  </a:lnTo>
                  <a:lnTo>
                    <a:pt x="18737" y="2634"/>
                  </a:lnTo>
                  <a:lnTo>
                    <a:pt x="18500" y="2250"/>
                  </a:lnTo>
                  <a:lnTo>
                    <a:pt x="18264" y="1878"/>
                  </a:lnTo>
                  <a:cubicBezTo>
                    <a:pt x="18190" y="1776"/>
                    <a:pt x="18127" y="1662"/>
                    <a:pt x="18077" y="1539"/>
                  </a:cubicBezTo>
                  <a:cubicBezTo>
                    <a:pt x="17997" y="1344"/>
                    <a:pt x="17951" y="1129"/>
                    <a:pt x="17940" y="908"/>
                  </a:cubicBezTo>
                  <a:lnTo>
                    <a:pt x="17870" y="312"/>
                  </a:lnTo>
                  <a:lnTo>
                    <a:pt x="17679" y="0"/>
                  </a:lnTo>
                  <a:lnTo>
                    <a:pt x="17497" y="117"/>
                  </a:lnTo>
                  <a:lnTo>
                    <a:pt x="17298" y="441"/>
                  </a:lnTo>
                  <a:lnTo>
                    <a:pt x="17198" y="989"/>
                  </a:lnTo>
                  <a:lnTo>
                    <a:pt x="17173" y="1475"/>
                  </a:lnTo>
                  <a:lnTo>
                    <a:pt x="17090" y="1927"/>
                  </a:lnTo>
                  <a:lnTo>
                    <a:pt x="17016" y="2271"/>
                  </a:lnTo>
                  <a:lnTo>
                    <a:pt x="17003" y="2864"/>
                  </a:lnTo>
                  <a:lnTo>
                    <a:pt x="17016" y="3290"/>
                  </a:lnTo>
                  <a:cubicBezTo>
                    <a:pt x="16998" y="3361"/>
                    <a:pt x="16974" y="3430"/>
                    <a:pt x="16945" y="3495"/>
                  </a:cubicBezTo>
                  <a:cubicBezTo>
                    <a:pt x="16886" y="3627"/>
                    <a:pt x="16805" y="3742"/>
                    <a:pt x="16709" y="3829"/>
                  </a:cubicBezTo>
                  <a:lnTo>
                    <a:pt x="16476" y="4223"/>
                  </a:lnTo>
                  <a:lnTo>
                    <a:pt x="16090" y="4596"/>
                  </a:lnTo>
                  <a:lnTo>
                    <a:pt x="16028" y="4804"/>
                  </a:lnTo>
                  <a:lnTo>
                    <a:pt x="15868" y="4980"/>
                  </a:lnTo>
                  <a:lnTo>
                    <a:pt x="15471" y="4872"/>
                  </a:lnTo>
                  <a:lnTo>
                    <a:pt x="15263" y="4420"/>
                  </a:lnTo>
                  <a:lnTo>
                    <a:pt x="14941" y="4258"/>
                  </a:lnTo>
                  <a:lnTo>
                    <a:pt x="14663" y="4053"/>
                  </a:lnTo>
                  <a:lnTo>
                    <a:pt x="14476" y="3794"/>
                  </a:lnTo>
                  <a:lnTo>
                    <a:pt x="14089" y="3470"/>
                  </a:lnTo>
                  <a:lnTo>
                    <a:pt x="13749" y="3330"/>
                  </a:lnTo>
                  <a:lnTo>
                    <a:pt x="13637" y="2925"/>
                  </a:lnTo>
                  <a:lnTo>
                    <a:pt x="13637" y="2180"/>
                  </a:lnTo>
                  <a:lnTo>
                    <a:pt x="13757" y="1862"/>
                  </a:lnTo>
                  <a:lnTo>
                    <a:pt x="13894" y="1668"/>
                  </a:lnTo>
                  <a:lnTo>
                    <a:pt x="14093" y="1328"/>
                  </a:lnTo>
                  <a:lnTo>
                    <a:pt x="14301" y="1036"/>
                  </a:lnTo>
                  <a:lnTo>
                    <a:pt x="14077" y="799"/>
                  </a:lnTo>
                  <a:lnTo>
                    <a:pt x="13671" y="626"/>
                  </a:lnTo>
                  <a:lnTo>
                    <a:pt x="13551" y="529"/>
                  </a:lnTo>
                  <a:lnTo>
                    <a:pt x="12919" y="457"/>
                  </a:lnTo>
                  <a:lnTo>
                    <a:pt x="12492" y="155"/>
                  </a:lnTo>
                  <a:lnTo>
                    <a:pt x="12131" y="495"/>
                  </a:lnTo>
                  <a:lnTo>
                    <a:pt x="11861" y="716"/>
                  </a:lnTo>
                  <a:lnTo>
                    <a:pt x="11605" y="888"/>
                  </a:lnTo>
                  <a:lnTo>
                    <a:pt x="11058" y="1017"/>
                  </a:lnTo>
                  <a:lnTo>
                    <a:pt x="10851" y="1226"/>
                  </a:lnTo>
                  <a:lnTo>
                    <a:pt x="10702" y="1608"/>
                  </a:lnTo>
                  <a:lnTo>
                    <a:pt x="10603" y="1737"/>
                  </a:lnTo>
                  <a:lnTo>
                    <a:pt x="10416" y="1964"/>
                  </a:lnTo>
                  <a:lnTo>
                    <a:pt x="10428" y="2286"/>
                  </a:lnTo>
                  <a:lnTo>
                    <a:pt x="10594" y="2561"/>
                  </a:lnTo>
                  <a:lnTo>
                    <a:pt x="10478" y="2739"/>
                  </a:lnTo>
                  <a:lnTo>
                    <a:pt x="10159" y="3090"/>
                  </a:lnTo>
                  <a:cubicBezTo>
                    <a:pt x="10067" y="3086"/>
                    <a:pt x="9978" y="3052"/>
                    <a:pt x="9899" y="2993"/>
                  </a:cubicBezTo>
                  <a:cubicBezTo>
                    <a:pt x="9767" y="2894"/>
                    <a:pt x="9671" y="2731"/>
                    <a:pt x="9633" y="2540"/>
                  </a:cubicBezTo>
                  <a:lnTo>
                    <a:pt x="9197" y="2329"/>
                  </a:lnTo>
                  <a:cubicBezTo>
                    <a:pt x="9181" y="2199"/>
                    <a:pt x="9118" y="2087"/>
                    <a:pt x="9027" y="2027"/>
                  </a:cubicBezTo>
                  <a:cubicBezTo>
                    <a:pt x="8838" y="1903"/>
                    <a:pt x="8608" y="2025"/>
                    <a:pt x="8541" y="2286"/>
                  </a:cubicBezTo>
                  <a:lnTo>
                    <a:pt x="8250" y="2599"/>
                  </a:lnTo>
                  <a:cubicBezTo>
                    <a:pt x="8194" y="2686"/>
                    <a:pt x="8137" y="2772"/>
                    <a:pt x="8080" y="2857"/>
                  </a:cubicBezTo>
                  <a:cubicBezTo>
                    <a:pt x="7985" y="2999"/>
                    <a:pt x="7888" y="3139"/>
                    <a:pt x="7790" y="3277"/>
                  </a:cubicBezTo>
                  <a:lnTo>
                    <a:pt x="7467" y="3599"/>
                  </a:lnTo>
                  <a:lnTo>
                    <a:pt x="7293" y="3739"/>
                  </a:lnTo>
                  <a:lnTo>
                    <a:pt x="6986" y="3783"/>
                  </a:lnTo>
                  <a:lnTo>
                    <a:pt x="6987" y="4025"/>
                  </a:lnTo>
                  <a:lnTo>
                    <a:pt x="7057" y="4165"/>
                  </a:lnTo>
                  <a:lnTo>
                    <a:pt x="7119" y="4374"/>
                  </a:lnTo>
                  <a:lnTo>
                    <a:pt x="7007" y="4628"/>
                  </a:lnTo>
                  <a:cubicBezTo>
                    <a:pt x="7006" y="4750"/>
                    <a:pt x="6931" y="4851"/>
                    <a:pt x="6836" y="4854"/>
                  </a:cubicBezTo>
                  <a:cubicBezTo>
                    <a:pt x="6738" y="4858"/>
                    <a:pt x="6655" y="4756"/>
                    <a:pt x="6654" y="4628"/>
                  </a:cubicBezTo>
                  <a:lnTo>
                    <a:pt x="6421" y="4466"/>
                  </a:lnTo>
                  <a:lnTo>
                    <a:pt x="6280" y="4719"/>
                  </a:lnTo>
                  <a:lnTo>
                    <a:pt x="6160" y="4924"/>
                  </a:lnTo>
                  <a:lnTo>
                    <a:pt x="5954" y="5356"/>
                  </a:lnTo>
                  <a:close/>
                </a:path>
              </a:pathLst>
            </a:custGeom>
            <a:grpFill/>
            <a:ln w="25400" cap="flat">
              <a:noFill/>
              <a:prstDash val="solid"/>
              <a:miter lim="400000"/>
            </a:ln>
            <a:effectLst/>
          </p:spPr>
          <p:txBody>
            <a:bodyPr anchor="ctr"/>
            <a:lstStyle/>
            <a:p>
              <a:pPr algn="ctr"/>
              <a:endParaRPr/>
            </a:p>
          </p:txBody>
        </p:sp>
        <p:sp>
          <p:nvSpPr>
            <p:cNvPr id="133" name="任意多边形: 形状 132">
              <a:extLst>
                <a:ext uri="{FF2B5EF4-FFF2-40B4-BE49-F238E27FC236}">
                  <a16:creationId xmlns:a16="http://schemas.microsoft.com/office/drawing/2014/main" id="{F085913A-9374-4433-9FB3-6A8FF2B43E64}"/>
                </a:ext>
              </a:extLst>
            </p:cNvPr>
            <p:cNvSpPr/>
            <p:nvPr/>
          </p:nvSpPr>
          <p:spPr>
            <a:xfrm>
              <a:off x="10006023" y="5571304"/>
              <a:ext cx="123850" cy="102464"/>
            </a:xfrm>
            <a:custGeom>
              <a:avLst/>
              <a:gdLst/>
              <a:ahLst/>
              <a:cxnLst>
                <a:cxn ang="0">
                  <a:pos x="wd2" y="hd2"/>
                </a:cxn>
                <a:cxn ang="5400000">
                  <a:pos x="wd2" y="hd2"/>
                </a:cxn>
                <a:cxn ang="10800000">
                  <a:pos x="wd2" y="hd2"/>
                </a:cxn>
                <a:cxn ang="16200000">
                  <a:pos x="wd2" y="hd2"/>
                </a:cxn>
              </a:cxnLst>
              <a:rect l="0" t="0" r="r" b="b"/>
              <a:pathLst>
                <a:path w="21600" h="21600" extrusionOk="0">
                  <a:moveTo>
                    <a:pt x="2734" y="1038"/>
                  </a:moveTo>
                  <a:lnTo>
                    <a:pt x="5578" y="0"/>
                  </a:lnTo>
                  <a:lnTo>
                    <a:pt x="6344" y="2077"/>
                  </a:lnTo>
                  <a:lnTo>
                    <a:pt x="8057" y="3507"/>
                  </a:lnTo>
                  <a:lnTo>
                    <a:pt x="11245" y="5736"/>
                  </a:lnTo>
                  <a:lnTo>
                    <a:pt x="13944" y="4944"/>
                  </a:lnTo>
                  <a:lnTo>
                    <a:pt x="15669" y="2555"/>
                  </a:lnTo>
                  <a:lnTo>
                    <a:pt x="17659" y="2290"/>
                  </a:lnTo>
                  <a:lnTo>
                    <a:pt x="20048" y="2290"/>
                  </a:lnTo>
                  <a:lnTo>
                    <a:pt x="21600" y="3886"/>
                  </a:lnTo>
                  <a:lnTo>
                    <a:pt x="21073" y="6102"/>
                  </a:lnTo>
                  <a:lnTo>
                    <a:pt x="19449" y="6901"/>
                  </a:lnTo>
                  <a:lnTo>
                    <a:pt x="18263" y="8165"/>
                  </a:lnTo>
                  <a:lnTo>
                    <a:pt x="18130" y="10554"/>
                  </a:lnTo>
                  <a:lnTo>
                    <a:pt x="16494" y="13003"/>
                  </a:lnTo>
                  <a:lnTo>
                    <a:pt x="14149" y="14540"/>
                  </a:lnTo>
                  <a:lnTo>
                    <a:pt x="10318" y="16118"/>
                  </a:lnTo>
                  <a:lnTo>
                    <a:pt x="8234" y="17714"/>
                  </a:lnTo>
                  <a:lnTo>
                    <a:pt x="6954" y="19365"/>
                  </a:lnTo>
                  <a:lnTo>
                    <a:pt x="6111" y="21121"/>
                  </a:lnTo>
                  <a:lnTo>
                    <a:pt x="4171" y="21600"/>
                  </a:lnTo>
                  <a:lnTo>
                    <a:pt x="3062" y="19311"/>
                  </a:lnTo>
                  <a:lnTo>
                    <a:pt x="1521" y="19311"/>
                  </a:lnTo>
                  <a:lnTo>
                    <a:pt x="0" y="19258"/>
                  </a:lnTo>
                  <a:lnTo>
                    <a:pt x="667" y="16130"/>
                  </a:lnTo>
                  <a:lnTo>
                    <a:pt x="2456" y="13422"/>
                  </a:lnTo>
                  <a:lnTo>
                    <a:pt x="2806" y="11838"/>
                  </a:lnTo>
                  <a:lnTo>
                    <a:pt x="2673" y="8557"/>
                  </a:lnTo>
                  <a:lnTo>
                    <a:pt x="2673" y="6056"/>
                  </a:lnTo>
                  <a:lnTo>
                    <a:pt x="2190" y="4678"/>
                  </a:lnTo>
                  <a:lnTo>
                    <a:pt x="2734" y="1038"/>
                  </a:lnTo>
                  <a:close/>
                </a:path>
              </a:pathLst>
            </a:custGeom>
            <a:grpFill/>
            <a:ln w="25400" cap="flat">
              <a:noFill/>
              <a:prstDash val="solid"/>
              <a:miter lim="400000"/>
            </a:ln>
            <a:effectLst/>
          </p:spPr>
          <p:txBody>
            <a:bodyPr anchor="ctr"/>
            <a:lstStyle/>
            <a:p>
              <a:pPr algn="ctr"/>
              <a:endParaRPr/>
            </a:p>
          </p:txBody>
        </p:sp>
        <p:sp>
          <p:nvSpPr>
            <p:cNvPr id="134" name="任意多边形: 形状 133">
              <a:extLst>
                <a:ext uri="{FF2B5EF4-FFF2-40B4-BE49-F238E27FC236}">
                  <a16:creationId xmlns:a16="http://schemas.microsoft.com/office/drawing/2014/main" id="{55D0EFF1-96CD-42D7-A9A9-DF194683F423}"/>
                </a:ext>
              </a:extLst>
            </p:cNvPr>
            <p:cNvSpPr/>
            <p:nvPr/>
          </p:nvSpPr>
          <p:spPr>
            <a:xfrm>
              <a:off x="10572355" y="5565246"/>
              <a:ext cx="336841" cy="210563"/>
            </a:xfrm>
            <a:custGeom>
              <a:avLst/>
              <a:gdLst/>
              <a:ahLst/>
              <a:cxnLst>
                <a:cxn ang="0">
                  <a:pos x="wd2" y="hd2"/>
                </a:cxn>
                <a:cxn ang="5400000">
                  <a:pos x="wd2" y="hd2"/>
                </a:cxn>
                <a:cxn ang="10800000">
                  <a:pos x="wd2" y="hd2"/>
                </a:cxn>
                <a:cxn ang="16200000">
                  <a:pos x="wd2" y="hd2"/>
                </a:cxn>
              </a:cxnLst>
              <a:rect l="0" t="0" r="r" b="b"/>
              <a:pathLst>
                <a:path w="21600" h="21544" extrusionOk="0">
                  <a:moveTo>
                    <a:pt x="2147" y="16913"/>
                  </a:moveTo>
                  <a:lnTo>
                    <a:pt x="1380" y="17278"/>
                  </a:lnTo>
                  <a:lnTo>
                    <a:pt x="508" y="19015"/>
                  </a:lnTo>
                  <a:lnTo>
                    <a:pt x="0" y="20356"/>
                  </a:lnTo>
                  <a:lnTo>
                    <a:pt x="1241" y="21466"/>
                  </a:lnTo>
                  <a:lnTo>
                    <a:pt x="2749" y="21544"/>
                  </a:lnTo>
                  <a:lnTo>
                    <a:pt x="5044" y="21466"/>
                  </a:lnTo>
                  <a:lnTo>
                    <a:pt x="6332" y="20691"/>
                  </a:lnTo>
                  <a:lnTo>
                    <a:pt x="8044" y="18990"/>
                  </a:lnTo>
                  <a:lnTo>
                    <a:pt x="9316" y="17905"/>
                  </a:lnTo>
                  <a:lnTo>
                    <a:pt x="10246" y="16587"/>
                  </a:lnTo>
                  <a:lnTo>
                    <a:pt x="11501" y="14151"/>
                  </a:lnTo>
                  <a:cubicBezTo>
                    <a:pt x="11635" y="13828"/>
                    <a:pt x="11800" y="13540"/>
                    <a:pt x="11990" y="13298"/>
                  </a:cubicBezTo>
                  <a:cubicBezTo>
                    <a:pt x="12464" y="12694"/>
                    <a:pt x="13064" y="12399"/>
                    <a:pt x="13670" y="12472"/>
                  </a:cubicBezTo>
                  <a:lnTo>
                    <a:pt x="14548" y="12562"/>
                  </a:lnTo>
                  <a:lnTo>
                    <a:pt x="15233" y="12097"/>
                  </a:lnTo>
                  <a:lnTo>
                    <a:pt x="15961" y="11558"/>
                  </a:lnTo>
                  <a:lnTo>
                    <a:pt x="16010" y="10246"/>
                  </a:lnTo>
                  <a:lnTo>
                    <a:pt x="17004" y="9130"/>
                  </a:lnTo>
                  <a:lnTo>
                    <a:pt x="18541" y="7346"/>
                  </a:lnTo>
                  <a:lnTo>
                    <a:pt x="20577" y="6490"/>
                  </a:lnTo>
                  <a:lnTo>
                    <a:pt x="21600" y="5415"/>
                  </a:lnTo>
                  <a:lnTo>
                    <a:pt x="21600" y="4405"/>
                  </a:lnTo>
                  <a:lnTo>
                    <a:pt x="21306" y="2773"/>
                  </a:lnTo>
                  <a:lnTo>
                    <a:pt x="20866" y="1007"/>
                  </a:lnTo>
                  <a:cubicBezTo>
                    <a:pt x="20843" y="468"/>
                    <a:pt x="20572" y="40"/>
                    <a:pt x="20232" y="3"/>
                  </a:cubicBezTo>
                  <a:cubicBezTo>
                    <a:pt x="19700" y="-56"/>
                    <a:pt x="19304" y="769"/>
                    <a:pt x="19482" y="1565"/>
                  </a:cubicBezTo>
                  <a:lnTo>
                    <a:pt x="18669" y="2426"/>
                  </a:lnTo>
                  <a:lnTo>
                    <a:pt x="17564" y="3640"/>
                  </a:lnTo>
                  <a:lnTo>
                    <a:pt x="17108" y="4363"/>
                  </a:lnTo>
                  <a:cubicBezTo>
                    <a:pt x="16812" y="4575"/>
                    <a:pt x="16538" y="4853"/>
                    <a:pt x="16293" y="5190"/>
                  </a:cubicBezTo>
                  <a:cubicBezTo>
                    <a:pt x="15810" y="5854"/>
                    <a:pt x="15457" y="6721"/>
                    <a:pt x="14988" y="7408"/>
                  </a:cubicBezTo>
                  <a:cubicBezTo>
                    <a:pt x="14591" y="7991"/>
                    <a:pt x="14119" y="8431"/>
                    <a:pt x="13604" y="8700"/>
                  </a:cubicBezTo>
                  <a:lnTo>
                    <a:pt x="11698" y="9704"/>
                  </a:lnTo>
                  <a:lnTo>
                    <a:pt x="9302" y="11254"/>
                  </a:lnTo>
                  <a:cubicBezTo>
                    <a:pt x="8906" y="11491"/>
                    <a:pt x="8515" y="11748"/>
                    <a:pt x="8130" y="12026"/>
                  </a:cubicBezTo>
                  <a:cubicBezTo>
                    <a:pt x="7579" y="12424"/>
                    <a:pt x="7040" y="12864"/>
                    <a:pt x="6515" y="13344"/>
                  </a:cubicBezTo>
                  <a:cubicBezTo>
                    <a:pt x="6085" y="13632"/>
                    <a:pt x="5652" y="13908"/>
                    <a:pt x="5215" y="14170"/>
                  </a:cubicBezTo>
                  <a:cubicBezTo>
                    <a:pt x="4730" y="14462"/>
                    <a:pt x="4240" y="14738"/>
                    <a:pt x="3748" y="14997"/>
                  </a:cubicBezTo>
                  <a:lnTo>
                    <a:pt x="2147" y="16913"/>
                  </a:lnTo>
                  <a:close/>
                </a:path>
              </a:pathLst>
            </a:custGeom>
            <a:grpFill/>
            <a:ln w="25400" cap="flat">
              <a:noFill/>
              <a:prstDash val="solid"/>
              <a:miter lim="400000"/>
            </a:ln>
            <a:effectLst/>
          </p:spPr>
          <p:txBody>
            <a:bodyPr anchor="ctr"/>
            <a:lstStyle/>
            <a:p>
              <a:pPr algn="ctr"/>
              <a:endParaRPr/>
            </a:p>
          </p:txBody>
        </p:sp>
        <p:sp>
          <p:nvSpPr>
            <p:cNvPr id="135" name="任意多边形: 形状 134">
              <a:extLst>
                <a:ext uri="{FF2B5EF4-FFF2-40B4-BE49-F238E27FC236}">
                  <a16:creationId xmlns:a16="http://schemas.microsoft.com/office/drawing/2014/main" id="{FDEDE907-2F9D-455B-9526-6A2E8F996CE1}"/>
                </a:ext>
              </a:extLst>
            </p:cNvPr>
            <p:cNvSpPr/>
            <p:nvPr/>
          </p:nvSpPr>
          <p:spPr>
            <a:xfrm>
              <a:off x="10955509" y="5355572"/>
              <a:ext cx="164775" cy="251094"/>
            </a:xfrm>
            <a:custGeom>
              <a:avLst/>
              <a:gdLst/>
              <a:ahLst/>
              <a:cxnLst>
                <a:cxn ang="0">
                  <a:pos x="wd2" y="hd2"/>
                </a:cxn>
                <a:cxn ang="5400000">
                  <a:pos x="wd2" y="hd2"/>
                </a:cxn>
                <a:cxn ang="10800000">
                  <a:pos x="wd2" y="hd2"/>
                </a:cxn>
                <a:cxn ang="16200000">
                  <a:pos x="wd2" y="hd2"/>
                </a:cxn>
              </a:cxnLst>
              <a:rect l="0" t="0" r="r" b="b"/>
              <a:pathLst>
                <a:path w="21600" h="21600" extrusionOk="0">
                  <a:moveTo>
                    <a:pt x="13019" y="321"/>
                  </a:moveTo>
                  <a:lnTo>
                    <a:pt x="11636" y="0"/>
                  </a:lnTo>
                  <a:lnTo>
                    <a:pt x="11352" y="2568"/>
                  </a:lnTo>
                  <a:lnTo>
                    <a:pt x="11383" y="3806"/>
                  </a:lnTo>
                  <a:lnTo>
                    <a:pt x="12079" y="5151"/>
                  </a:lnTo>
                  <a:lnTo>
                    <a:pt x="12375" y="6967"/>
                  </a:lnTo>
                  <a:cubicBezTo>
                    <a:pt x="12672" y="7601"/>
                    <a:pt x="12637" y="8281"/>
                    <a:pt x="12275" y="8900"/>
                  </a:cubicBezTo>
                  <a:cubicBezTo>
                    <a:pt x="12047" y="9291"/>
                    <a:pt x="11695" y="9645"/>
                    <a:pt x="11242" y="9941"/>
                  </a:cubicBezTo>
                  <a:lnTo>
                    <a:pt x="10432" y="11157"/>
                  </a:lnTo>
                  <a:lnTo>
                    <a:pt x="7384" y="11982"/>
                  </a:lnTo>
                  <a:lnTo>
                    <a:pt x="4025" y="12743"/>
                  </a:lnTo>
                  <a:lnTo>
                    <a:pt x="2560" y="14347"/>
                  </a:lnTo>
                  <a:lnTo>
                    <a:pt x="2552" y="16107"/>
                  </a:lnTo>
                  <a:lnTo>
                    <a:pt x="3355" y="17541"/>
                  </a:lnTo>
                  <a:lnTo>
                    <a:pt x="1955" y="19191"/>
                  </a:lnTo>
                  <a:lnTo>
                    <a:pt x="116" y="19974"/>
                  </a:lnTo>
                  <a:lnTo>
                    <a:pt x="0" y="20821"/>
                  </a:lnTo>
                  <a:lnTo>
                    <a:pt x="1421" y="21600"/>
                  </a:lnTo>
                  <a:lnTo>
                    <a:pt x="3317" y="20948"/>
                  </a:lnTo>
                  <a:lnTo>
                    <a:pt x="5646" y="19126"/>
                  </a:lnTo>
                  <a:cubicBezTo>
                    <a:pt x="6124" y="18808"/>
                    <a:pt x="6661" y="18530"/>
                    <a:pt x="7246" y="18301"/>
                  </a:cubicBezTo>
                  <a:cubicBezTo>
                    <a:pt x="7999" y="18006"/>
                    <a:pt x="8821" y="17793"/>
                    <a:pt x="9679" y="17671"/>
                  </a:cubicBezTo>
                  <a:cubicBezTo>
                    <a:pt x="10238" y="17511"/>
                    <a:pt x="10792" y="17345"/>
                    <a:pt x="11342" y="17174"/>
                  </a:cubicBezTo>
                  <a:cubicBezTo>
                    <a:pt x="12241" y="16894"/>
                    <a:pt x="13139" y="16593"/>
                    <a:pt x="13842" y="16131"/>
                  </a:cubicBezTo>
                  <a:cubicBezTo>
                    <a:pt x="14311" y="15823"/>
                    <a:pt x="14674" y="15454"/>
                    <a:pt x="14908" y="15048"/>
                  </a:cubicBezTo>
                  <a:cubicBezTo>
                    <a:pt x="15071" y="14768"/>
                    <a:pt x="15345" y="14521"/>
                    <a:pt x="15704" y="14334"/>
                  </a:cubicBezTo>
                  <a:cubicBezTo>
                    <a:pt x="16529" y="13904"/>
                    <a:pt x="17653" y="13847"/>
                    <a:pt x="18567" y="13508"/>
                  </a:cubicBezTo>
                  <a:cubicBezTo>
                    <a:pt x="19153" y="13291"/>
                    <a:pt x="19628" y="12966"/>
                    <a:pt x="19933" y="12574"/>
                  </a:cubicBezTo>
                  <a:lnTo>
                    <a:pt x="21100" y="11358"/>
                  </a:lnTo>
                  <a:lnTo>
                    <a:pt x="21600" y="10578"/>
                  </a:lnTo>
                  <a:lnTo>
                    <a:pt x="19804" y="10386"/>
                  </a:lnTo>
                  <a:lnTo>
                    <a:pt x="18624" y="10060"/>
                  </a:lnTo>
                  <a:lnTo>
                    <a:pt x="17125" y="9017"/>
                  </a:lnTo>
                  <a:lnTo>
                    <a:pt x="14529" y="7584"/>
                  </a:lnTo>
                  <a:cubicBezTo>
                    <a:pt x="14314" y="7294"/>
                    <a:pt x="14124" y="6997"/>
                    <a:pt x="13962" y="6693"/>
                  </a:cubicBezTo>
                  <a:cubicBezTo>
                    <a:pt x="13643" y="6095"/>
                    <a:pt x="13431" y="5476"/>
                    <a:pt x="13329" y="4847"/>
                  </a:cubicBezTo>
                  <a:lnTo>
                    <a:pt x="14325" y="3524"/>
                  </a:lnTo>
                  <a:lnTo>
                    <a:pt x="14325" y="1808"/>
                  </a:lnTo>
                  <a:lnTo>
                    <a:pt x="13019" y="321"/>
                  </a:lnTo>
                  <a:close/>
                </a:path>
              </a:pathLst>
            </a:custGeom>
            <a:grpFill/>
            <a:ln w="25400" cap="flat">
              <a:noFill/>
              <a:prstDash val="solid"/>
              <a:miter lim="400000"/>
            </a:ln>
            <a:effectLst/>
          </p:spPr>
          <p:txBody>
            <a:bodyPr anchor="ctr"/>
            <a:lstStyle/>
            <a:p>
              <a:pPr algn="ctr"/>
              <a:endParaRPr/>
            </a:p>
          </p:txBody>
        </p:sp>
        <p:sp>
          <p:nvSpPr>
            <p:cNvPr id="136" name="任意多边形: 形状 135">
              <a:extLst>
                <a:ext uri="{FF2B5EF4-FFF2-40B4-BE49-F238E27FC236}">
                  <a16:creationId xmlns:a16="http://schemas.microsoft.com/office/drawing/2014/main" id="{8BDF8385-6BC5-428B-B20B-31F6836325D9}"/>
                </a:ext>
              </a:extLst>
            </p:cNvPr>
            <p:cNvSpPr/>
            <p:nvPr/>
          </p:nvSpPr>
          <p:spPr>
            <a:xfrm>
              <a:off x="10967412" y="5132660"/>
              <a:ext cx="16360" cy="28333"/>
            </a:xfrm>
            <a:custGeom>
              <a:avLst/>
              <a:gdLst/>
              <a:ahLst/>
              <a:cxnLst>
                <a:cxn ang="0">
                  <a:pos x="wd2" y="hd2"/>
                </a:cxn>
                <a:cxn ang="5400000">
                  <a:pos x="wd2" y="hd2"/>
                </a:cxn>
                <a:cxn ang="10800000">
                  <a:pos x="wd2" y="hd2"/>
                </a:cxn>
                <a:cxn ang="16200000">
                  <a:pos x="wd2" y="hd2"/>
                </a:cxn>
              </a:cxnLst>
              <a:rect l="0" t="0" r="r" b="b"/>
              <a:pathLst>
                <a:path w="21600" h="21600" extrusionOk="0">
                  <a:moveTo>
                    <a:pt x="7518" y="240"/>
                  </a:moveTo>
                  <a:lnTo>
                    <a:pt x="21579" y="0"/>
                  </a:lnTo>
                  <a:lnTo>
                    <a:pt x="21600" y="11228"/>
                  </a:lnTo>
                  <a:lnTo>
                    <a:pt x="15549" y="21600"/>
                  </a:lnTo>
                  <a:lnTo>
                    <a:pt x="2290" y="19891"/>
                  </a:lnTo>
                  <a:lnTo>
                    <a:pt x="0" y="10674"/>
                  </a:lnTo>
                  <a:lnTo>
                    <a:pt x="7518" y="240"/>
                  </a:lnTo>
                  <a:close/>
                </a:path>
              </a:pathLst>
            </a:custGeom>
            <a:grpFill/>
            <a:ln w="25400" cap="flat">
              <a:noFill/>
              <a:prstDash val="solid"/>
              <a:miter lim="400000"/>
            </a:ln>
            <a:effectLst/>
          </p:spPr>
          <p:txBody>
            <a:bodyPr anchor="ctr"/>
            <a:lstStyle/>
            <a:p>
              <a:pPr algn="ctr"/>
              <a:endParaRPr/>
            </a:p>
          </p:txBody>
        </p:sp>
        <p:sp>
          <p:nvSpPr>
            <p:cNvPr id="137" name="任意多边形: 形状 136">
              <a:extLst>
                <a:ext uri="{FF2B5EF4-FFF2-40B4-BE49-F238E27FC236}">
                  <a16:creationId xmlns:a16="http://schemas.microsoft.com/office/drawing/2014/main" id="{7EFFC06F-EB56-4C92-83EC-F8DD94B1F456}"/>
                </a:ext>
              </a:extLst>
            </p:cNvPr>
            <p:cNvSpPr/>
            <p:nvPr/>
          </p:nvSpPr>
          <p:spPr>
            <a:xfrm>
              <a:off x="10931870" y="4777460"/>
              <a:ext cx="105002" cy="129954"/>
            </a:xfrm>
            <a:custGeom>
              <a:avLst/>
              <a:gdLst/>
              <a:ahLst/>
              <a:cxnLst>
                <a:cxn ang="0">
                  <a:pos x="wd2" y="hd2"/>
                </a:cxn>
                <a:cxn ang="5400000">
                  <a:pos x="wd2" y="hd2"/>
                </a:cxn>
                <a:cxn ang="10800000">
                  <a:pos x="wd2" y="hd2"/>
                </a:cxn>
                <a:cxn ang="16200000">
                  <a:pos x="wd2" y="hd2"/>
                </a:cxn>
              </a:cxnLst>
              <a:rect l="0" t="0" r="r" b="b"/>
              <a:pathLst>
                <a:path w="21600" h="21600" extrusionOk="0">
                  <a:moveTo>
                    <a:pt x="2266" y="0"/>
                  </a:moveTo>
                  <a:lnTo>
                    <a:pt x="5698" y="3526"/>
                  </a:lnTo>
                  <a:lnTo>
                    <a:pt x="8576" y="7970"/>
                  </a:lnTo>
                  <a:lnTo>
                    <a:pt x="9046" y="10950"/>
                  </a:lnTo>
                  <a:lnTo>
                    <a:pt x="12812" y="12581"/>
                  </a:lnTo>
                  <a:lnTo>
                    <a:pt x="16578" y="14974"/>
                  </a:lnTo>
                  <a:lnTo>
                    <a:pt x="21600" y="18247"/>
                  </a:lnTo>
                  <a:lnTo>
                    <a:pt x="21286" y="21600"/>
                  </a:lnTo>
                  <a:lnTo>
                    <a:pt x="18775" y="21264"/>
                  </a:lnTo>
                  <a:lnTo>
                    <a:pt x="14754" y="16779"/>
                  </a:lnTo>
                  <a:lnTo>
                    <a:pt x="12093" y="15393"/>
                  </a:lnTo>
                  <a:cubicBezTo>
                    <a:pt x="11092" y="15033"/>
                    <a:pt x="10116" y="14628"/>
                    <a:pt x="9170" y="14182"/>
                  </a:cubicBezTo>
                  <a:cubicBezTo>
                    <a:pt x="8123" y="13687"/>
                    <a:pt x="7114" y="13142"/>
                    <a:pt x="6149" y="12550"/>
                  </a:cubicBezTo>
                  <a:lnTo>
                    <a:pt x="5208" y="9024"/>
                  </a:lnTo>
                  <a:lnTo>
                    <a:pt x="3272" y="6968"/>
                  </a:lnTo>
                  <a:lnTo>
                    <a:pt x="467" y="3584"/>
                  </a:lnTo>
                  <a:lnTo>
                    <a:pt x="0" y="1873"/>
                  </a:lnTo>
                  <a:lnTo>
                    <a:pt x="2266" y="0"/>
                  </a:lnTo>
                  <a:close/>
                </a:path>
              </a:pathLst>
            </a:custGeom>
            <a:grpFill/>
            <a:ln w="25400" cap="flat">
              <a:noFill/>
              <a:prstDash val="solid"/>
              <a:miter lim="400000"/>
            </a:ln>
            <a:effectLst/>
          </p:spPr>
          <p:txBody>
            <a:bodyPr anchor="ctr"/>
            <a:lstStyle/>
            <a:p>
              <a:pPr algn="ctr"/>
              <a:endParaRPr/>
            </a:p>
          </p:txBody>
        </p:sp>
        <p:sp>
          <p:nvSpPr>
            <p:cNvPr id="138" name="任意多边形: 形状 137">
              <a:extLst>
                <a:ext uri="{FF2B5EF4-FFF2-40B4-BE49-F238E27FC236}">
                  <a16:creationId xmlns:a16="http://schemas.microsoft.com/office/drawing/2014/main" id="{EB0C538E-CED0-41D3-9EC1-BF33B09C8023}"/>
                </a:ext>
              </a:extLst>
            </p:cNvPr>
            <p:cNvSpPr/>
            <p:nvPr/>
          </p:nvSpPr>
          <p:spPr>
            <a:xfrm>
              <a:off x="11078753" y="4636331"/>
              <a:ext cx="37595" cy="63302"/>
            </a:xfrm>
            <a:custGeom>
              <a:avLst/>
              <a:gdLst/>
              <a:ahLst/>
              <a:cxnLst>
                <a:cxn ang="0">
                  <a:pos x="wd2" y="hd2"/>
                </a:cxn>
                <a:cxn ang="5400000">
                  <a:pos x="wd2" y="hd2"/>
                </a:cxn>
                <a:cxn ang="10800000">
                  <a:pos x="wd2" y="hd2"/>
                </a:cxn>
                <a:cxn ang="16200000">
                  <a:pos x="wd2" y="hd2"/>
                </a:cxn>
              </a:cxnLst>
              <a:rect l="0" t="0" r="r" b="b"/>
              <a:pathLst>
                <a:path w="21600" h="21600" extrusionOk="0">
                  <a:moveTo>
                    <a:pt x="4384" y="0"/>
                  </a:moveTo>
                  <a:lnTo>
                    <a:pt x="0" y="6366"/>
                  </a:lnTo>
                  <a:lnTo>
                    <a:pt x="4998" y="11561"/>
                  </a:lnTo>
                  <a:lnTo>
                    <a:pt x="9054" y="12853"/>
                  </a:lnTo>
                  <a:lnTo>
                    <a:pt x="11974" y="16462"/>
                  </a:lnTo>
                  <a:lnTo>
                    <a:pt x="18532" y="21600"/>
                  </a:lnTo>
                  <a:lnTo>
                    <a:pt x="21600" y="18003"/>
                  </a:lnTo>
                  <a:lnTo>
                    <a:pt x="19408" y="13360"/>
                  </a:lnTo>
                  <a:lnTo>
                    <a:pt x="14184" y="10517"/>
                  </a:lnTo>
                  <a:lnTo>
                    <a:pt x="9965" y="6822"/>
                  </a:lnTo>
                  <a:lnTo>
                    <a:pt x="9528" y="3503"/>
                  </a:lnTo>
                  <a:lnTo>
                    <a:pt x="4384" y="0"/>
                  </a:lnTo>
                  <a:close/>
                </a:path>
              </a:pathLst>
            </a:custGeom>
            <a:grpFill/>
            <a:ln w="25400" cap="flat">
              <a:noFill/>
              <a:prstDash val="solid"/>
              <a:miter lim="400000"/>
            </a:ln>
            <a:effectLst/>
          </p:spPr>
          <p:txBody>
            <a:bodyPr anchor="ctr"/>
            <a:lstStyle/>
            <a:p>
              <a:pPr algn="ctr"/>
              <a:endParaRPr/>
            </a:p>
          </p:txBody>
        </p:sp>
        <p:sp>
          <p:nvSpPr>
            <p:cNvPr id="139" name="任意多边形: 形状 138">
              <a:extLst>
                <a:ext uri="{FF2B5EF4-FFF2-40B4-BE49-F238E27FC236}">
                  <a16:creationId xmlns:a16="http://schemas.microsoft.com/office/drawing/2014/main" id="{113FC170-3C9F-4AAE-80A0-55F356AF1E9A}"/>
                </a:ext>
              </a:extLst>
            </p:cNvPr>
            <p:cNvSpPr/>
            <p:nvPr/>
          </p:nvSpPr>
          <p:spPr>
            <a:xfrm>
              <a:off x="10694096" y="4283499"/>
              <a:ext cx="45740" cy="64407"/>
            </a:xfrm>
            <a:custGeom>
              <a:avLst/>
              <a:gdLst/>
              <a:ahLst/>
              <a:cxnLst>
                <a:cxn ang="0">
                  <a:pos x="wd2" y="hd2"/>
                </a:cxn>
                <a:cxn ang="5400000">
                  <a:pos x="wd2" y="hd2"/>
                </a:cxn>
                <a:cxn ang="10800000">
                  <a:pos x="wd2" y="hd2"/>
                </a:cxn>
                <a:cxn ang="16200000">
                  <a:pos x="wd2" y="hd2"/>
                </a:cxn>
              </a:cxnLst>
              <a:rect l="0" t="0" r="r" b="b"/>
              <a:pathLst>
                <a:path w="21600" h="21600" extrusionOk="0">
                  <a:moveTo>
                    <a:pt x="4335" y="0"/>
                  </a:moveTo>
                  <a:lnTo>
                    <a:pt x="8612" y="423"/>
                  </a:lnTo>
                  <a:lnTo>
                    <a:pt x="9548" y="10168"/>
                  </a:lnTo>
                  <a:lnTo>
                    <a:pt x="15069" y="14477"/>
                  </a:lnTo>
                  <a:lnTo>
                    <a:pt x="21600" y="16858"/>
                  </a:lnTo>
                  <a:lnTo>
                    <a:pt x="19199" y="21600"/>
                  </a:lnTo>
                  <a:lnTo>
                    <a:pt x="11398" y="20763"/>
                  </a:lnTo>
                  <a:lnTo>
                    <a:pt x="5755" y="17207"/>
                  </a:lnTo>
                  <a:lnTo>
                    <a:pt x="9" y="12157"/>
                  </a:lnTo>
                  <a:lnTo>
                    <a:pt x="0" y="6578"/>
                  </a:lnTo>
                  <a:lnTo>
                    <a:pt x="4335" y="0"/>
                  </a:lnTo>
                  <a:close/>
                </a:path>
              </a:pathLst>
            </a:custGeom>
            <a:grpFill/>
            <a:ln w="25400" cap="flat">
              <a:noFill/>
              <a:prstDash val="solid"/>
              <a:miter lim="400000"/>
            </a:ln>
            <a:effectLst/>
          </p:spPr>
          <p:txBody>
            <a:bodyPr anchor="ctr"/>
            <a:lstStyle/>
            <a:p>
              <a:pPr algn="ctr"/>
              <a:endParaRPr/>
            </a:p>
          </p:txBody>
        </p:sp>
        <p:sp>
          <p:nvSpPr>
            <p:cNvPr id="140" name="任意多边形: 形状 139">
              <a:extLst>
                <a:ext uri="{FF2B5EF4-FFF2-40B4-BE49-F238E27FC236}">
                  <a16:creationId xmlns:a16="http://schemas.microsoft.com/office/drawing/2014/main" id="{C99641AA-D896-43D4-A27A-A8E37DDA18E8}"/>
                </a:ext>
              </a:extLst>
            </p:cNvPr>
            <p:cNvSpPr/>
            <p:nvPr/>
          </p:nvSpPr>
          <p:spPr>
            <a:xfrm>
              <a:off x="10754669" y="4332994"/>
              <a:ext cx="45601" cy="39490"/>
            </a:xfrm>
            <a:custGeom>
              <a:avLst/>
              <a:gdLst/>
              <a:ahLst/>
              <a:cxnLst>
                <a:cxn ang="0">
                  <a:pos x="wd2" y="hd2"/>
                </a:cxn>
                <a:cxn ang="5400000">
                  <a:pos x="wd2" y="hd2"/>
                </a:cxn>
                <a:cxn ang="10800000">
                  <a:pos x="wd2" y="hd2"/>
                </a:cxn>
                <a:cxn ang="16200000">
                  <a:pos x="wd2" y="hd2"/>
                </a:cxn>
              </a:cxnLst>
              <a:rect l="0" t="0" r="r" b="b"/>
              <a:pathLst>
                <a:path w="21600" h="21600" extrusionOk="0">
                  <a:moveTo>
                    <a:pt x="7085" y="0"/>
                  </a:moveTo>
                  <a:lnTo>
                    <a:pt x="17293" y="9046"/>
                  </a:lnTo>
                  <a:lnTo>
                    <a:pt x="21600" y="14848"/>
                  </a:lnTo>
                  <a:lnTo>
                    <a:pt x="21013" y="21600"/>
                  </a:lnTo>
                  <a:lnTo>
                    <a:pt x="12837" y="18854"/>
                  </a:lnTo>
                  <a:lnTo>
                    <a:pt x="5986" y="12225"/>
                  </a:lnTo>
                  <a:lnTo>
                    <a:pt x="0" y="7390"/>
                  </a:lnTo>
                  <a:lnTo>
                    <a:pt x="7085" y="0"/>
                  </a:lnTo>
                  <a:close/>
                </a:path>
              </a:pathLst>
            </a:custGeom>
            <a:grpFill/>
            <a:ln w="25400" cap="flat">
              <a:noFill/>
              <a:prstDash val="solid"/>
              <a:miter lim="400000"/>
            </a:ln>
            <a:effectLst/>
          </p:spPr>
          <p:txBody>
            <a:bodyPr anchor="ctr"/>
            <a:lstStyle/>
            <a:p>
              <a:pPr algn="ctr"/>
              <a:endParaRPr/>
            </a:p>
          </p:txBody>
        </p:sp>
        <p:sp>
          <p:nvSpPr>
            <p:cNvPr id="141" name="任意多边形: 形状 140">
              <a:extLst>
                <a:ext uri="{FF2B5EF4-FFF2-40B4-BE49-F238E27FC236}">
                  <a16:creationId xmlns:a16="http://schemas.microsoft.com/office/drawing/2014/main" id="{DCC90C18-F3DE-43E1-83DC-FF8372B26F1C}"/>
                </a:ext>
              </a:extLst>
            </p:cNvPr>
            <p:cNvSpPr/>
            <p:nvPr/>
          </p:nvSpPr>
          <p:spPr>
            <a:xfrm>
              <a:off x="10773772" y="4386273"/>
              <a:ext cx="37288" cy="38949"/>
            </a:xfrm>
            <a:custGeom>
              <a:avLst/>
              <a:gdLst/>
              <a:ahLst/>
              <a:cxnLst>
                <a:cxn ang="0">
                  <a:pos x="wd2" y="hd2"/>
                </a:cxn>
                <a:cxn ang="5400000">
                  <a:pos x="wd2" y="hd2"/>
                </a:cxn>
                <a:cxn ang="10800000">
                  <a:pos x="wd2" y="hd2"/>
                </a:cxn>
                <a:cxn ang="16200000">
                  <a:pos x="wd2" y="hd2"/>
                </a:cxn>
              </a:cxnLst>
              <a:rect l="0" t="0" r="r" b="b"/>
              <a:pathLst>
                <a:path w="21600" h="21600" extrusionOk="0">
                  <a:moveTo>
                    <a:pt x="6399" y="0"/>
                  </a:moveTo>
                  <a:lnTo>
                    <a:pt x="12290" y="1855"/>
                  </a:lnTo>
                  <a:lnTo>
                    <a:pt x="12799" y="9871"/>
                  </a:lnTo>
                  <a:lnTo>
                    <a:pt x="15725" y="15036"/>
                  </a:lnTo>
                  <a:lnTo>
                    <a:pt x="21600" y="16577"/>
                  </a:lnTo>
                  <a:lnTo>
                    <a:pt x="18230" y="21600"/>
                  </a:lnTo>
                  <a:lnTo>
                    <a:pt x="12781" y="19919"/>
                  </a:lnTo>
                  <a:cubicBezTo>
                    <a:pt x="10763" y="19240"/>
                    <a:pt x="9023" y="17972"/>
                    <a:pt x="7808" y="16297"/>
                  </a:cubicBezTo>
                  <a:cubicBezTo>
                    <a:pt x="6475" y="14458"/>
                    <a:pt x="5850" y="12237"/>
                    <a:pt x="6040" y="10011"/>
                  </a:cubicBezTo>
                  <a:lnTo>
                    <a:pt x="0" y="5671"/>
                  </a:lnTo>
                  <a:lnTo>
                    <a:pt x="6399" y="0"/>
                  </a:lnTo>
                  <a:close/>
                </a:path>
              </a:pathLst>
            </a:custGeom>
            <a:grpFill/>
            <a:ln w="25400" cap="flat">
              <a:noFill/>
              <a:prstDash val="solid"/>
              <a:miter lim="400000"/>
            </a:ln>
            <a:effectLst/>
          </p:spPr>
          <p:txBody>
            <a:bodyPr anchor="ctr"/>
            <a:lstStyle/>
            <a:p>
              <a:pPr algn="ctr"/>
              <a:endParaRPr/>
            </a:p>
          </p:txBody>
        </p:sp>
        <p:sp>
          <p:nvSpPr>
            <p:cNvPr id="142" name="任意多边形: 形状 141">
              <a:extLst>
                <a:ext uri="{FF2B5EF4-FFF2-40B4-BE49-F238E27FC236}">
                  <a16:creationId xmlns:a16="http://schemas.microsoft.com/office/drawing/2014/main" id="{74F3ED7B-03A3-4A56-9587-4B064121D68B}"/>
                </a:ext>
              </a:extLst>
            </p:cNvPr>
            <p:cNvSpPr/>
            <p:nvPr/>
          </p:nvSpPr>
          <p:spPr>
            <a:xfrm>
              <a:off x="10819989" y="4368723"/>
              <a:ext cx="46739" cy="42114"/>
            </a:xfrm>
            <a:custGeom>
              <a:avLst/>
              <a:gdLst/>
              <a:ahLst/>
              <a:cxnLst>
                <a:cxn ang="0">
                  <a:pos x="wd2" y="hd2"/>
                </a:cxn>
                <a:cxn ang="5400000">
                  <a:pos x="wd2" y="hd2"/>
                </a:cxn>
                <a:cxn ang="10800000">
                  <a:pos x="wd2" y="hd2"/>
                </a:cxn>
                <a:cxn ang="16200000">
                  <a:pos x="wd2" y="hd2"/>
                </a:cxn>
              </a:cxnLst>
              <a:rect l="0" t="0" r="r" b="b"/>
              <a:pathLst>
                <a:path w="21600" h="21600" extrusionOk="0">
                  <a:moveTo>
                    <a:pt x="4105" y="0"/>
                  </a:moveTo>
                  <a:lnTo>
                    <a:pt x="8950" y="5326"/>
                  </a:lnTo>
                  <a:lnTo>
                    <a:pt x="16429" y="10105"/>
                  </a:lnTo>
                  <a:lnTo>
                    <a:pt x="21247" y="15787"/>
                  </a:lnTo>
                  <a:lnTo>
                    <a:pt x="21600" y="21227"/>
                  </a:lnTo>
                  <a:lnTo>
                    <a:pt x="14814" y="21600"/>
                  </a:lnTo>
                  <a:lnTo>
                    <a:pt x="10715" y="19268"/>
                  </a:lnTo>
                  <a:lnTo>
                    <a:pt x="6249" y="13959"/>
                  </a:lnTo>
                  <a:lnTo>
                    <a:pt x="3576" y="9700"/>
                  </a:lnTo>
                  <a:lnTo>
                    <a:pt x="25" y="6121"/>
                  </a:lnTo>
                  <a:lnTo>
                    <a:pt x="0" y="1589"/>
                  </a:lnTo>
                  <a:lnTo>
                    <a:pt x="4105" y="0"/>
                  </a:lnTo>
                  <a:close/>
                </a:path>
              </a:pathLst>
            </a:custGeom>
            <a:grpFill/>
            <a:ln w="25400" cap="flat">
              <a:noFill/>
              <a:prstDash val="solid"/>
              <a:miter lim="400000"/>
            </a:ln>
            <a:effectLst/>
          </p:spPr>
          <p:txBody>
            <a:bodyPr anchor="ctr"/>
            <a:lstStyle/>
            <a:p>
              <a:pPr algn="ctr"/>
              <a:endParaRPr/>
            </a:p>
          </p:txBody>
        </p:sp>
        <p:sp>
          <p:nvSpPr>
            <p:cNvPr id="143" name="任意多边形: 形状 142">
              <a:extLst>
                <a:ext uri="{FF2B5EF4-FFF2-40B4-BE49-F238E27FC236}">
                  <a16:creationId xmlns:a16="http://schemas.microsoft.com/office/drawing/2014/main" id="{F4022C8F-D46C-4353-A6C1-698236DE9CB3}"/>
                </a:ext>
              </a:extLst>
            </p:cNvPr>
            <p:cNvSpPr/>
            <p:nvPr/>
          </p:nvSpPr>
          <p:spPr>
            <a:xfrm>
              <a:off x="10844148" y="4433313"/>
              <a:ext cx="37473" cy="23925"/>
            </a:xfrm>
            <a:custGeom>
              <a:avLst/>
              <a:gdLst/>
              <a:ahLst/>
              <a:cxnLst>
                <a:cxn ang="0">
                  <a:pos x="wd2" y="hd2"/>
                </a:cxn>
                <a:cxn ang="5400000">
                  <a:pos x="wd2" y="hd2"/>
                </a:cxn>
                <a:cxn ang="10800000">
                  <a:pos x="wd2" y="hd2"/>
                </a:cxn>
                <a:cxn ang="16200000">
                  <a:pos x="wd2" y="hd2"/>
                </a:cxn>
              </a:cxnLst>
              <a:rect l="0" t="0" r="r" b="b"/>
              <a:pathLst>
                <a:path w="21600" h="21600" extrusionOk="0">
                  <a:moveTo>
                    <a:pt x="8649" y="530"/>
                  </a:moveTo>
                  <a:lnTo>
                    <a:pt x="13099" y="8995"/>
                  </a:lnTo>
                  <a:lnTo>
                    <a:pt x="21600" y="8519"/>
                  </a:lnTo>
                  <a:lnTo>
                    <a:pt x="21600" y="17555"/>
                  </a:lnTo>
                  <a:lnTo>
                    <a:pt x="15901" y="21600"/>
                  </a:lnTo>
                  <a:lnTo>
                    <a:pt x="8481" y="18211"/>
                  </a:lnTo>
                  <a:lnTo>
                    <a:pt x="1799" y="7978"/>
                  </a:lnTo>
                  <a:lnTo>
                    <a:pt x="0" y="0"/>
                  </a:lnTo>
                  <a:lnTo>
                    <a:pt x="8649" y="530"/>
                  </a:lnTo>
                  <a:close/>
                </a:path>
              </a:pathLst>
            </a:custGeom>
            <a:grpFill/>
            <a:ln w="25400" cap="flat">
              <a:noFill/>
              <a:prstDash val="solid"/>
              <a:miter lim="400000"/>
            </a:ln>
            <a:effectLst/>
          </p:spPr>
          <p:txBody>
            <a:bodyPr anchor="ctr"/>
            <a:lstStyle/>
            <a:p>
              <a:pPr algn="ctr"/>
              <a:endParaRPr/>
            </a:p>
          </p:txBody>
        </p:sp>
        <p:sp>
          <p:nvSpPr>
            <p:cNvPr id="144" name="任意多边形: 形状 143">
              <a:extLst>
                <a:ext uri="{FF2B5EF4-FFF2-40B4-BE49-F238E27FC236}">
                  <a16:creationId xmlns:a16="http://schemas.microsoft.com/office/drawing/2014/main" id="{5AFD1AB6-D3A4-43BA-B568-14F82B61649F}"/>
                </a:ext>
              </a:extLst>
            </p:cNvPr>
            <p:cNvSpPr/>
            <p:nvPr/>
          </p:nvSpPr>
          <p:spPr>
            <a:xfrm>
              <a:off x="10888902" y="4398838"/>
              <a:ext cx="27449" cy="54123"/>
            </a:xfrm>
            <a:custGeom>
              <a:avLst/>
              <a:gdLst/>
              <a:ahLst/>
              <a:cxnLst>
                <a:cxn ang="0">
                  <a:pos x="wd2" y="hd2"/>
                </a:cxn>
                <a:cxn ang="5400000">
                  <a:pos x="wd2" y="hd2"/>
                </a:cxn>
                <a:cxn ang="10800000">
                  <a:pos x="wd2" y="hd2"/>
                </a:cxn>
                <a:cxn ang="16200000">
                  <a:pos x="wd2" y="hd2"/>
                </a:cxn>
              </a:cxnLst>
              <a:rect l="0" t="0" r="r" b="b"/>
              <a:pathLst>
                <a:path w="21600" h="21600" extrusionOk="0">
                  <a:moveTo>
                    <a:pt x="4203" y="0"/>
                  </a:moveTo>
                  <a:lnTo>
                    <a:pt x="0" y="4749"/>
                  </a:lnTo>
                  <a:lnTo>
                    <a:pt x="263" y="12857"/>
                  </a:lnTo>
                  <a:lnTo>
                    <a:pt x="8018" y="13953"/>
                  </a:lnTo>
                  <a:lnTo>
                    <a:pt x="8018" y="17984"/>
                  </a:lnTo>
                  <a:lnTo>
                    <a:pt x="13422" y="21600"/>
                  </a:lnTo>
                  <a:lnTo>
                    <a:pt x="21600" y="17064"/>
                  </a:lnTo>
                  <a:lnTo>
                    <a:pt x="14422" y="12038"/>
                  </a:lnTo>
                  <a:lnTo>
                    <a:pt x="7443" y="8221"/>
                  </a:lnTo>
                  <a:lnTo>
                    <a:pt x="4203" y="0"/>
                  </a:lnTo>
                  <a:close/>
                </a:path>
              </a:pathLst>
            </a:custGeom>
            <a:grpFill/>
            <a:ln w="25400" cap="flat">
              <a:noFill/>
              <a:prstDash val="solid"/>
              <a:miter lim="400000"/>
            </a:ln>
            <a:effectLst/>
          </p:spPr>
          <p:txBody>
            <a:bodyPr anchor="ctr"/>
            <a:lstStyle/>
            <a:p>
              <a:pPr algn="ctr"/>
              <a:endParaRPr/>
            </a:p>
          </p:txBody>
        </p:sp>
        <p:sp>
          <p:nvSpPr>
            <p:cNvPr id="145" name="任意多边形: 形状 144">
              <a:extLst>
                <a:ext uri="{FF2B5EF4-FFF2-40B4-BE49-F238E27FC236}">
                  <a16:creationId xmlns:a16="http://schemas.microsoft.com/office/drawing/2014/main" id="{E4DA1905-8474-41D4-831A-6CE2CE1A1141}"/>
                </a:ext>
              </a:extLst>
            </p:cNvPr>
            <p:cNvSpPr/>
            <p:nvPr/>
          </p:nvSpPr>
          <p:spPr>
            <a:xfrm>
              <a:off x="10903842" y="4471308"/>
              <a:ext cx="24415" cy="210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703" y="9868"/>
                  </a:lnTo>
                  <a:lnTo>
                    <a:pt x="12853" y="21600"/>
                  </a:lnTo>
                  <a:lnTo>
                    <a:pt x="21600" y="16680"/>
                  </a:lnTo>
                  <a:lnTo>
                    <a:pt x="12403" y="144"/>
                  </a:lnTo>
                  <a:lnTo>
                    <a:pt x="0" y="0"/>
                  </a:lnTo>
                  <a:close/>
                </a:path>
              </a:pathLst>
            </a:custGeom>
            <a:grpFill/>
            <a:ln w="25400" cap="flat">
              <a:noFill/>
              <a:prstDash val="solid"/>
              <a:miter lim="400000"/>
            </a:ln>
            <a:effectLst/>
          </p:spPr>
          <p:txBody>
            <a:bodyPr anchor="ctr"/>
            <a:lstStyle/>
            <a:p>
              <a:pPr algn="ctr"/>
              <a:endParaRPr/>
            </a:p>
          </p:txBody>
        </p:sp>
        <p:sp>
          <p:nvSpPr>
            <p:cNvPr id="146" name="任意多边形: 形状 145">
              <a:extLst>
                <a:ext uri="{FF2B5EF4-FFF2-40B4-BE49-F238E27FC236}">
                  <a16:creationId xmlns:a16="http://schemas.microsoft.com/office/drawing/2014/main" id="{F500CD85-018C-4EC3-B279-3E51F134D0C1}"/>
                </a:ext>
              </a:extLst>
            </p:cNvPr>
            <p:cNvSpPr/>
            <p:nvPr/>
          </p:nvSpPr>
          <p:spPr>
            <a:xfrm>
              <a:off x="10588123" y="4181404"/>
              <a:ext cx="87031" cy="76197"/>
            </a:xfrm>
            <a:custGeom>
              <a:avLst/>
              <a:gdLst/>
              <a:ahLst/>
              <a:cxnLst>
                <a:cxn ang="0">
                  <a:pos x="wd2" y="hd2"/>
                </a:cxn>
                <a:cxn ang="5400000">
                  <a:pos x="wd2" y="hd2"/>
                </a:cxn>
                <a:cxn ang="10800000">
                  <a:pos x="wd2" y="hd2"/>
                </a:cxn>
                <a:cxn ang="16200000">
                  <a:pos x="wd2" y="hd2"/>
                </a:cxn>
              </a:cxnLst>
              <a:rect l="0" t="0" r="r" b="b"/>
              <a:pathLst>
                <a:path w="21600" h="21600" extrusionOk="0">
                  <a:moveTo>
                    <a:pt x="560" y="0"/>
                  </a:moveTo>
                  <a:lnTo>
                    <a:pt x="0" y="2479"/>
                  </a:lnTo>
                  <a:lnTo>
                    <a:pt x="4688" y="4518"/>
                  </a:lnTo>
                  <a:lnTo>
                    <a:pt x="9042" y="7739"/>
                  </a:lnTo>
                  <a:lnTo>
                    <a:pt x="12639" y="11175"/>
                  </a:lnTo>
                  <a:lnTo>
                    <a:pt x="16173" y="15327"/>
                  </a:lnTo>
                  <a:lnTo>
                    <a:pt x="17687" y="21385"/>
                  </a:lnTo>
                  <a:lnTo>
                    <a:pt x="21600" y="21600"/>
                  </a:lnTo>
                  <a:lnTo>
                    <a:pt x="19336" y="12589"/>
                  </a:lnTo>
                  <a:lnTo>
                    <a:pt x="12733" y="8079"/>
                  </a:lnTo>
                  <a:lnTo>
                    <a:pt x="7069" y="2791"/>
                  </a:lnTo>
                  <a:lnTo>
                    <a:pt x="3732" y="804"/>
                  </a:lnTo>
                  <a:lnTo>
                    <a:pt x="560" y="0"/>
                  </a:lnTo>
                  <a:close/>
                </a:path>
              </a:pathLst>
            </a:custGeom>
            <a:grpFill/>
            <a:ln w="25400" cap="flat">
              <a:noFill/>
              <a:prstDash val="solid"/>
              <a:miter lim="400000"/>
            </a:ln>
            <a:effectLst/>
          </p:spPr>
          <p:txBody>
            <a:bodyPr anchor="ctr"/>
            <a:lstStyle/>
            <a:p>
              <a:pPr algn="ctr"/>
              <a:endParaRPr/>
            </a:p>
          </p:txBody>
        </p:sp>
        <p:sp>
          <p:nvSpPr>
            <p:cNvPr id="147" name="任意多边形: 形状 146">
              <a:extLst>
                <a:ext uri="{FF2B5EF4-FFF2-40B4-BE49-F238E27FC236}">
                  <a16:creationId xmlns:a16="http://schemas.microsoft.com/office/drawing/2014/main" id="{C8545077-6D31-4669-9466-D6C516A3FEBD}"/>
                </a:ext>
              </a:extLst>
            </p:cNvPr>
            <p:cNvSpPr/>
            <p:nvPr/>
          </p:nvSpPr>
          <p:spPr>
            <a:xfrm>
              <a:off x="10528896" y="4237475"/>
              <a:ext cx="115414" cy="92661"/>
            </a:xfrm>
            <a:custGeom>
              <a:avLst/>
              <a:gdLst/>
              <a:ahLst/>
              <a:cxnLst>
                <a:cxn ang="0">
                  <a:pos x="wd2" y="hd2"/>
                </a:cxn>
                <a:cxn ang="5400000">
                  <a:pos x="wd2" y="hd2"/>
                </a:cxn>
                <a:cxn ang="10800000">
                  <a:pos x="wd2" y="hd2"/>
                </a:cxn>
                <a:cxn ang="16200000">
                  <a:pos x="wd2" y="hd2"/>
                </a:cxn>
              </a:cxnLst>
              <a:rect l="0" t="0" r="r" b="b"/>
              <a:pathLst>
                <a:path w="21600" h="21600" extrusionOk="0">
                  <a:moveTo>
                    <a:pt x="18234" y="5118"/>
                  </a:moveTo>
                  <a:lnTo>
                    <a:pt x="15276" y="8929"/>
                  </a:lnTo>
                  <a:lnTo>
                    <a:pt x="12042" y="12689"/>
                  </a:lnTo>
                  <a:lnTo>
                    <a:pt x="9529" y="13918"/>
                  </a:lnTo>
                  <a:lnTo>
                    <a:pt x="6129" y="13388"/>
                  </a:lnTo>
                  <a:lnTo>
                    <a:pt x="4458" y="14970"/>
                  </a:lnTo>
                  <a:lnTo>
                    <a:pt x="2410" y="14970"/>
                  </a:lnTo>
                  <a:lnTo>
                    <a:pt x="0" y="15500"/>
                  </a:lnTo>
                  <a:lnTo>
                    <a:pt x="1862" y="17604"/>
                  </a:lnTo>
                  <a:lnTo>
                    <a:pt x="4420" y="17781"/>
                  </a:lnTo>
                  <a:lnTo>
                    <a:pt x="6466" y="21431"/>
                  </a:lnTo>
                  <a:lnTo>
                    <a:pt x="8263" y="21600"/>
                  </a:lnTo>
                  <a:lnTo>
                    <a:pt x="9828" y="19488"/>
                  </a:lnTo>
                  <a:lnTo>
                    <a:pt x="11671" y="17906"/>
                  </a:lnTo>
                  <a:lnTo>
                    <a:pt x="15657" y="16508"/>
                  </a:lnTo>
                  <a:lnTo>
                    <a:pt x="18364" y="13167"/>
                  </a:lnTo>
                  <a:lnTo>
                    <a:pt x="19934" y="9988"/>
                  </a:lnTo>
                  <a:lnTo>
                    <a:pt x="21457" y="7288"/>
                  </a:lnTo>
                  <a:lnTo>
                    <a:pt x="21600" y="3285"/>
                  </a:lnTo>
                  <a:lnTo>
                    <a:pt x="19702" y="0"/>
                  </a:lnTo>
                  <a:lnTo>
                    <a:pt x="19131" y="2158"/>
                  </a:lnTo>
                  <a:lnTo>
                    <a:pt x="18234" y="5118"/>
                  </a:lnTo>
                  <a:close/>
                </a:path>
              </a:pathLst>
            </a:custGeom>
            <a:grpFill/>
            <a:ln w="25400" cap="flat">
              <a:noFill/>
              <a:prstDash val="solid"/>
              <a:miter lim="400000"/>
            </a:ln>
            <a:effectLst/>
          </p:spPr>
          <p:txBody>
            <a:bodyPr anchor="ctr"/>
            <a:lstStyle/>
            <a:p>
              <a:pPr algn="ctr"/>
              <a:endParaRPr/>
            </a:p>
          </p:txBody>
        </p:sp>
        <p:sp>
          <p:nvSpPr>
            <p:cNvPr id="148" name="任意多边形: 形状 147">
              <a:extLst>
                <a:ext uri="{FF2B5EF4-FFF2-40B4-BE49-F238E27FC236}">
                  <a16:creationId xmlns:a16="http://schemas.microsoft.com/office/drawing/2014/main" id="{0F0ED5F0-1967-4D8B-B1FA-F8C47632C73F}"/>
                </a:ext>
              </a:extLst>
            </p:cNvPr>
            <p:cNvSpPr/>
            <p:nvPr/>
          </p:nvSpPr>
          <p:spPr>
            <a:xfrm>
              <a:off x="9937920" y="4105530"/>
              <a:ext cx="657773" cy="388722"/>
            </a:xfrm>
            <a:custGeom>
              <a:avLst/>
              <a:gdLst/>
              <a:ahLst/>
              <a:cxnLst>
                <a:cxn ang="0">
                  <a:pos x="wd2" y="hd2"/>
                </a:cxn>
                <a:cxn ang="5400000">
                  <a:pos x="wd2" y="hd2"/>
                </a:cxn>
                <a:cxn ang="10800000">
                  <a:pos x="wd2" y="hd2"/>
                </a:cxn>
                <a:cxn ang="16200000">
                  <a:pos x="wd2" y="hd2"/>
                </a:cxn>
              </a:cxnLst>
              <a:rect l="0" t="0" r="r" b="b"/>
              <a:pathLst>
                <a:path w="21600" h="21600" extrusionOk="0">
                  <a:moveTo>
                    <a:pt x="339" y="1069"/>
                  </a:moveTo>
                  <a:lnTo>
                    <a:pt x="1040" y="903"/>
                  </a:lnTo>
                  <a:lnTo>
                    <a:pt x="1266" y="12"/>
                  </a:lnTo>
                  <a:lnTo>
                    <a:pt x="2016" y="0"/>
                  </a:lnTo>
                  <a:lnTo>
                    <a:pt x="2684" y="12"/>
                  </a:lnTo>
                  <a:lnTo>
                    <a:pt x="2808" y="1131"/>
                  </a:lnTo>
                  <a:lnTo>
                    <a:pt x="3150" y="1972"/>
                  </a:lnTo>
                  <a:lnTo>
                    <a:pt x="3342" y="2473"/>
                  </a:lnTo>
                  <a:lnTo>
                    <a:pt x="3192" y="3510"/>
                  </a:lnTo>
                  <a:lnTo>
                    <a:pt x="3218" y="4141"/>
                  </a:lnTo>
                  <a:lnTo>
                    <a:pt x="3692" y="4939"/>
                  </a:lnTo>
                  <a:lnTo>
                    <a:pt x="4067" y="5627"/>
                  </a:lnTo>
                  <a:lnTo>
                    <a:pt x="4526" y="6342"/>
                  </a:lnTo>
                  <a:cubicBezTo>
                    <a:pt x="4633" y="6179"/>
                    <a:pt x="4728" y="5996"/>
                    <a:pt x="4809" y="5795"/>
                  </a:cubicBezTo>
                  <a:cubicBezTo>
                    <a:pt x="4941" y="5469"/>
                    <a:pt x="5034" y="5102"/>
                    <a:pt x="5083" y="4716"/>
                  </a:cubicBezTo>
                  <a:lnTo>
                    <a:pt x="5451" y="4478"/>
                  </a:lnTo>
                  <a:lnTo>
                    <a:pt x="6119" y="3931"/>
                  </a:lnTo>
                  <a:lnTo>
                    <a:pt x="6668" y="3385"/>
                  </a:lnTo>
                  <a:lnTo>
                    <a:pt x="7068" y="2838"/>
                  </a:lnTo>
                  <a:lnTo>
                    <a:pt x="7444" y="2122"/>
                  </a:lnTo>
                  <a:lnTo>
                    <a:pt x="8137" y="2122"/>
                  </a:lnTo>
                  <a:cubicBezTo>
                    <a:pt x="8213" y="2262"/>
                    <a:pt x="8288" y="2402"/>
                    <a:pt x="8362" y="2543"/>
                  </a:cubicBezTo>
                  <a:cubicBezTo>
                    <a:pt x="8481" y="2766"/>
                    <a:pt x="8597" y="2991"/>
                    <a:pt x="8713" y="3217"/>
                  </a:cubicBezTo>
                  <a:lnTo>
                    <a:pt x="9356" y="3708"/>
                  </a:lnTo>
                  <a:lnTo>
                    <a:pt x="10017" y="3953"/>
                  </a:lnTo>
                  <a:lnTo>
                    <a:pt x="10667" y="4583"/>
                  </a:lnTo>
                  <a:lnTo>
                    <a:pt x="11719" y="5004"/>
                  </a:lnTo>
                  <a:lnTo>
                    <a:pt x="12420" y="5579"/>
                  </a:lnTo>
                  <a:lnTo>
                    <a:pt x="13814" y="6239"/>
                  </a:lnTo>
                  <a:lnTo>
                    <a:pt x="14716" y="7388"/>
                  </a:lnTo>
                  <a:lnTo>
                    <a:pt x="15776" y="8749"/>
                  </a:lnTo>
                  <a:lnTo>
                    <a:pt x="16728" y="9464"/>
                  </a:lnTo>
                  <a:lnTo>
                    <a:pt x="17354" y="9911"/>
                  </a:lnTo>
                  <a:lnTo>
                    <a:pt x="17855" y="11325"/>
                  </a:lnTo>
                  <a:lnTo>
                    <a:pt x="18106" y="12349"/>
                  </a:lnTo>
                  <a:lnTo>
                    <a:pt x="17539" y="12799"/>
                  </a:lnTo>
                  <a:lnTo>
                    <a:pt x="17349" y="13484"/>
                  </a:lnTo>
                  <a:lnTo>
                    <a:pt x="17608" y="14382"/>
                  </a:lnTo>
                  <a:lnTo>
                    <a:pt x="18326" y="15070"/>
                  </a:lnTo>
                  <a:lnTo>
                    <a:pt x="18350" y="15982"/>
                  </a:lnTo>
                  <a:lnTo>
                    <a:pt x="18350" y="16933"/>
                  </a:lnTo>
                  <a:lnTo>
                    <a:pt x="18733" y="17701"/>
                  </a:lnTo>
                  <a:lnTo>
                    <a:pt x="19484" y="18246"/>
                  </a:lnTo>
                  <a:lnTo>
                    <a:pt x="20127" y="18373"/>
                  </a:lnTo>
                  <a:lnTo>
                    <a:pt x="20650" y="19209"/>
                  </a:lnTo>
                  <a:lnTo>
                    <a:pt x="21276" y="20051"/>
                  </a:lnTo>
                  <a:lnTo>
                    <a:pt x="21600" y="21054"/>
                  </a:lnTo>
                  <a:lnTo>
                    <a:pt x="21500" y="21600"/>
                  </a:lnTo>
                  <a:lnTo>
                    <a:pt x="20623" y="21026"/>
                  </a:lnTo>
                  <a:lnTo>
                    <a:pt x="20131" y="20705"/>
                  </a:lnTo>
                  <a:lnTo>
                    <a:pt x="19072" y="20663"/>
                  </a:lnTo>
                  <a:lnTo>
                    <a:pt x="18170" y="20158"/>
                  </a:lnTo>
                  <a:lnTo>
                    <a:pt x="17728" y="19485"/>
                  </a:lnTo>
                  <a:lnTo>
                    <a:pt x="17478" y="18967"/>
                  </a:lnTo>
                  <a:lnTo>
                    <a:pt x="17228" y="17746"/>
                  </a:lnTo>
                  <a:lnTo>
                    <a:pt x="16877" y="16708"/>
                  </a:lnTo>
                  <a:lnTo>
                    <a:pt x="16402" y="15951"/>
                  </a:lnTo>
                  <a:lnTo>
                    <a:pt x="15525" y="14954"/>
                  </a:lnTo>
                  <a:lnTo>
                    <a:pt x="14876" y="14284"/>
                  </a:lnTo>
                  <a:lnTo>
                    <a:pt x="14242" y="14284"/>
                  </a:lnTo>
                  <a:lnTo>
                    <a:pt x="13699" y="15489"/>
                  </a:lnTo>
                  <a:cubicBezTo>
                    <a:pt x="13655" y="15662"/>
                    <a:pt x="13604" y="15830"/>
                    <a:pt x="13549" y="15993"/>
                  </a:cubicBezTo>
                  <a:cubicBezTo>
                    <a:pt x="13430" y="16338"/>
                    <a:pt x="13287" y="16658"/>
                    <a:pt x="13123" y="16945"/>
                  </a:cubicBezTo>
                  <a:lnTo>
                    <a:pt x="12398" y="17785"/>
                  </a:lnTo>
                  <a:lnTo>
                    <a:pt x="11380" y="17196"/>
                  </a:lnTo>
                  <a:lnTo>
                    <a:pt x="10929" y="17070"/>
                  </a:lnTo>
                  <a:cubicBezTo>
                    <a:pt x="10778" y="17231"/>
                    <a:pt x="10588" y="17247"/>
                    <a:pt x="10429" y="17112"/>
                  </a:cubicBezTo>
                  <a:cubicBezTo>
                    <a:pt x="10275" y="16981"/>
                    <a:pt x="10172" y="16728"/>
                    <a:pt x="10154" y="16440"/>
                  </a:cubicBezTo>
                  <a:lnTo>
                    <a:pt x="9620" y="15752"/>
                  </a:lnTo>
                  <a:lnTo>
                    <a:pt x="9169" y="15416"/>
                  </a:lnTo>
                  <a:lnTo>
                    <a:pt x="8374" y="15500"/>
                  </a:lnTo>
                  <a:lnTo>
                    <a:pt x="7783" y="15624"/>
                  </a:lnTo>
                  <a:lnTo>
                    <a:pt x="7609" y="15133"/>
                  </a:lnTo>
                  <a:lnTo>
                    <a:pt x="7084" y="15175"/>
                  </a:lnTo>
                  <a:lnTo>
                    <a:pt x="7283" y="14463"/>
                  </a:lnTo>
                  <a:lnTo>
                    <a:pt x="7684" y="14295"/>
                  </a:lnTo>
                  <a:lnTo>
                    <a:pt x="8067" y="13793"/>
                  </a:lnTo>
                  <a:lnTo>
                    <a:pt x="8425" y="13260"/>
                  </a:lnTo>
                  <a:lnTo>
                    <a:pt x="8424" y="12101"/>
                  </a:lnTo>
                  <a:lnTo>
                    <a:pt x="7998" y="10796"/>
                  </a:lnTo>
                  <a:cubicBezTo>
                    <a:pt x="7914" y="10491"/>
                    <a:pt x="7805" y="10208"/>
                    <a:pt x="7672" y="9955"/>
                  </a:cubicBezTo>
                  <a:cubicBezTo>
                    <a:pt x="7487" y="9602"/>
                    <a:pt x="7262" y="9316"/>
                    <a:pt x="7013" y="9100"/>
                  </a:cubicBezTo>
                  <a:cubicBezTo>
                    <a:pt x="6627" y="8764"/>
                    <a:pt x="6195" y="8604"/>
                    <a:pt x="5760" y="8637"/>
                  </a:cubicBezTo>
                  <a:lnTo>
                    <a:pt x="5460" y="7993"/>
                  </a:lnTo>
                  <a:lnTo>
                    <a:pt x="4992" y="7628"/>
                  </a:lnTo>
                  <a:lnTo>
                    <a:pt x="4219" y="6874"/>
                  </a:lnTo>
                  <a:cubicBezTo>
                    <a:pt x="4009" y="6592"/>
                    <a:pt x="3763" y="6395"/>
                    <a:pt x="3501" y="6299"/>
                  </a:cubicBezTo>
                  <a:cubicBezTo>
                    <a:pt x="3254" y="6207"/>
                    <a:pt x="2997" y="6207"/>
                    <a:pt x="2750" y="6299"/>
                  </a:cubicBezTo>
                  <a:lnTo>
                    <a:pt x="2183" y="6425"/>
                  </a:lnTo>
                  <a:lnTo>
                    <a:pt x="1674" y="5792"/>
                  </a:lnTo>
                  <a:lnTo>
                    <a:pt x="1674" y="4994"/>
                  </a:lnTo>
                  <a:lnTo>
                    <a:pt x="2200" y="4420"/>
                  </a:lnTo>
                  <a:lnTo>
                    <a:pt x="2400" y="3664"/>
                  </a:lnTo>
                  <a:lnTo>
                    <a:pt x="2125" y="3120"/>
                  </a:lnTo>
                  <a:lnTo>
                    <a:pt x="1524" y="2615"/>
                  </a:lnTo>
                  <a:lnTo>
                    <a:pt x="566" y="2138"/>
                  </a:lnTo>
                  <a:lnTo>
                    <a:pt x="0" y="1619"/>
                  </a:lnTo>
                  <a:lnTo>
                    <a:pt x="54" y="1017"/>
                  </a:lnTo>
                  <a:lnTo>
                    <a:pt x="339" y="1069"/>
                  </a:lnTo>
                  <a:close/>
                </a:path>
              </a:pathLst>
            </a:custGeom>
            <a:grpFill/>
            <a:ln w="25400" cap="flat">
              <a:noFill/>
              <a:prstDash val="solid"/>
              <a:miter lim="400000"/>
            </a:ln>
            <a:effectLst/>
          </p:spPr>
          <p:txBody>
            <a:bodyPr anchor="ctr"/>
            <a:lstStyle/>
            <a:p>
              <a:pPr algn="ctr"/>
              <a:endParaRPr/>
            </a:p>
          </p:txBody>
        </p:sp>
        <p:sp>
          <p:nvSpPr>
            <p:cNvPr id="149" name="任意多边形: 形状 148">
              <a:extLst>
                <a:ext uri="{FF2B5EF4-FFF2-40B4-BE49-F238E27FC236}">
                  <a16:creationId xmlns:a16="http://schemas.microsoft.com/office/drawing/2014/main" id="{F670707E-E70D-4D52-9D45-13EF0FDD5BD3}"/>
                </a:ext>
              </a:extLst>
            </p:cNvPr>
            <p:cNvSpPr/>
            <p:nvPr/>
          </p:nvSpPr>
          <p:spPr>
            <a:xfrm>
              <a:off x="10030474" y="3790111"/>
              <a:ext cx="18322" cy="22808"/>
            </a:xfrm>
            <a:custGeom>
              <a:avLst/>
              <a:gdLst/>
              <a:ahLst/>
              <a:cxnLst>
                <a:cxn ang="0">
                  <a:pos x="wd2" y="hd2"/>
                </a:cxn>
                <a:cxn ang="5400000">
                  <a:pos x="wd2" y="hd2"/>
                </a:cxn>
                <a:cxn ang="10800000">
                  <a:pos x="wd2" y="hd2"/>
                </a:cxn>
                <a:cxn ang="16200000">
                  <a:pos x="wd2" y="hd2"/>
                </a:cxn>
              </a:cxnLst>
              <a:rect l="0" t="0" r="r" b="b"/>
              <a:pathLst>
                <a:path w="21600" h="21600" extrusionOk="0">
                  <a:moveTo>
                    <a:pt x="11034" y="0"/>
                  </a:moveTo>
                  <a:lnTo>
                    <a:pt x="0" y="3883"/>
                  </a:lnTo>
                  <a:lnTo>
                    <a:pt x="4598" y="21600"/>
                  </a:lnTo>
                  <a:lnTo>
                    <a:pt x="21600" y="15889"/>
                  </a:lnTo>
                  <a:lnTo>
                    <a:pt x="21600" y="4677"/>
                  </a:lnTo>
                  <a:lnTo>
                    <a:pt x="11034" y="0"/>
                  </a:lnTo>
                  <a:close/>
                </a:path>
              </a:pathLst>
            </a:custGeom>
            <a:grpFill/>
            <a:ln w="25400" cap="flat">
              <a:noFill/>
              <a:prstDash val="solid"/>
              <a:miter lim="400000"/>
            </a:ln>
            <a:effectLst/>
          </p:spPr>
          <p:txBody>
            <a:bodyPr anchor="ctr"/>
            <a:lstStyle/>
            <a:p>
              <a:pPr algn="ctr"/>
              <a:endParaRPr/>
            </a:p>
          </p:txBody>
        </p:sp>
        <p:sp>
          <p:nvSpPr>
            <p:cNvPr id="150" name="任意多边形: 形状 149">
              <a:extLst>
                <a:ext uri="{FF2B5EF4-FFF2-40B4-BE49-F238E27FC236}">
                  <a16:creationId xmlns:a16="http://schemas.microsoft.com/office/drawing/2014/main" id="{28155864-8379-4529-83D4-A57960856B05}"/>
                </a:ext>
              </a:extLst>
            </p:cNvPr>
            <p:cNvSpPr/>
            <p:nvPr/>
          </p:nvSpPr>
          <p:spPr>
            <a:xfrm>
              <a:off x="10351793" y="3476789"/>
              <a:ext cx="16360" cy="21873"/>
            </a:xfrm>
            <a:custGeom>
              <a:avLst/>
              <a:gdLst/>
              <a:ahLst/>
              <a:cxnLst>
                <a:cxn ang="0">
                  <a:pos x="wd2" y="hd2"/>
                </a:cxn>
                <a:cxn ang="5400000">
                  <a:pos x="wd2" y="hd2"/>
                </a:cxn>
                <a:cxn ang="10800000">
                  <a:pos x="wd2" y="hd2"/>
                </a:cxn>
                <a:cxn ang="16200000">
                  <a:pos x="wd2" y="hd2"/>
                </a:cxn>
              </a:cxnLst>
              <a:rect l="0" t="0" r="r" b="b"/>
              <a:pathLst>
                <a:path w="21600" h="21600" extrusionOk="0">
                  <a:moveTo>
                    <a:pt x="11547" y="0"/>
                  </a:moveTo>
                  <a:lnTo>
                    <a:pt x="2757" y="5238"/>
                  </a:lnTo>
                  <a:lnTo>
                    <a:pt x="0" y="18231"/>
                  </a:lnTo>
                  <a:lnTo>
                    <a:pt x="17487" y="21600"/>
                  </a:lnTo>
                  <a:lnTo>
                    <a:pt x="21600" y="12744"/>
                  </a:lnTo>
                  <a:lnTo>
                    <a:pt x="11547" y="0"/>
                  </a:lnTo>
                  <a:close/>
                </a:path>
              </a:pathLst>
            </a:custGeom>
            <a:grpFill/>
            <a:ln w="25400" cap="flat">
              <a:noFill/>
              <a:prstDash val="solid"/>
              <a:miter lim="400000"/>
            </a:ln>
            <a:effectLst/>
          </p:spPr>
          <p:txBody>
            <a:bodyPr anchor="ctr"/>
            <a:lstStyle/>
            <a:p>
              <a:pPr algn="ctr"/>
              <a:endParaRPr/>
            </a:p>
          </p:txBody>
        </p:sp>
        <p:sp>
          <p:nvSpPr>
            <p:cNvPr id="151" name="任意多边形: 形状 150">
              <a:extLst>
                <a:ext uri="{FF2B5EF4-FFF2-40B4-BE49-F238E27FC236}">
                  <a16:creationId xmlns:a16="http://schemas.microsoft.com/office/drawing/2014/main" id="{C077BD58-BAAA-40F9-94D4-FFF1AE0359CD}"/>
                </a:ext>
              </a:extLst>
            </p:cNvPr>
            <p:cNvSpPr/>
            <p:nvPr/>
          </p:nvSpPr>
          <p:spPr>
            <a:xfrm>
              <a:off x="10325524" y="3553174"/>
              <a:ext cx="18349" cy="31158"/>
            </a:xfrm>
            <a:custGeom>
              <a:avLst/>
              <a:gdLst/>
              <a:ahLst/>
              <a:cxnLst>
                <a:cxn ang="0">
                  <a:pos x="wd2" y="hd2"/>
                </a:cxn>
                <a:cxn ang="5400000">
                  <a:pos x="wd2" y="hd2"/>
                </a:cxn>
                <a:cxn ang="10800000">
                  <a:pos x="wd2" y="hd2"/>
                </a:cxn>
                <a:cxn ang="16200000">
                  <a:pos x="wd2" y="hd2"/>
                </a:cxn>
              </a:cxnLst>
              <a:rect l="0" t="0" r="r" b="b"/>
              <a:pathLst>
                <a:path w="21600" h="21600" extrusionOk="0">
                  <a:moveTo>
                    <a:pt x="5652" y="0"/>
                  </a:moveTo>
                  <a:lnTo>
                    <a:pt x="0" y="4334"/>
                  </a:lnTo>
                  <a:lnTo>
                    <a:pt x="342" y="20725"/>
                  </a:lnTo>
                  <a:lnTo>
                    <a:pt x="18905" y="21600"/>
                  </a:lnTo>
                  <a:lnTo>
                    <a:pt x="21600" y="4465"/>
                  </a:lnTo>
                  <a:lnTo>
                    <a:pt x="5652" y="0"/>
                  </a:lnTo>
                  <a:close/>
                </a:path>
              </a:pathLst>
            </a:custGeom>
            <a:grpFill/>
            <a:ln w="25400" cap="flat">
              <a:noFill/>
              <a:prstDash val="solid"/>
              <a:miter lim="400000"/>
            </a:ln>
            <a:effectLst/>
          </p:spPr>
          <p:txBody>
            <a:bodyPr anchor="ctr"/>
            <a:lstStyle/>
            <a:p>
              <a:pPr algn="ctr"/>
              <a:endParaRPr/>
            </a:p>
          </p:txBody>
        </p:sp>
        <p:sp>
          <p:nvSpPr>
            <p:cNvPr id="152" name="任意多边形: 形状 151">
              <a:extLst>
                <a:ext uri="{FF2B5EF4-FFF2-40B4-BE49-F238E27FC236}">
                  <a16:creationId xmlns:a16="http://schemas.microsoft.com/office/drawing/2014/main" id="{01BBD70D-39B0-4E24-9B08-742DC6B0F40D}"/>
                </a:ext>
              </a:extLst>
            </p:cNvPr>
            <p:cNvSpPr/>
            <p:nvPr/>
          </p:nvSpPr>
          <p:spPr>
            <a:xfrm>
              <a:off x="10830737" y="3809410"/>
              <a:ext cx="19066" cy="289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7350"/>
                  </a:lnTo>
                  <a:lnTo>
                    <a:pt x="7288" y="21600"/>
                  </a:lnTo>
                  <a:lnTo>
                    <a:pt x="0" y="0"/>
                  </a:lnTo>
                  <a:close/>
                </a:path>
              </a:pathLst>
            </a:custGeom>
            <a:grpFill/>
            <a:ln w="25400" cap="flat">
              <a:noFill/>
              <a:prstDash val="solid"/>
              <a:miter lim="400000"/>
            </a:ln>
            <a:effectLst/>
          </p:spPr>
          <p:txBody>
            <a:bodyPr anchor="ctr"/>
            <a:lstStyle/>
            <a:p>
              <a:pPr algn="ctr"/>
              <a:endParaRPr/>
            </a:p>
          </p:txBody>
        </p:sp>
      </p:grpSp>
      <p:sp>
        <p:nvSpPr>
          <p:cNvPr id="9801" name="副标题 9800"/>
          <p:cNvSpPr>
            <a:spLocks noGrp="1"/>
          </p:cNvSpPr>
          <p:nvPr userDrawn="1">
            <p:ph type="subTitle" idx="1" hasCustomPrompt="1"/>
          </p:nvPr>
        </p:nvSpPr>
        <p:spPr>
          <a:xfrm>
            <a:off x="673099" y="738160"/>
            <a:ext cx="1409701" cy="392140"/>
          </a:xfrm>
          <a:prstGeom prst="roundRect">
            <a:avLst>
              <a:gd name="adj" fmla="val 50000"/>
            </a:avLst>
          </a:prstGeom>
          <a:ln>
            <a:solidFill>
              <a:srgbClr val="AA8A52"/>
            </a:solidFill>
          </a:ln>
        </p:spPr>
        <p:txBody>
          <a:bodyPr vert="horz" lIns="91440" tIns="45720" rIns="91440" bIns="45720" rtlCol="0">
            <a:normAutofit fontScale="62500" lnSpcReduction="20000"/>
          </a:bodyPr>
          <a:lstStyle>
            <a:lvl1pPr marL="0" indent="0">
              <a:buFont typeface="Arial" panose="020B0604020202020204" pitchFamily="34" charset="0"/>
              <a:buNone/>
              <a:defRPr lang="en-US" dirty="0">
                <a:solidFill>
                  <a:srgbClr val="AA8A52"/>
                </a:solidFill>
              </a:defRPr>
            </a:lvl1pPr>
          </a:lstStyle>
          <a:p>
            <a:pPr lvl="0"/>
            <a:r>
              <a:rPr lang="en-US" dirty="0"/>
              <a:t>Click to edit Master subtitle style</a:t>
            </a:r>
          </a:p>
        </p:txBody>
      </p:sp>
      <p:sp>
        <p:nvSpPr>
          <p:cNvPr id="9802" name="标题 9801"/>
          <p:cNvSpPr>
            <a:spLocks noGrp="1"/>
          </p:cNvSpPr>
          <p:nvPr userDrawn="1">
            <p:ph type="ctrTitle" hasCustomPrompt="1"/>
          </p:nvPr>
        </p:nvSpPr>
        <p:spPr>
          <a:xfrm>
            <a:off x="673099" y="879359"/>
            <a:ext cx="10756344" cy="4180057"/>
          </a:xfrm>
        </p:spPr>
        <p:txBody>
          <a:bodyPr vert="horz" lIns="91440" tIns="45720" rIns="91440" bIns="45720" rtlCol="0" anchor="b">
            <a:normAutofit/>
          </a:bodyPr>
          <a:lstStyle>
            <a:lvl1pPr>
              <a:defRPr lang="zh-CN" altLang="en-US" sz="8800" dirty="0">
                <a:solidFill>
                  <a:srgbClr val="AA8A52"/>
                </a:solidFill>
              </a:defRPr>
            </a:lvl1pPr>
          </a:lstStyle>
          <a:p>
            <a:pPr marL="0" lvl="0" algn="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73099" y="5437945"/>
            <a:ext cx="6192158" cy="296271"/>
          </a:xfrm>
        </p:spPr>
        <p:txBody>
          <a:bodyPr vert="horz" lIns="91440" tIns="45720" rIns="91440" bIns="45720" rtlCol="0">
            <a:normAutofit/>
          </a:bodyPr>
          <a:lstStyle>
            <a:lvl1pPr marL="0" indent="0">
              <a:buFont typeface="Arial" panose="020B0604020202020204" pitchFamily="34" charset="0"/>
              <a:buNone/>
              <a:defRPr lang="en-US" altLang="zh-CN" sz="1200" dirty="0">
                <a:solidFill>
                  <a:srgbClr val="AA8A52"/>
                </a:solidFill>
              </a:defRPr>
            </a:lvl1pPr>
          </a:lstStyle>
          <a:p>
            <a:pPr lvl="0"/>
            <a:r>
              <a:rPr lang="en-US" altLang="zh-CN" dirty="0"/>
              <a:t>Signature</a:t>
            </a:r>
          </a:p>
        </p:txBody>
      </p:sp>
      <p:sp>
        <p:nvSpPr>
          <p:cNvPr id="13" name="文本占位符 12"/>
          <p:cNvSpPr>
            <a:spLocks noGrp="1"/>
          </p:cNvSpPr>
          <p:nvPr userDrawn="1">
            <p:ph type="body" sz="quarter" idx="11" hasCustomPrompt="1"/>
          </p:nvPr>
        </p:nvSpPr>
        <p:spPr>
          <a:xfrm>
            <a:off x="673099" y="5734216"/>
            <a:ext cx="6192158" cy="296271"/>
          </a:xfrm>
        </p:spPr>
        <p:txBody>
          <a:bodyPr vert="horz" lIns="91440" tIns="45720" rIns="91440" bIns="45720" rtlCol="0">
            <a:normAutofit/>
          </a:bodyPr>
          <a:lstStyle>
            <a:lvl1pPr marL="0" indent="0">
              <a:buFont typeface="Arial" panose="020B0604020202020204" pitchFamily="34" charset="0"/>
              <a:buNone/>
              <a:defRPr lang="zh-CN" altLang="en-US" sz="1200" dirty="0">
                <a:solidFill>
                  <a:srgbClr val="AA8A52"/>
                </a:solidFill>
              </a:defRPr>
            </a:lvl1pPr>
          </a:lstStyle>
          <a:p>
            <a:pPr lvl="0"/>
            <a:r>
              <a:rPr lang="en-US" altLang="zh-CN" dirty="0"/>
              <a:t>Date</a:t>
            </a:r>
            <a:endParaRPr lang="zh-CN" altLang="en-US" dirty="0"/>
          </a:p>
        </p:txBody>
      </p:sp>
      <p:sp>
        <p:nvSpPr>
          <p:cNvPr id="155" name="任意多边形: 形状 154">
            <a:extLst>
              <a:ext uri="{FF2B5EF4-FFF2-40B4-BE49-F238E27FC236}">
                <a16:creationId xmlns:a16="http://schemas.microsoft.com/office/drawing/2014/main" id="{9FB52C59-5939-47C1-B25C-4BE268C3EDCE}"/>
              </a:ext>
            </a:extLst>
          </p:cNvPr>
          <p:cNvSpPr/>
          <p:nvPr userDrawn="1"/>
        </p:nvSpPr>
        <p:spPr>
          <a:xfrm flipV="1">
            <a:off x="5055185" y="3281914"/>
            <a:ext cx="6463716" cy="144071"/>
          </a:xfrm>
          <a:custGeom>
            <a:avLst/>
            <a:gdLst/>
            <a:ahLst/>
            <a:cxnLst/>
            <a:rect l="0" t="0" r="0" b="0"/>
            <a:pathLst>
              <a:path w="10865194" h="162167">
                <a:moveTo>
                  <a:pt x="12163" y="12163"/>
                </a:moveTo>
                <a:lnTo>
                  <a:pt x="10861141" y="12163"/>
                </a:lnTo>
                <a:lnTo>
                  <a:pt x="10861141" y="158113"/>
                </a:lnTo>
                <a:lnTo>
                  <a:pt x="12163" y="158113"/>
                </a:lnTo>
                <a:close/>
              </a:path>
            </a:pathLst>
          </a:custGeom>
          <a:solidFill>
            <a:srgbClr val="8D754B"/>
          </a:solidFill>
          <a:ln w="9525" cap="flat">
            <a:noFill/>
            <a:prstDash val="solid"/>
            <a:miter/>
          </a:ln>
        </p:spPr>
        <p:txBody>
          <a:bodyPr anchor="ctr"/>
          <a:lstStyle/>
          <a:p>
            <a:pPr algn="ctr"/>
            <a:endParaRPr/>
          </a:p>
        </p:txBody>
      </p:sp>
      <p:grpSp>
        <p:nvGrpSpPr>
          <p:cNvPr id="156" name="组合 155">
            <a:extLst>
              <a:ext uri="{FF2B5EF4-FFF2-40B4-BE49-F238E27FC236}">
                <a16:creationId xmlns:a16="http://schemas.microsoft.com/office/drawing/2014/main" id="{879A6515-9CC4-4093-B1D2-5651997F1E17}"/>
              </a:ext>
            </a:extLst>
          </p:cNvPr>
          <p:cNvGrpSpPr/>
          <p:nvPr userDrawn="1"/>
        </p:nvGrpSpPr>
        <p:grpSpPr>
          <a:xfrm>
            <a:off x="5137870" y="1603592"/>
            <a:ext cx="6323881" cy="1804669"/>
            <a:chOff x="5374633" y="3570049"/>
            <a:chExt cx="7711044" cy="2331963"/>
          </a:xfrm>
        </p:grpSpPr>
        <p:sp>
          <p:nvSpPr>
            <p:cNvPr id="161" name="任意多边形: 形状 160">
              <a:extLst>
                <a:ext uri="{FF2B5EF4-FFF2-40B4-BE49-F238E27FC236}">
                  <a16:creationId xmlns:a16="http://schemas.microsoft.com/office/drawing/2014/main" id="{D1F21EE8-EE9A-4EEE-9E92-833426DC41FC}"/>
                </a:ext>
              </a:extLst>
            </p:cNvPr>
            <p:cNvSpPr/>
            <p:nvPr/>
          </p:nvSpPr>
          <p:spPr>
            <a:xfrm>
              <a:off x="8090931" y="4184663"/>
              <a:ext cx="616235" cy="1605454"/>
            </a:xfrm>
            <a:custGeom>
              <a:avLst/>
              <a:gdLst/>
              <a:ahLst/>
              <a:cxnLst/>
              <a:rect l="0" t="0" r="0" b="0"/>
              <a:pathLst>
                <a:path w="616234" h="1605454">
                  <a:moveTo>
                    <a:pt x="12163" y="12163"/>
                  </a:moveTo>
                  <a:lnTo>
                    <a:pt x="608937" y="12163"/>
                  </a:lnTo>
                  <a:lnTo>
                    <a:pt x="608937" y="1607887"/>
                  </a:lnTo>
                  <a:lnTo>
                    <a:pt x="12163" y="1607887"/>
                  </a:lnTo>
                  <a:close/>
                </a:path>
              </a:pathLst>
            </a:custGeom>
            <a:solidFill>
              <a:srgbClr val="8D754B"/>
            </a:solidFill>
            <a:ln w="9525" cap="flat">
              <a:noFill/>
              <a:prstDash val="solid"/>
              <a:miter/>
            </a:ln>
          </p:spPr>
          <p:txBody>
            <a:bodyPr anchor="ctr"/>
            <a:lstStyle/>
            <a:p>
              <a:pPr algn="ctr"/>
              <a:endParaRPr/>
            </a:p>
          </p:txBody>
        </p:sp>
        <p:sp>
          <p:nvSpPr>
            <p:cNvPr id="162" name="任意多边形: 形状 161">
              <a:extLst>
                <a:ext uri="{FF2B5EF4-FFF2-40B4-BE49-F238E27FC236}">
                  <a16:creationId xmlns:a16="http://schemas.microsoft.com/office/drawing/2014/main" id="{F6DF7668-40CE-46D7-9AA3-0E9EAA4C5799}"/>
                </a:ext>
              </a:extLst>
            </p:cNvPr>
            <p:cNvSpPr/>
            <p:nvPr/>
          </p:nvSpPr>
          <p:spPr>
            <a:xfrm>
              <a:off x="6063843" y="4045199"/>
              <a:ext cx="583802" cy="1751405"/>
            </a:xfrm>
            <a:custGeom>
              <a:avLst/>
              <a:gdLst/>
              <a:ahLst/>
              <a:cxnLst/>
              <a:rect l="0" t="0" r="0" b="0"/>
              <a:pathLst>
                <a:path w="583801" h="1751404">
                  <a:moveTo>
                    <a:pt x="12163" y="12163"/>
                  </a:moveTo>
                  <a:lnTo>
                    <a:pt x="579747" y="12163"/>
                  </a:lnTo>
                  <a:lnTo>
                    <a:pt x="579747" y="1748972"/>
                  </a:lnTo>
                  <a:lnTo>
                    <a:pt x="12163" y="1748972"/>
                  </a:lnTo>
                  <a:close/>
                </a:path>
              </a:pathLst>
            </a:custGeom>
            <a:solidFill>
              <a:srgbClr val="8D754B"/>
            </a:solidFill>
            <a:ln w="9525" cap="flat">
              <a:noFill/>
              <a:prstDash val="solid"/>
              <a:miter/>
            </a:ln>
          </p:spPr>
          <p:txBody>
            <a:bodyPr anchor="ctr"/>
            <a:lstStyle/>
            <a:p>
              <a:pPr algn="ctr"/>
              <a:endParaRPr/>
            </a:p>
          </p:txBody>
        </p:sp>
        <p:sp>
          <p:nvSpPr>
            <p:cNvPr id="163" name="任意多边形: 形状 162">
              <a:extLst>
                <a:ext uri="{FF2B5EF4-FFF2-40B4-BE49-F238E27FC236}">
                  <a16:creationId xmlns:a16="http://schemas.microsoft.com/office/drawing/2014/main" id="{BC1372B9-FF12-4F90-8E10-BBEBCDDAD60F}"/>
                </a:ext>
              </a:extLst>
            </p:cNvPr>
            <p:cNvSpPr/>
            <p:nvPr/>
          </p:nvSpPr>
          <p:spPr>
            <a:xfrm>
              <a:off x="11786719" y="3570049"/>
              <a:ext cx="583802" cy="2221689"/>
            </a:xfrm>
            <a:custGeom>
              <a:avLst/>
              <a:gdLst/>
              <a:ahLst/>
              <a:cxnLst/>
              <a:rect l="0" t="0" r="0" b="0"/>
              <a:pathLst>
                <a:path w="583801" h="2221689">
                  <a:moveTo>
                    <a:pt x="574882" y="2222500"/>
                  </a:moveTo>
                  <a:lnTo>
                    <a:pt x="574882" y="219736"/>
                  </a:lnTo>
                  <a:lnTo>
                    <a:pt x="12163" y="12163"/>
                  </a:lnTo>
                  <a:lnTo>
                    <a:pt x="12163" y="2222500"/>
                  </a:lnTo>
                  <a:close/>
                </a:path>
              </a:pathLst>
            </a:custGeom>
            <a:solidFill>
              <a:srgbClr val="8D754B"/>
            </a:solidFill>
            <a:ln w="9525" cap="flat">
              <a:noFill/>
              <a:prstDash val="solid"/>
              <a:miter/>
            </a:ln>
          </p:spPr>
          <p:txBody>
            <a:bodyPr anchor="ctr"/>
            <a:lstStyle/>
            <a:p>
              <a:pPr algn="ctr"/>
              <a:endParaRPr/>
            </a:p>
          </p:txBody>
        </p:sp>
        <p:sp>
          <p:nvSpPr>
            <p:cNvPr id="164" name="任意多边形: 形状 163">
              <a:extLst>
                <a:ext uri="{FF2B5EF4-FFF2-40B4-BE49-F238E27FC236}">
                  <a16:creationId xmlns:a16="http://schemas.microsoft.com/office/drawing/2014/main" id="{5AC22EAD-8BA2-4433-98B3-BB81BB4B0608}"/>
                </a:ext>
              </a:extLst>
            </p:cNvPr>
            <p:cNvSpPr/>
            <p:nvPr/>
          </p:nvSpPr>
          <p:spPr>
            <a:xfrm>
              <a:off x="7247662" y="3806813"/>
              <a:ext cx="778402" cy="2027089"/>
            </a:xfrm>
            <a:custGeom>
              <a:avLst/>
              <a:gdLst/>
              <a:ahLst/>
              <a:cxnLst/>
              <a:rect l="0" t="0" r="0" b="0"/>
              <a:pathLst>
                <a:path w="778402" h="2027088">
                  <a:moveTo>
                    <a:pt x="12163" y="12163"/>
                  </a:moveTo>
                  <a:lnTo>
                    <a:pt x="771104" y="12163"/>
                  </a:lnTo>
                  <a:lnTo>
                    <a:pt x="771104" y="2018169"/>
                  </a:lnTo>
                  <a:lnTo>
                    <a:pt x="12162" y="2018169"/>
                  </a:lnTo>
                  <a:close/>
                </a:path>
              </a:pathLst>
            </a:custGeom>
            <a:solidFill>
              <a:srgbClr val="8D754B"/>
            </a:solidFill>
            <a:ln w="9525" cap="flat">
              <a:noFill/>
              <a:prstDash val="solid"/>
              <a:miter/>
            </a:ln>
          </p:spPr>
          <p:txBody>
            <a:bodyPr anchor="ctr"/>
            <a:lstStyle/>
            <a:p>
              <a:pPr algn="ctr"/>
              <a:endParaRPr/>
            </a:p>
          </p:txBody>
        </p:sp>
        <p:sp>
          <p:nvSpPr>
            <p:cNvPr id="165" name="任意多边形: 形状 164">
              <a:extLst>
                <a:ext uri="{FF2B5EF4-FFF2-40B4-BE49-F238E27FC236}">
                  <a16:creationId xmlns:a16="http://schemas.microsoft.com/office/drawing/2014/main" id="{F0A7E305-C03B-416B-A6AB-90A1C913C3FF}"/>
                </a:ext>
              </a:extLst>
            </p:cNvPr>
            <p:cNvSpPr/>
            <p:nvPr/>
          </p:nvSpPr>
          <p:spPr>
            <a:xfrm>
              <a:off x="11139672" y="4653326"/>
              <a:ext cx="551368" cy="1151386"/>
            </a:xfrm>
            <a:custGeom>
              <a:avLst/>
              <a:gdLst/>
              <a:ahLst/>
              <a:cxnLst/>
              <a:rect l="0" t="0" r="0" b="0"/>
              <a:pathLst>
                <a:path w="551368" h="1151386">
                  <a:moveTo>
                    <a:pt x="12163" y="12163"/>
                  </a:moveTo>
                  <a:lnTo>
                    <a:pt x="547314" y="12163"/>
                  </a:lnTo>
                  <a:lnTo>
                    <a:pt x="547314" y="1139224"/>
                  </a:lnTo>
                  <a:lnTo>
                    <a:pt x="12163" y="1139224"/>
                  </a:lnTo>
                  <a:close/>
                </a:path>
              </a:pathLst>
            </a:custGeom>
            <a:solidFill>
              <a:srgbClr val="8D754B"/>
            </a:solidFill>
            <a:ln w="9525" cap="flat">
              <a:noFill/>
              <a:prstDash val="solid"/>
              <a:miter/>
            </a:ln>
          </p:spPr>
          <p:txBody>
            <a:bodyPr anchor="ctr"/>
            <a:lstStyle/>
            <a:p>
              <a:pPr algn="ctr"/>
              <a:endParaRPr/>
            </a:p>
          </p:txBody>
        </p:sp>
        <p:sp>
          <p:nvSpPr>
            <p:cNvPr id="166" name="任意多边形: 形状 165">
              <a:extLst>
                <a:ext uri="{FF2B5EF4-FFF2-40B4-BE49-F238E27FC236}">
                  <a16:creationId xmlns:a16="http://schemas.microsoft.com/office/drawing/2014/main" id="{5E403D1E-8776-4505-A173-A493D995F50F}"/>
                </a:ext>
              </a:extLst>
            </p:cNvPr>
            <p:cNvSpPr/>
            <p:nvPr/>
          </p:nvSpPr>
          <p:spPr>
            <a:xfrm>
              <a:off x="12437009" y="4556025"/>
              <a:ext cx="648668" cy="1281120"/>
            </a:xfrm>
            <a:custGeom>
              <a:avLst/>
              <a:gdLst/>
              <a:ahLst/>
              <a:cxnLst/>
              <a:rect l="0" t="0" r="0" b="0"/>
              <a:pathLst>
                <a:path w="648668" h="1281119">
                  <a:moveTo>
                    <a:pt x="12163" y="12163"/>
                  </a:moveTo>
                  <a:lnTo>
                    <a:pt x="644614" y="12163"/>
                  </a:lnTo>
                  <a:lnTo>
                    <a:pt x="644614" y="1268958"/>
                  </a:lnTo>
                  <a:lnTo>
                    <a:pt x="12163" y="1268958"/>
                  </a:lnTo>
                  <a:close/>
                </a:path>
              </a:pathLst>
            </a:custGeom>
            <a:solidFill>
              <a:srgbClr val="8D754B"/>
            </a:solidFill>
            <a:ln w="9525" cap="flat">
              <a:noFill/>
              <a:prstDash val="solid"/>
              <a:miter/>
            </a:ln>
          </p:spPr>
          <p:txBody>
            <a:bodyPr anchor="ctr"/>
            <a:lstStyle/>
            <a:p>
              <a:pPr algn="ctr"/>
              <a:endParaRPr/>
            </a:p>
          </p:txBody>
        </p:sp>
        <p:sp>
          <p:nvSpPr>
            <p:cNvPr id="167" name="任意多边形: 形状 166">
              <a:extLst>
                <a:ext uri="{FF2B5EF4-FFF2-40B4-BE49-F238E27FC236}">
                  <a16:creationId xmlns:a16="http://schemas.microsoft.com/office/drawing/2014/main" id="{0FD2217B-B8BF-4731-9149-DC4B6A1F4276}"/>
                </a:ext>
              </a:extLst>
            </p:cNvPr>
            <p:cNvSpPr/>
            <p:nvPr/>
          </p:nvSpPr>
          <p:spPr>
            <a:xfrm>
              <a:off x="10458571" y="4434400"/>
              <a:ext cx="600018" cy="1394637"/>
            </a:xfrm>
            <a:custGeom>
              <a:avLst/>
              <a:gdLst/>
              <a:ahLst/>
              <a:cxnLst/>
              <a:rect l="0" t="0" r="0" b="0"/>
              <a:pathLst>
                <a:path w="600018" h="1394636">
                  <a:moveTo>
                    <a:pt x="12163" y="12163"/>
                  </a:moveTo>
                  <a:lnTo>
                    <a:pt x="595964" y="12163"/>
                  </a:lnTo>
                  <a:lnTo>
                    <a:pt x="595964" y="1390583"/>
                  </a:lnTo>
                  <a:lnTo>
                    <a:pt x="12163" y="1390583"/>
                  </a:lnTo>
                  <a:close/>
                </a:path>
              </a:pathLst>
            </a:custGeom>
            <a:solidFill>
              <a:srgbClr val="8D754B"/>
            </a:solidFill>
            <a:ln w="9525" cap="flat">
              <a:noFill/>
              <a:prstDash val="solid"/>
              <a:miter/>
            </a:ln>
          </p:spPr>
          <p:txBody>
            <a:bodyPr anchor="ctr"/>
            <a:lstStyle/>
            <a:p>
              <a:pPr algn="ctr"/>
              <a:endParaRPr/>
            </a:p>
          </p:txBody>
        </p:sp>
        <p:sp>
          <p:nvSpPr>
            <p:cNvPr id="168" name="任意多边形: 形状 167">
              <a:extLst>
                <a:ext uri="{FF2B5EF4-FFF2-40B4-BE49-F238E27FC236}">
                  <a16:creationId xmlns:a16="http://schemas.microsoft.com/office/drawing/2014/main" id="{6EFB6AB1-5522-4C1F-9B2F-29680AA6F291}"/>
                </a:ext>
              </a:extLst>
            </p:cNvPr>
            <p:cNvSpPr/>
            <p:nvPr/>
          </p:nvSpPr>
          <p:spPr>
            <a:xfrm>
              <a:off x="8786628" y="4556025"/>
              <a:ext cx="600018" cy="1345987"/>
            </a:xfrm>
            <a:custGeom>
              <a:avLst/>
              <a:gdLst/>
              <a:ahLst/>
              <a:cxnLst/>
              <a:rect l="0" t="0" r="0" b="0"/>
              <a:pathLst>
                <a:path w="600018" h="1345986">
                  <a:moveTo>
                    <a:pt x="12162" y="12163"/>
                  </a:moveTo>
                  <a:lnTo>
                    <a:pt x="595964" y="12163"/>
                  </a:lnTo>
                  <a:lnTo>
                    <a:pt x="595964" y="1333824"/>
                  </a:lnTo>
                  <a:lnTo>
                    <a:pt x="12162" y="1333824"/>
                  </a:lnTo>
                  <a:close/>
                </a:path>
              </a:pathLst>
            </a:custGeom>
            <a:solidFill>
              <a:srgbClr val="8D754B"/>
            </a:solidFill>
            <a:ln w="9525" cap="flat">
              <a:noFill/>
              <a:prstDash val="solid"/>
              <a:miter/>
            </a:ln>
          </p:spPr>
          <p:txBody>
            <a:bodyPr anchor="ctr"/>
            <a:lstStyle/>
            <a:p>
              <a:pPr algn="ctr"/>
              <a:endParaRPr/>
            </a:p>
          </p:txBody>
        </p:sp>
        <p:sp>
          <p:nvSpPr>
            <p:cNvPr id="169" name="任意多边形: 形状 168">
              <a:extLst>
                <a:ext uri="{FF2B5EF4-FFF2-40B4-BE49-F238E27FC236}">
                  <a16:creationId xmlns:a16="http://schemas.microsoft.com/office/drawing/2014/main" id="{D0391C7E-C9CC-4663-92CB-9A5BECDE4FE2}"/>
                </a:ext>
              </a:extLst>
            </p:cNvPr>
            <p:cNvSpPr/>
            <p:nvPr/>
          </p:nvSpPr>
          <p:spPr>
            <a:xfrm>
              <a:off x="6715754" y="3673836"/>
              <a:ext cx="454068" cy="2189256"/>
            </a:xfrm>
            <a:custGeom>
              <a:avLst/>
              <a:gdLst/>
              <a:ahLst/>
              <a:cxnLst/>
              <a:rect l="0" t="0" r="0" b="0"/>
              <a:pathLst>
                <a:path w="454067" h="2189255">
                  <a:moveTo>
                    <a:pt x="451635" y="642993"/>
                  </a:moveTo>
                  <a:cubicBezTo>
                    <a:pt x="451635" y="558666"/>
                    <a:pt x="367309" y="490555"/>
                    <a:pt x="257035" y="482447"/>
                  </a:cubicBezTo>
                  <a:lnTo>
                    <a:pt x="257035" y="438662"/>
                  </a:lnTo>
                  <a:lnTo>
                    <a:pt x="255413" y="330010"/>
                  </a:lnTo>
                  <a:lnTo>
                    <a:pt x="250548" y="12163"/>
                  </a:lnTo>
                  <a:lnTo>
                    <a:pt x="218115" y="12163"/>
                  </a:lnTo>
                  <a:lnTo>
                    <a:pt x="214871" y="330010"/>
                  </a:lnTo>
                  <a:cubicBezTo>
                    <a:pt x="193790" y="338118"/>
                    <a:pt x="179195" y="359200"/>
                    <a:pt x="179195" y="385147"/>
                  </a:cubicBezTo>
                  <a:cubicBezTo>
                    <a:pt x="179195" y="409472"/>
                    <a:pt x="193790" y="430554"/>
                    <a:pt x="213250" y="438662"/>
                  </a:cubicBezTo>
                  <a:lnTo>
                    <a:pt x="213250" y="482447"/>
                  </a:lnTo>
                  <a:cubicBezTo>
                    <a:pt x="102976" y="490555"/>
                    <a:pt x="12163" y="560287"/>
                    <a:pt x="12163" y="642993"/>
                  </a:cubicBezTo>
                  <a:cubicBezTo>
                    <a:pt x="12163" y="706238"/>
                    <a:pt x="65678" y="761374"/>
                    <a:pt x="130545" y="788943"/>
                  </a:cubicBezTo>
                  <a:lnTo>
                    <a:pt x="130545" y="2183580"/>
                  </a:lnTo>
                  <a:lnTo>
                    <a:pt x="187303" y="2183580"/>
                  </a:lnTo>
                  <a:lnTo>
                    <a:pt x="284603" y="2183580"/>
                  </a:lnTo>
                  <a:lnTo>
                    <a:pt x="325145" y="2183580"/>
                  </a:lnTo>
                  <a:lnTo>
                    <a:pt x="325145" y="788943"/>
                  </a:lnTo>
                  <a:cubicBezTo>
                    <a:pt x="406229" y="762996"/>
                    <a:pt x="451635" y="707859"/>
                    <a:pt x="451635" y="642993"/>
                  </a:cubicBezTo>
                  <a:close/>
                </a:path>
              </a:pathLst>
            </a:custGeom>
            <a:solidFill>
              <a:srgbClr val="8D754B"/>
            </a:solidFill>
            <a:ln w="9525" cap="flat">
              <a:noFill/>
              <a:prstDash val="solid"/>
              <a:miter/>
            </a:ln>
          </p:spPr>
          <p:txBody>
            <a:bodyPr anchor="ctr"/>
            <a:lstStyle/>
            <a:p>
              <a:pPr algn="ctr"/>
              <a:endParaRPr/>
            </a:p>
          </p:txBody>
        </p:sp>
        <p:sp>
          <p:nvSpPr>
            <p:cNvPr id="170" name="任意多边形: 形状 169">
              <a:extLst>
                <a:ext uri="{FF2B5EF4-FFF2-40B4-BE49-F238E27FC236}">
                  <a16:creationId xmlns:a16="http://schemas.microsoft.com/office/drawing/2014/main" id="{BA086727-202E-47E1-A84D-0C597271F7E1}"/>
                </a:ext>
              </a:extLst>
            </p:cNvPr>
            <p:cNvSpPr/>
            <p:nvPr/>
          </p:nvSpPr>
          <p:spPr>
            <a:xfrm>
              <a:off x="6960627" y="3990062"/>
              <a:ext cx="48650" cy="129734"/>
            </a:xfrm>
            <a:custGeom>
              <a:avLst/>
              <a:gdLst/>
              <a:ahLst/>
              <a:cxnLst/>
              <a:rect l="0" t="0" r="0" b="0"/>
              <a:pathLst>
                <a:path w="48650" h="129733">
                  <a:moveTo>
                    <a:pt x="47839" y="67299"/>
                  </a:moveTo>
                  <a:cubicBezTo>
                    <a:pt x="47839" y="42974"/>
                    <a:pt x="33244" y="21893"/>
                    <a:pt x="12163" y="12163"/>
                  </a:cubicBezTo>
                  <a:lnTo>
                    <a:pt x="13784" y="120814"/>
                  </a:lnTo>
                  <a:cubicBezTo>
                    <a:pt x="33244" y="112706"/>
                    <a:pt x="47839" y="91624"/>
                    <a:pt x="47839" y="67299"/>
                  </a:cubicBezTo>
                  <a:close/>
                </a:path>
              </a:pathLst>
            </a:custGeom>
            <a:solidFill>
              <a:srgbClr val="8D754B"/>
            </a:solidFill>
            <a:ln w="9525" cap="flat">
              <a:noFill/>
              <a:prstDash val="solid"/>
              <a:miter/>
            </a:ln>
          </p:spPr>
          <p:txBody>
            <a:bodyPr anchor="ctr"/>
            <a:lstStyle/>
            <a:p>
              <a:pPr algn="ctr"/>
              <a:endParaRPr/>
            </a:p>
          </p:txBody>
        </p:sp>
        <p:sp>
          <p:nvSpPr>
            <p:cNvPr id="171" name="任意多边形: 形状 170">
              <a:extLst>
                <a:ext uri="{FF2B5EF4-FFF2-40B4-BE49-F238E27FC236}">
                  <a16:creationId xmlns:a16="http://schemas.microsoft.com/office/drawing/2014/main" id="{A1A2E332-568C-4A6A-8508-4832117723C7}"/>
                </a:ext>
              </a:extLst>
            </p:cNvPr>
            <p:cNvSpPr/>
            <p:nvPr/>
          </p:nvSpPr>
          <p:spPr>
            <a:xfrm>
              <a:off x="5374633" y="4256016"/>
              <a:ext cx="600018" cy="1605454"/>
            </a:xfrm>
            <a:custGeom>
              <a:avLst/>
              <a:gdLst/>
              <a:ahLst/>
              <a:cxnLst/>
              <a:rect l="0" t="0" r="0" b="0"/>
              <a:pathLst>
                <a:path w="600018" h="1605454">
                  <a:moveTo>
                    <a:pt x="336497" y="255413"/>
                  </a:moveTo>
                  <a:lnTo>
                    <a:pt x="336497" y="12163"/>
                  </a:lnTo>
                  <a:lnTo>
                    <a:pt x="271630" y="12163"/>
                  </a:lnTo>
                  <a:lnTo>
                    <a:pt x="271630" y="255413"/>
                  </a:lnTo>
                  <a:lnTo>
                    <a:pt x="12163" y="255413"/>
                  </a:lnTo>
                  <a:lnTo>
                    <a:pt x="12163" y="1601400"/>
                  </a:lnTo>
                  <a:lnTo>
                    <a:pt x="595964" y="1601400"/>
                  </a:lnTo>
                  <a:lnTo>
                    <a:pt x="595964" y="255413"/>
                  </a:lnTo>
                  <a:lnTo>
                    <a:pt x="336497" y="255413"/>
                  </a:lnTo>
                  <a:close/>
                  <a:moveTo>
                    <a:pt x="158113" y="1195982"/>
                  </a:moveTo>
                  <a:lnTo>
                    <a:pt x="93246" y="1195982"/>
                  </a:lnTo>
                  <a:lnTo>
                    <a:pt x="93246" y="1001382"/>
                  </a:lnTo>
                  <a:lnTo>
                    <a:pt x="158113" y="1001382"/>
                  </a:lnTo>
                  <a:lnTo>
                    <a:pt x="158113" y="1195982"/>
                  </a:lnTo>
                  <a:close/>
                  <a:moveTo>
                    <a:pt x="158113" y="920298"/>
                  </a:moveTo>
                  <a:lnTo>
                    <a:pt x="93246" y="920298"/>
                  </a:lnTo>
                  <a:lnTo>
                    <a:pt x="93246" y="725698"/>
                  </a:lnTo>
                  <a:lnTo>
                    <a:pt x="158113" y="725698"/>
                  </a:lnTo>
                  <a:lnTo>
                    <a:pt x="158113" y="920298"/>
                  </a:lnTo>
                  <a:close/>
                  <a:moveTo>
                    <a:pt x="158113" y="644614"/>
                  </a:moveTo>
                  <a:lnTo>
                    <a:pt x="93246" y="644614"/>
                  </a:lnTo>
                  <a:lnTo>
                    <a:pt x="93246" y="450014"/>
                  </a:lnTo>
                  <a:lnTo>
                    <a:pt x="158113" y="450014"/>
                  </a:lnTo>
                  <a:lnTo>
                    <a:pt x="158113" y="644614"/>
                  </a:lnTo>
                  <a:close/>
                  <a:moveTo>
                    <a:pt x="271630" y="920298"/>
                  </a:moveTo>
                  <a:lnTo>
                    <a:pt x="206763" y="920298"/>
                  </a:lnTo>
                  <a:lnTo>
                    <a:pt x="206763" y="725698"/>
                  </a:lnTo>
                  <a:lnTo>
                    <a:pt x="271630" y="725698"/>
                  </a:lnTo>
                  <a:lnTo>
                    <a:pt x="271630" y="920298"/>
                  </a:lnTo>
                  <a:close/>
                  <a:moveTo>
                    <a:pt x="385147" y="1195982"/>
                  </a:moveTo>
                  <a:lnTo>
                    <a:pt x="320280" y="1195982"/>
                  </a:lnTo>
                  <a:lnTo>
                    <a:pt x="320280" y="1001382"/>
                  </a:lnTo>
                  <a:lnTo>
                    <a:pt x="385147" y="1001382"/>
                  </a:lnTo>
                  <a:lnTo>
                    <a:pt x="385147" y="1195982"/>
                  </a:lnTo>
                  <a:close/>
                  <a:moveTo>
                    <a:pt x="385147" y="644614"/>
                  </a:moveTo>
                  <a:lnTo>
                    <a:pt x="320280" y="644614"/>
                  </a:lnTo>
                  <a:lnTo>
                    <a:pt x="320280" y="450014"/>
                  </a:lnTo>
                  <a:lnTo>
                    <a:pt x="385147" y="450014"/>
                  </a:lnTo>
                  <a:lnTo>
                    <a:pt x="385147" y="644614"/>
                  </a:lnTo>
                  <a:close/>
                  <a:moveTo>
                    <a:pt x="498664" y="1195982"/>
                  </a:moveTo>
                  <a:lnTo>
                    <a:pt x="433797" y="1195982"/>
                  </a:lnTo>
                  <a:lnTo>
                    <a:pt x="433797" y="1001382"/>
                  </a:lnTo>
                  <a:lnTo>
                    <a:pt x="498664" y="1001382"/>
                  </a:lnTo>
                  <a:lnTo>
                    <a:pt x="498664" y="1195982"/>
                  </a:lnTo>
                  <a:close/>
                  <a:moveTo>
                    <a:pt x="498664" y="920298"/>
                  </a:moveTo>
                  <a:lnTo>
                    <a:pt x="433797" y="920298"/>
                  </a:lnTo>
                  <a:lnTo>
                    <a:pt x="433797" y="725698"/>
                  </a:lnTo>
                  <a:lnTo>
                    <a:pt x="498664" y="725698"/>
                  </a:lnTo>
                  <a:lnTo>
                    <a:pt x="498664" y="920298"/>
                  </a:lnTo>
                  <a:close/>
                  <a:moveTo>
                    <a:pt x="498664" y="644614"/>
                  </a:moveTo>
                  <a:lnTo>
                    <a:pt x="433797" y="644614"/>
                  </a:lnTo>
                  <a:lnTo>
                    <a:pt x="433797" y="450014"/>
                  </a:lnTo>
                  <a:lnTo>
                    <a:pt x="498664" y="450014"/>
                  </a:lnTo>
                  <a:lnTo>
                    <a:pt x="498664" y="644614"/>
                  </a:lnTo>
                  <a:close/>
                </a:path>
              </a:pathLst>
            </a:custGeom>
            <a:solidFill>
              <a:srgbClr val="8D754B"/>
            </a:solidFill>
            <a:ln w="9525" cap="flat">
              <a:noFill/>
              <a:prstDash val="solid"/>
              <a:miter/>
            </a:ln>
          </p:spPr>
          <p:txBody>
            <a:bodyPr anchor="ctr"/>
            <a:lstStyle/>
            <a:p>
              <a:pPr algn="ctr"/>
              <a:endParaRPr/>
            </a:p>
          </p:txBody>
        </p:sp>
        <p:sp>
          <p:nvSpPr>
            <p:cNvPr id="172" name="任意多边形: 形状 171">
              <a:extLst>
                <a:ext uri="{FF2B5EF4-FFF2-40B4-BE49-F238E27FC236}">
                  <a16:creationId xmlns:a16="http://schemas.microsoft.com/office/drawing/2014/main" id="{18D20051-3969-40EF-88F6-D68B25220870}"/>
                </a:ext>
              </a:extLst>
            </p:cNvPr>
            <p:cNvSpPr/>
            <p:nvPr/>
          </p:nvSpPr>
          <p:spPr>
            <a:xfrm>
              <a:off x="9696385" y="5277669"/>
              <a:ext cx="437851" cy="178384"/>
            </a:xfrm>
            <a:custGeom>
              <a:avLst/>
              <a:gdLst/>
              <a:ahLst/>
              <a:cxnLst/>
              <a:rect l="0" t="0" r="0" b="0"/>
              <a:pathLst>
                <a:path w="437851" h="178383">
                  <a:moveTo>
                    <a:pt x="33244" y="12163"/>
                  </a:moveTo>
                  <a:lnTo>
                    <a:pt x="12163" y="174330"/>
                  </a:lnTo>
                  <a:lnTo>
                    <a:pt x="437041" y="174330"/>
                  </a:lnTo>
                  <a:lnTo>
                    <a:pt x="417580" y="12163"/>
                  </a:lnTo>
                  <a:close/>
                </a:path>
              </a:pathLst>
            </a:custGeom>
            <a:noFill/>
            <a:ln w="9525" cap="flat">
              <a:noFill/>
              <a:prstDash val="solid"/>
              <a:miter/>
            </a:ln>
          </p:spPr>
          <p:txBody>
            <a:bodyPr anchor="ctr"/>
            <a:lstStyle/>
            <a:p>
              <a:pPr algn="ctr"/>
              <a:endParaRPr/>
            </a:p>
          </p:txBody>
        </p:sp>
        <p:sp>
          <p:nvSpPr>
            <p:cNvPr id="173" name="任意多边形: 形状 172">
              <a:extLst>
                <a:ext uri="{FF2B5EF4-FFF2-40B4-BE49-F238E27FC236}">
                  <a16:creationId xmlns:a16="http://schemas.microsoft.com/office/drawing/2014/main" id="{BD5BEF8B-3005-4442-BB41-6FE455F9B17F}"/>
                </a:ext>
              </a:extLst>
            </p:cNvPr>
            <p:cNvSpPr/>
            <p:nvPr/>
          </p:nvSpPr>
          <p:spPr>
            <a:xfrm>
              <a:off x="9412593" y="3639781"/>
              <a:ext cx="1005436" cy="2173039"/>
            </a:xfrm>
            <a:custGeom>
              <a:avLst/>
              <a:gdLst/>
              <a:ahLst/>
              <a:cxnLst/>
              <a:rect l="0" t="0" r="0" b="0"/>
              <a:pathLst>
                <a:path w="1005435" h="2173038">
                  <a:moveTo>
                    <a:pt x="797051" y="1568967"/>
                  </a:moveTo>
                  <a:lnTo>
                    <a:pt x="822998" y="1568967"/>
                  </a:lnTo>
                  <a:lnTo>
                    <a:pt x="822998" y="1439233"/>
                  </a:lnTo>
                  <a:lnTo>
                    <a:pt x="759753" y="1439233"/>
                  </a:lnTo>
                  <a:lnTo>
                    <a:pt x="610559" y="725698"/>
                  </a:lnTo>
                  <a:lnTo>
                    <a:pt x="644614" y="725698"/>
                  </a:lnTo>
                  <a:lnTo>
                    <a:pt x="644614" y="595964"/>
                  </a:lnTo>
                  <a:lnTo>
                    <a:pt x="582991" y="595964"/>
                  </a:lnTo>
                  <a:lnTo>
                    <a:pt x="531097" y="383525"/>
                  </a:lnTo>
                  <a:lnTo>
                    <a:pt x="531097" y="12163"/>
                  </a:lnTo>
                  <a:lnTo>
                    <a:pt x="466230" y="12163"/>
                  </a:lnTo>
                  <a:lnTo>
                    <a:pt x="466230" y="383525"/>
                  </a:lnTo>
                  <a:lnTo>
                    <a:pt x="430553" y="595964"/>
                  </a:lnTo>
                  <a:lnTo>
                    <a:pt x="352713" y="595964"/>
                  </a:lnTo>
                  <a:lnTo>
                    <a:pt x="352713" y="725698"/>
                  </a:lnTo>
                  <a:lnTo>
                    <a:pt x="402985" y="725698"/>
                  </a:lnTo>
                  <a:lnTo>
                    <a:pt x="253791" y="1439233"/>
                  </a:lnTo>
                  <a:lnTo>
                    <a:pt x="158113" y="1439233"/>
                  </a:lnTo>
                  <a:lnTo>
                    <a:pt x="158113" y="1568967"/>
                  </a:lnTo>
                  <a:lnTo>
                    <a:pt x="216493" y="1568967"/>
                  </a:lnTo>
                  <a:lnTo>
                    <a:pt x="12163" y="2168985"/>
                  </a:lnTo>
                  <a:lnTo>
                    <a:pt x="226223" y="2168985"/>
                  </a:lnTo>
                  <a:lnTo>
                    <a:pt x="248927" y="2160877"/>
                  </a:lnTo>
                  <a:lnTo>
                    <a:pt x="286225" y="1877084"/>
                  </a:lnTo>
                  <a:lnTo>
                    <a:pt x="727320" y="1877084"/>
                  </a:lnTo>
                  <a:lnTo>
                    <a:pt x="761375" y="2160877"/>
                  </a:lnTo>
                  <a:lnTo>
                    <a:pt x="784078" y="2168985"/>
                  </a:lnTo>
                  <a:lnTo>
                    <a:pt x="1001382" y="2168985"/>
                  </a:lnTo>
                  <a:lnTo>
                    <a:pt x="797051" y="1568967"/>
                  </a:lnTo>
                  <a:close/>
                  <a:moveTo>
                    <a:pt x="527854" y="725698"/>
                  </a:moveTo>
                  <a:lnTo>
                    <a:pt x="604072" y="1082465"/>
                  </a:lnTo>
                  <a:lnTo>
                    <a:pt x="412715" y="1082465"/>
                  </a:lnTo>
                  <a:lnTo>
                    <a:pt x="485691" y="725698"/>
                  </a:lnTo>
                  <a:lnTo>
                    <a:pt x="527854" y="725698"/>
                  </a:lnTo>
                  <a:close/>
                  <a:moveTo>
                    <a:pt x="399742" y="1147332"/>
                  </a:moveTo>
                  <a:lnTo>
                    <a:pt x="618667" y="1147332"/>
                  </a:lnTo>
                  <a:lnTo>
                    <a:pt x="681912" y="1439233"/>
                  </a:lnTo>
                  <a:lnTo>
                    <a:pt x="339740" y="1439233"/>
                  </a:lnTo>
                  <a:lnTo>
                    <a:pt x="399742" y="1147332"/>
                  </a:lnTo>
                  <a:close/>
                  <a:moveTo>
                    <a:pt x="295955" y="1812217"/>
                  </a:moveTo>
                  <a:lnTo>
                    <a:pt x="317036" y="1650050"/>
                  </a:lnTo>
                  <a:lnTo>
                    <a:pt x="701373" y="1650050"/>
                  </a:lnTo>
                  <a:lnTo>
                    <a:pt x="720833" y="1812217"/>
                  </a:lnTo>
                  <a:lnTo>
                    <a:pt x="295955" y="1812217"/>
                  </a:lnTo>
                  <a:close/>
                </a:path>
              </a:pathLst>
            </a:custGeom>
            <a:solidFill>
              <a:srgbClr val="8D754B"/>
            </a:solidFill>
            <a:ln w="9525" cap="flat">
              <a:noFill/>
              <a:prstDash val="solid"/>
              <a:miter/>
            </a:ln>
          </p:spPr>
          <p:txBody>
            <a:bodyPr anchor="ctr"/>
            <a:lstStyle/>
            <a:p>
              <a:pPr algn="ctr"/>
              <a:endParaRPr/>
            </a:p>
          </p:txBody>
        </p:sp>
        <p:grpSp>
          <p:nvGrpSpPr>
            <p:cNvPr id="174" name="组合 173">
              <a:extLst>
                <a:ext uri="{FF2B5EF4-FFF2-40B4-BE49-F238E27FC236}">
                  <a16:creationId xmlns:a16="http://schemas.microsoft.com/office/drawing/2014/main" id="{B1B02825-4E0E-4D17-9B82-F9571E16865C}"/>
                </a:ext>
              </a:extLst>
            </p:cNvPr>
            <p:cNvGrpSpPr/>
            <p:nvPr/>
          </p:nvGrpSpPr>
          <p:grpSpPr>
            <a:xfrm>
              <a:off x="5455716" y="3996549"/>
              <a:ext cx="7573203" cy="1702754"/>
              <a:chOff x="5455716" y="3996549"/>
              <a:chExt cx="7573203" cy="1702754"/>
            </a:xfrm>
          </p:grpSpPr>
          <p:sp>
            <p:nvSpPr>
              <p:cNvPr id="175" name="任意多边形: 形状 174">
                <a:extLst>
                  <a:ext uri="{FF2B5EF4-FFF2-40B4-BE49-F238E27FC236}">
                    <a16:creationId xmlns:a16="http://schemas.microsoft.com/office/drawing/2014/main" id="{2C488331-7FB6-4666-9BD6-44C76788B038}"/>
                  </a:ext>
                </a:extLst>
              </p:cNvPr>
              <p:cNvSpPr/>
              <p:nvPr/>
            </p:nvSpPr>
            <p:spPr>
              <a:xfrm>
                <a:off x="8131473" y="4385750"/>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176" name="任意多边形: 形状 175">
                <a:extLst>
                  <a:ext uri="{FF2B5EF4-FFF2-40B4-BE49-F238E27FC236}">
                    <a16:creationId xmlns:a16="http://schemas.microsoft.com/office/drawing/2014/main" id="{A3C8DFF8-9093-4936-B4FC-5500BCEE76A3}"/>
                  </a:ext>
                </a:extLst>
              </p:cNvPr>
              <p:cNvSpPr/>
              <p:nvPr/>
            </p:nvSpPr>
            <p:spPr>
              <a:xfrm>
                <a:off x="8244990" y="4385750"/>
                <a:ext cx="64867" cy="243251"/>
              </a:xfrm>
              <a:custGeom>
                <a:avLst/>
                <a:gdLst/>
                <a:ahLst/>
                <a:cxnLst/>
                <a:rect l="0" t="0" r="0" b="0"/>
                <a:pathLst>
                  <a:path w="64866" h="243250">
                    <a:moveTo>
                      <a:pt x="12163" y="12163"/>
                    </a:moveTo>
                    <a:lnTo>
                      <a:pt x="60813" y="12163"/>
                    </a:lnTo>
                    <a:lnTo>
                      <a:pt x="60813"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177" name="任意多边形: 形状 176">
                <a:extLst>
                  <a:ext uri="{FF2B5EF4-FFF2-40B4-BE49-F238E27FC236}">
                    <a16:creationId xmlns:a16="http://schemas.microsoft.com/office/drawing/2014/main" id="{54548EA0-5AFB-49C7-8D79-CD4D606D4B99}"/>
                  </a:ext>
                </a:extLst>
              </p:cNvPr>
              <p:cNvSpPr/>
              <p:nvPr/>
            </p:nvSpPr>
            <p:spPr>
              <a:xfrm>
                <a:off x="8455807" y="4385750"/>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178" name="任意多边形: 形状 177">
                <a:extLst>
                  <a:ext uri="{FF2B5EF4-FFF2-40B4-BE49-F238E27FC236}">
                    <a16:creationId xmlns:a16="http://schemas.microsoft.com/office/drawing/2014/main" id="{BCCB9899-4F9B-44E7-9FA9-A69426BFA790}"/>
                  </a:ext>
                </a:extLst>
              </p:cNvPr>
              <p:cNvSpPr/>
              <p:nvPr/>
            </p:nvSpPr>
            <p:spPr>
              <a:xfrm>
                <a:off x="8569324" y="4385750"/>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179" name="任意多边形: 形状 178">
                <a:extLst>
                  <a:ext uri="{FF2B5EF4-FFF2-40B4-BE49-F238E27FC236}">
                    <a16:creationId xmlns:a16="http://schemas.microsoft.com/office/drawing/2014/main" id="{D16F2E27-4D24-456C-86B3-C4C8703EE261}"/>
                  </a:ext>
                </a:extLst>
              </p:cNvPr>
              <p:cNvSpPr/>
              <p:nvPr/>
            </p:nvSpPr>
            <p:spPr>
              <a:xfrm>
                <a:off x="8131473" y="4661434"/>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180" name="任意多边形: 形状 179">
                <a:extLst>
                  <a:ext uri="{FF2B5EF4-FFF2-40B4-BE49-F238E27FC236}">
                    <a16:creationId xmlns:a16="http://schemas.microsoft.com/office/drawing/2014/main" id="{02B10ECD-760F-46A0-BAE3-44A6F2F2F7FC}"/>
                  </a:ext>
                </a:extLst>
              </p:cNvPr>
              <p:cNvSpPr/>
              <p:nvPr/>
            </p:nvSpPr>
            <p:spPr>
              <a:xfrm>
                <a:off x="8342290" y="4661434"/>
                <a:ext cx="97300" cy="243251"/>
              </a:xfrm>
              <a:custGeom>
                <a:avLst/>
                <a:gdLst/>
                <a:ahLst/>
                <a:cxnLst/>
                <a:rect l="0" t="0" r="0" b="0"/>
                <a:pathLst>
                  <a:path w="97300" h="243250">
                    <a:moveTo>
                      <a:pt x="12163" y="12163"/>
                    </a:moveTo>
                    <a:lnTo>
                      <a:pt x="93246" y="12163"/>
                    </a:lnTo>
                    <a:lnTo>
                      <a:pt x="93246"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181" name="任意多边形: 形状 180">
                <a:extLst>
                  <a:ext uri="{FF2B5EF4-FFF2-40B4-BE49-F238E27FC236}">
                    <a16:creationId xmlns:a16="http://schemas.microsoft.com/office/drawing/2014/main" id="{FD8C111C-42FD-4496-B1CA-4F73C422D8A5}"/>
                  </a:ext>
                </a:extLst>
              </p:cNvPr>
              <p:cNvSpPr/>
              <p:nvPr/>
            </p:nvSpPr>
            <p:spPr>
              <a:xfrm>
                <a:off x="8455807" y="4661434"/>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182" name="任意多边形: 形状 181">
                <a:extLst>
                  <a:ext uri="{FF2B5EF4-FFF2-40B4-BE49-F238E27FC236}">
                    <a16:creationId xmlns:a16="http://schemas.microsoft.com/office/drawing/2014/main" id="{C8653785-AEB7-4DDE-80A4-68F81A93DAD7}"/>
                  </a:ext>
                </a:extLst>
              </p:cNvPr>
              <p:cNvSpPr/>
              <p:nvPr/>
            </p:nvSpPr>
            <p:spPr>
              <a:xfrm>
                <a:off x="8131473" y="4937118"/>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183" name="任意多边形: 形状 182">
                <a:extLst>
                  <a:ext uri="{FF2B5EF4-FFF2-40B4-BE49-F238E27FC236}">
                    <a16:creationId xmlns:a16="http://schemas.microsoft.com/office/drawing/2014/main" id="{8453EC83-5FF2-42F2-A9D0-F3EB4BAC602A}"/>
                  </a:ext>
                </a:extLst>
              </p:cNvPr>
              <p:cNvSpPr/>
              <p:nvPr/>
            </p:nvSpPr>
            <p:spPr>
              <a:xfrm>
                <a:off x="8244990" y="4937118"/>
                <a:ext cx="64867" cy="243251"/>
              </a:xfrm>
              <a:custGeom>
                <a:avLst/>
                <a:gdLst/>
                <a:ahLst/>
                <a:cxnLst/>
                <a:rect l="0" t="0" r="0" b="0"/>
                <a:pathLst>
                  <a:path w="64866" h="243250">
                    <a:moveTo>
                      <a:pt x="12163" y="12163"/>
                    </a:moveTo>
                    <a:lnTo>
                      <a:pt x="60813" y="12163"/>
                    </a:lnTo>
                    <a:lnTo>
                      <a:pt x="60813"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184" name="任意多边形: 形状 183">
                <a:extLst>
                  <a:ext uri="{FF2B5EF4-FFF2-40B4-BE49-F238E27FC236}">
                    <a16:creationId xmlns:a16="http://schemas.microsoft.com/office/drawing/2014/main" id="{84E20438-6073-4A1A-A899-361D6684242F}"/>
                  </a:ext>
                </a:extLst>
              </p:cNvPr>
              <p:cNvSpPr/>
              <p:nvPr/>
            </p:nvSpPr>
            <p:spPr>
              <a:xfrm>
                <a:off x="8342290" y="4937118"/>
                <a:ext cx="97300" cy="243251"/>
              </a:xfrm>
              <a:custGeom>
                <a:avLst/>
                <a:gdLst/>
                <a:ahLst/>
                <a:cxnLst/>
                <a:rect l="0" t="0" r="0" b="0"/>
                <a:pathLst>
                  <a:path w="97300" h="243250">
                    <a:moveTo>
                      <a:pt x="12163" y="12163"/>
                    </a:moveTo>
                    <a:lnTo>
                      <a:pt x="93246" y="12163"/>
                    </a:lnTo>
                    <a:lnTo>
                      <a:pt x="93246"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185" name="任意多边形: 形状 184">
                <a:extLst>
                  <a:ext uri="{FF2B5EF4-FFF2-40B4-BE49-F238E27FC236}">
                    <a16:creationId xmlns:a16="http://schemas.microsoft.com/office/drawing/2014/main" id="{6CC3CDB2-FC4F-4182-AF38-5C7219CC8101}"/>
                  </a:ext>
                </a:extLst>
              </p:cNvPr>
              <p:cNvSpPr/>
              <p:nvPr/>
            </p:nvSpPr>
            <p:spPr>
              <a:xfrm>
                <a:off x="8569324" y="4937118"/>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186" name="任意多边形: 形状 185">
                <a:extLst>
                  <a:ext uri="{FF2B5EF4-FFF2-40B4-BE49-F238E27FC236}">
                    <a16:creationId xmlns:a16="http://schemas.microsoft.com/office/drawing/2014/main" id="{874CA22C-CD5E-4BA7-8702-3C3E55B80AFB}"/>
                  </a:ext>
                </a:extLst>
              </p:cNvPr>
              <p:cNvSpPr/>
              <p:nvPr/>
            </p:nvSpPr>
            <p:spPr>
              <a:xfrm>
                <a:off x="8131473" y="5229019"/>
                <a:ext cx="81084" cy="227034"/>
              </a:xfrm>
              <a:custGeom>
                <a:avLst/>
                <a:gdLst/>
                <a:ahLst/>
                <a:cxnLst/>
                <a:rect l="0" t="0" r="0" b="0"/>
                <a:pathLst>
                  <a:path w="81083" h="227033">
                    <a:moveTo>
                      <a:pt x="12163" y="12163"/>
                    </a:moveTo>
                    <a:lnTo>
                      <a:pt x="77029" y="12163"/>
                    </a:lnTo>
                    <a:lnTo>
                      <a:pt x="77029" y="222980"/>
                    </a:lnTo>
                    <a:lnTo>
                      <a:pt x="12163" y="222980"/>
                    </a:lnTo>
                    <a:close/>
                  </a:path>
                </a:pathLst>
              </a:custGeom>
              <a:solidFill>
                <a:srgbClr val="1B1E2D"/>
              </a:solidFill>
              <a:ln w="9525" cap="flat">
                <a:noFill/>
                <a:prstDash val="solid"/>
                <a:miter/>
              </a:ln>
            </p:spPr>
            <p:txBody>
              <a:bodyPr anchor="ctr"/>
              <a:lstStyle/>
              <a:p>
                <a:pPr algn="ctr"/>
                <a:endParaRPr/>
              </a:p>
            </p:txBody>
          </p:sp>
          <p:sp>
            <p:nvSpPr>
              <p:cNvPr id="187" name="任意多边形: 形状 186">
                <a:extLst>
                  <a:ext uri="{FF2B5EF4-FFF2-40B4-BE49-F238E27FC236}">
                    <a16:creationId xmlns:a16="http://schemas.microsoft.com/office/drawing/2014/main" id="{B5198AB9-243E-473B-B8C3-5AC44EFF4262}"/>
                  </a:ext>
                </a:extLst>
              </p:cNvPr>
              <p:cNvSpPr/>
              <p:nvPr/>
            </p:nvSpPr>
            <p:spPr>
              <a:xfrm>
                <a:off x="8342290" y="5229019"/>
                <a:ext cx="97300" cy="227034"/>
              </a:xfrm>
              <a:custGeom>
                <a:avLst/>
                <a:gdLst/>
                <a:ahLst/>
                <a:cxnLst/>
                <a:rect l="0" t="0" r="0" b="0"/>
                <a:pathLst>
                  <a:path w="97300" h="227033">
                    <a:moveTo>
                      <a:pt x="12163" y="12163"/>
                    </a:moveTo>
                    <a:lnTo>
                      <a:pt x="93246" y="12163"/>
                    </a:lnTo>
                    <a:lnTo>
                      <a:pt x="93246" y="222980"/>
                    </a:lnTo>
                    <a:lnTo>
                      <a:pt x="12163" y="222980"/>
                    </a:lnTo>
                    <a:close/>
                  </a:path>
                </a:pathLst>
              </a:custGeom>
              <a:solidFill>
                <a:srgbClr val="1B1E2D"/>
              </a:solidFill>
              <a:ln w="9525" cap="flat">
                <a:noFill/>
                <a:prstDash val="solid"/>
                <a:miter/>
              </a:ln>
            </p:spPr>
            <p:txBody>
              <a:bodyPr anchor="ctr"/>
              <a:lstStyle/>
              <a:p>
                <a:pPr algn="ctr"/>
                <a:endParaRPr/>
              </a:p>
            </p:txBody>
          </p:sp>
          <p:sp>
            <p:nvSpPr>
              <p:cNvPr id="188" name="任意多边形: 形状 187">
                <a:extLst>
                  <a:ext uri="{FF2B5EF4-FFF2-40B4-BE49-F238E27FC236}">
                    <a16:creationId xmlns:a16="http://schemas.microsoft.com/office/drawing/2014/main" id="{D77BC3DC-FA4C-4DC5-94B0-F04D82A9112E}"/>
                  </a:ext>
                </a:extLst>
              </p:cNvPr>
              <p:cNvSpPr/>
              <p:nvPr/>
            </p:nvSpPr>
            <p:spPr>
              <a:xfrm>
                <a:off x="8455807" y="5229019"/>
                <a:ext cx="81084" cy="227034"/>
              </a:xfrm>
              <a:custGeom>
                <a:avLst/>
                <a:gdLst/>
                <a:ahLst/>
                <a:cxnLst/>
                <a:rect l="0" t="0" r="0" b="0"/>
                <a:pathLst>
                  <a:path w="81083" h="227033">
                    <a:moveTo>
                      <a:pt x="12163" y="12163"/>
                    </a:moveTo>
                    <a:lnTo>
                      <a:pt x="77029" y="12163"/>
                    </a:lnTo>
                    <a:lnTo>
                      <a:pt x="77029" y="222980"/>
                    </a:lnTo>
                    <a:lnTo>
                      <a:pt x="12163" y="222980"/>
                    </a:lnTo>
                    <a:close/>
                  </a:path>
                </a:pathLst>
              </a:custGeom>
              <a:solidFill>
                <a:srgbClr val="1B1E2D"/>
              </a:solidFill>
              <a:ln w="9525" cap="flat">
                <a:noFill/>
                <a:prstDash val="solid"/>
                <a:miter/>
              </a:ln>
            </p:spPr>
            <p:txBody>
              <a:bodyPr anchor="ctr"/>
              <a:lstStyle/>
              <a:p>
                <a:pPr algn="ctr"/>
                <a:endParaRPr/>
              </a:p>
            </p:txBody>
          </p:sp>
          <p:sp>
            <p:nvSpPr>
              <p:cNvPr id="189" name="任意多边形: 形状 188">
                <a:extLst>
                  <a:ext uri="{FF2B5EF4-FFF2-40B4-BE49-F238E27FC236}">
                    <a16:creationId xmlns:a16="http://schemas.microsoft.com/office/drawing/2014/main" id="{226AA53E-E7B2-4372-959D-BA3CD228EE18}"/>
                  </a:ext>
                </a:extLst>
              </p:cNvPr>
              <p:cNvSpPr/>
              <p:nvPr/>
            </p:nvSpPr>
            <p:spPr>
              <a:xfrm>
                <a:off x="6509802"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190" name="任意多边形: 形状 189">
                <a:extLst>
                  <a:ext uri="{FF2B5EF4-FFF2-40B4-BE49-F238E27FC236}">
                    <a16:creationId xmlns:a16="http://schemas.microsoft.com/office/drawing/2014/main" id="{2936A7C1-87C2-4141-AC64-0B8DFAA09EBF}"/>
                  </a:ext>
                </a:extLst>
              </p:cNvPr>
              <p:cNvSpPr/>
              <p:nvPr/>
            </p:nvSpPr>
            <p:spPr>
              <a:xfrm>
                <a:off x="6509802" y="4580350"/>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191" name="任意多边形: 形状 190">
                <a:extLst>
                  <a:ext uri="{FF2B5EF4-FFF2-40B4-BE49-F238E27FC236}">
                    <a16:creationId xmlns:a16="http://schemas.microsoft.com/office/drawing/2014/main" id="{AA1EFD9C-FADF-4102-B83E-4CC57A7A6202}"/>
                  </a:ext>
                </a:extLst>
              </p:cNvPr>
              <p:cNvSpPr/>
              <p:nvPr/>
            </p:nvSpPr>
            <p:spPr>
              <a:xfrm>
                <a:off x="6509802" y="4872251"/>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192" name="任意多边形: 形状 191">
                <a:extLst>
                  <a:ext uri="{FF2B5EF4-FFF2-40B4-BE49-F238E27FC236}">
                    <a16:creationId xmlns:a16="http://schemas.microsoft.com/office/drawing/2014/main" id="{B4A605AE-81B4-497D-8DD4-8B8989E5546B}"/>
                  </a:ext>
                </a:extLst>
              </p:cNvPr>
              <p:cNvSpPr/>
              <p:nvPr/>
            </p:nvSpPr>
            <p:spPr>
              <a:xfrm>
                <a:off x="6509802"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193" name="任意多边形: 形状 192">
                <a:extLst>
                  <a:ext uri="{FF2B5EF4-FFF2-40B4-BE49-F238E27FC236}">
                    <a16:creationId xmlns:a16="http://schemas.microsoft.com/office/drawing/2014/main" id="{392D5F88-CE09-4DBE-9570-23985B67836F}"/>
                  </a:ext>
                </a:extLst>
              </p:cNvPr>
              <p:cNvSpPr/>
              <p:nvPr/>
            </p:nvSpPr>
            <p:spPr>
              <a:xfrm>
                <a:off x="6380069"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194" name="任意多边形: 形状 193">
                <a:extLst>
                  <a:ext uri="{FF2B5EF4-FFF2-40B4-BE49-F238E27FC236}">
                    <a16:creationId xmlns:a16="http://schemas.microsoft.com/office/drawing/2014/main" id="{18432014-D445-46F5-9B4D-E8AD8573244F}"/>
                  </a:ext>
                </a:extLst>
              </p:cNvPr>
              <p:cNvSpPr/>
              <p:nvPr/>
            </p:nvSpPr>
            <p:spPr>
              <a:xfrm>
                <a:off x="6380069" y="4580350"/>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195" name="任意多边形: 形状 194">
                <a:extLst>
                  <a:ext uri="{FF2B5EF4-FFF2-40B4-BE49-F238E27FC236}">
                    <a16:creationId xmlns:a16="http://schemas.microsoft.com/office/drawing/2014/main" id="{EDBE8A9B-260C-4E39-B380-0E29C71159D1}"/>
                  </a:ext>
                </a:extLst>
              </p:cNvPr>
              <p:cNvSpPr/>
              <p:nvPr/>
            </p:nvSpPr>
            <p:spPr>
              <a:xfrm>
                <a:off x="6380069"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196" name="任意多边形: 形状 195">
                <a:extLst>
                  <a:ext uri="{FF2B5EF4-FFF2-40B4-BE49-F238E27FC236}">
                    <a16:creationId xmlns:a16="http://schemas.microsoft.com/office/drawing/2014/main" id="{0D0EDDB8-9CEC-4B81-8BD6-88ACC31B1E30}"/>
                  </a:ext>
                </a:extLst>
              </p:cNvPr>
              <p:cNvSpPr/>
              <p:nvPr/>
            </p:nvSpPr>
            <p:spPr>
              <a:xfrm>
                <a:off x="6250335"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197" name="任意多边形: 形状 196">
                <a:extLst>
                  <a:ext uri="{FF2B5EF4-FFF2-40B4-BE49-F238E27FC236}">
                    <a16:creationId xmlns:a16="http://schemas.microsoft.com/office/drawing/2014/main" id="{D36684F6-1346-4C1F-A842-D81C572FB341}"/>
                  </a:ext>
                </a:extLst>
              </p:cNvPr>
              <p:cNvSpPr/>
              <p:nvPr/>
            </p:nvSpPr>
            <p:spPr>
              <a:xfrm>
                <a:off x="6250335" y="4872251"/>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198" name="任意多边形: 形状 197">
                <a:extLst>
                  <a:ext uri="{FF2B5EF4-FFF2-40B4-BE49-F238E27FC236}">
                    <a16:creationId xmlns:a16="http://schemas.microsoft.com/office/drawing/2014/main" id="{2BCD4D26-B940-4726-AB2B-189D269A7A7A}"/>
                  </a:ext>
                </a:extLst>
              </p:cNvPr>
              <p:cNvSpPr/>
              <p:nvPr/>
            </p:nvSpPr>
            <p:spPr>
              <a:xfrm>
                <a:off x="6250335"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199" name="任意多边形: 形状 198">
                <a:extLst>
                  <a:ext uri="{FF2B5EF4-FFF2-40B4-BE49-F238E27FC236}">
                    <a16:creationId xmlns:a16="http://schemas.microsoft.com/office/drawing/2014/main" id="{85A323B8-C458-4573-B4D6-498793B312BB}"/>
                  </a:ext>
                </a:extLst>
              </p:cNvPr>
              <p:cNvSpPr/>
              <p:nvPr/>
            </p:nvSpPr>
            <p:spPr>
              <a:xfrm>
                <a:off x="6120601"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200" name="任意多边形: 形状 199">
                <a:extLst>
                  <a:ext uri="{FF2B5EF4-FFF2-40B4-BE49-F238E27FC236}">
                    <a16:creationId xmlns:a16="http://schemas.microsoft.com/office/drawing/2014/main" id="{35E64682-766C-4A93-B15C-A46C3D7A5FC7}"/>
                  </a:ext>
                </a:extLst>
              </p:cNvPr>
              <p:cNvSpPr/>
              <p:nvPr/>
            </p:nvSpPr>
            <p:spPr>
              <a:xfrm>
                <a:off x="6120601" y="4580350"/>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201" name="任意多边形: 形状 200">
                <a:extLst>
                  <a:ext uri="{FF2B5EF4-FFF2-40B4-BE49-F238E27FC236}">
                    <a16:creationId xmlns:a16="http://schemas.microsoft.com/office/drawing/2014/main" id="{94CE8034-FB1E-4978-A428-167975637B98}"/>
                  </a:ext>
                </a:extLst>
              </p:cNvPr>
              <p:cNvSpPr/>
              <p:nvPr/>
            </p:nvSpPr>
            <p:spPr>
              <a:xfrm>
                <a:off x="6120601" y="4872251"/>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202" name="任意多边形: 形状 201">
                <a:extLst>
                  <a:ext uri="{FF2B5EF4-FFF2-40B4-BE49-F238E27FC236}">
                    <a16:creationId xmlns:a16="http://schemas.microsoft.com/office/drawing/2014/main" id="{630404F0-7894-4A36-8825-17EEBA19D7A1}"/>
                  </a:ext>
                </a:extLst>
              </p:cNvPr>
              <p:cNvSpPr/>
              <p:nvPr/>
            </p:nvSpPr>
            <p:spPr>
              <a:xfrm>
                <a:off x="6120601"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203" name="任意多边形: 形状 202">
                <a:extLst>
                  <a:ext uri="{FF2B5EF4-FFF2-40B4-BE49-F238E27FC236}">
                    <a16:creationId xmlns:a16="http://schemas.microsoft.com/office/drawing/2014/main" id="{D611B866-B787-47F3-B954-5EE3C177A8FB}"/>
                  </a:ext>
                </a:extLst>
              </p:cNvPr>
              <p:cNvSpPr/>
              <p:nvPr/>
            </p:nvSpPr>
            <p:spPr>
              <a:xfrm>
                <a:off x="11853208" y="3996549"/>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04" name="任意多边形: 形状 203">
                <a:extLst>
                  <a:ext uri="{FF2B5EF4-FFF2-40B4-BE49-F238E27FC236}">
                    <a16:creationId xmlns:a16="http://schemas.microsoft.com/office/drawing/2014/main" id="{BE3C81FB-037B-46EE-9001-FBEF6A2A5DCB}"/>
                  </a:ext>
                </a:extLst>
              </p:cNvPr>
              <p:cNvSpPr/>
              <p:nvPr/>
            </p:nvSpPr>
            <p:spPr>
              <a:xfrm>
                <a:off x="12140243" y="3996549"/>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05" name="任意多边形: 形状 204">
                <a:extLst>
                  <a:ext uri="{FF2B5EF4-FFF2-40B4-BE49-F238E27FC236}">
                    <a16:creationId xmlns:a16="http://schemas.microsoft.com/office/drawing/2014/main" id="{DB27DB09-8DCE-4486-A444-C58123355B6A}"/>
                  </a:ext>
                </a:extLst>
              </p:cNvPr>
              <p:cNvSpPr/>
              <p:nvPr/>
            </p:nvSpPr>
            <p:spPr>
              <a:xfrm>
                <a:off x="12140243" y="4077632"/>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06" name="任意多边形: 形状 205">
                <a:extLst>
                  <a:ext uri="{FF2B5EF4-FFF2-40B4-BE49-F238E27FC236}">
                    <a16:creationId xmlns:a16="http://schemas.microsoft.com/office/drawing/2014/main" id="{DB9D822D-E850-4A56-AEF6-DD39DEF8DB71}"/>
                  </a:ext>
                </a:extLst>
              </p:cNvPr>
              <p:cNvSpPr/>
              <p:nvPr/>
            </p:nvSpPr>
            <p:spPr>
              <a:xfrm>
                <a:off x="11853208" y="4077632"/>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07" name="任意多边形: 形状 206">
                <a:extLst>
                  <a:ext uri="{FF2B5EF4-FFF2-40B4-BE49-F238E27FC236}">
                    <a16:creationId xmlns:a16="http://schemas.microsoft.com/office/drawing/2014/main" id="{DD96B8EF-9C48-4434-9E9A-D844B9EE0723}"/>
                  </a:ext>
                </a:extLst>
              </p:cNvPr>
              <p:cNvSpPr/>
              <p:nvPr/>
            </p:nvSpPr>
            <p:spPr>
              <a:xfrm>
                <a:off x="12140243" y="4256016"/>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08" name="任意多边形: 形状 207">
                <a:extLst>
                  <a:ext uri="{FF2B5EF4-FFF2-40B4-BE49-F238E27FC236}">
                    <a16:creationId xmlns:a16="http://schemas.microsoft.com/office/drawing/2014/main" id="{634B4907-A3DA-4C0C-B7E9-EE22963A4A92}"/>
                  </a:ext>
                </a:extLst>
              </p:cNvPr>
              <p:cNvSpPr/>
              <p:nvPr/>
            </p:nvSpPr>
            <p:spPr>
              <a:xfrm>
                <a:off x="11853208" y="4256016"/>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09" name="任意多边形: 形状 208">
                <a:extLst>
                  <a:ext uri="{FF2B5EF4-FFF2-40B4-BE49-F238E27FC236}">
                    <a16:creationId xmlns:a16="http://schemas.microsoft.com/office/drawing/2014/main" id="{5B645091-F8D1-47BC-804F-89E303F7612E}"/>
                  </a:ext>
                </a:extLst>
              </p:cNvPr>
              <p:cNvSpPr/>
              <p:nvPr/>
            </p:nvSpPr>
            <p:spPr>
              <a:xfrm>
                <a:off x="11853208" y="4353316"/>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10" name="任意多边形: 形状 209">
                <a:extLst>
                  <a:ext uri="{FF2B5EF4-FFF2-40B4-BE49-F238E27FC236}">
                    <a16:creationId xmlns:a16="http://schemas.microsoft.com/office/drawing/2014/main" id="{487CC064-4480-469D-9BE8-B3A27A5B2EC6}"/>
                  </a:ext>
                </a:extLst>
              </p:cNvPr>
              <p:cNvSpPr/>
              <p:nvPr/>
            </p:nvSpPr>
            <p:spPr>
              <a:xfrm>
                <a:off x="12140243" y="4353316"/>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11" name="任意多边形: 形状 210">
                <a:extLst>
                  <a:ext uri="{FF2B5EF4-FFF2-40B4-BE49-F238E27FC236}">
                    <a16:creationId xmlns:a16="http://schemas.microsoft.com/office/drawing/2014/main" id="{BCFBFD46-A0A2-440E-B4E7-FA0519C17B3A}"/>
                  </a:ext>
                </a:extLst>
              </p:cNvPr>
              <p:cNvSpPr/>
              <p:nvPr/>
            </p:nvSpPr>
            <p:spPr>
              <a:xfrm>
                <a:off x="11853208" y="4434400"/>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12" name="任意多边形: 形状 211">
                <a:extLst>
                  <a:ext uri="{FF2B5EF4-FFF2-40B4-BE49-F238E27FC236}">
                    <a16:creationId xmlns:a16="http://schemas.microsoft.com/office/drawing/2014/main" id="{358B4275-F376-498D-95DB-EE4F098347FA}"/>
                  </a:ext>
                </a:extLst>
              </p:cNvPr>
              <p:cNvSpPr/>
              <p:nvPr/>
            </p:nvSpPr>
            <p:spPr>
              <a:xfrm>
                <a:off x="12140243" y="4434400"/>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13" name="任意多边形: 形状 212">
                <a:extLst>
                  <a:ext uri="{FF2B5EF4-FFF2-40B4-BE49-F238E27FC236}">
                    <a16:creationId xmlns:a16="http://schemas.microsoft.com/office/drawing/2014/main" id="{1E3C9149-99E5-4143-9063-C290DADE7734}"/>
                  </a:ext>
                </a:extLst>
              </p:cNvPr>
              <p:cNvSpPr/>
              <p:nvPr/>
            </p:nvSpPr>
            <p:spPr>
              <a:xfrm>
                <a:off x="11853208" y="4612784"/>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14" name="任意多边形: 形状 213">
                <a:extLst>
                  <a:ext uri="{FF2B5EF4-FFF2-40B4-BE49-F238E27FC236}">
                    <a16:creationId xmlns:a16="http://schemas.microsoft.com/office/drawing/2014/main" id="{A2ABA70E-A530-4FE0-A62A-649FBB627E78}"/>
                  </a:ext>
                </a:extLst>
              </p:cNvPr>
              <p:cNvSpPr/>
              <p:nvPr/>
            </p:nvSpPr>
            <p:spPr>
              <a:xfrm>
                <a:off x="12140243" y="4612784"/>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15" name="任意多边形: 形状 214">
                <a:extLst>
                  <a:ext uri="{FF2B5EF4-FFF2-40B4-BE49-F238E27FC236}">
                    <a16:creationId xmlns:a16="http://schemas.microsoft.com/office/drawing/2014/main" id="{6D3EE828-2B3B-490D-8543-C8C87FA94507}"/>
                  </a:ext>
                </a:extLst>
              </p:cNvPr>
              <p:cNvSpPr/>
              <p:nvPr/>
            </p:nvSpPr>
            <p:spPr>
              <a:xfrm>
                <a:off x="11853208" y="4710084"/>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16" name="任意多边形: 形状 215">
                <a:extLst>
                  <a:ext uri="{FF2B5EF4-FFF2-40B4-BE49-F238E27FC236}">
                    <a16:creationId xmlns:a16="http://schemas.microsoft.com/office/drawing/2014/main" id="{449DAAB5-D01C-4F56-AFBE-7D131CA09F8A}"/>
                  </a:ext>
                </a:extLst>
              </p:cNvPr>
              <p:cNvSpPr/>
              <p:nvPr/>
            </p:nvSpPr>
            <p:spPr>
              <a:xfrm>
                <a:off x="12140243" y="4710084"/>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17" name="任意多边形: 形状 216">
                <a:extLst>
                  <a:ext uri="{FF2B5EF4-FFF2-40B4-BE49-F238E27FC236}">
                    <a16:creationId xmlns:a16="http://schemas.microsoft.com/office/drawing/2014/main" id="{025924B7-68FD-4317-BAAA-1E3C6712FA5E}"/>
                  </a:ext>
                </a:extLst>
              </p:cNvPr>
              <p:cNvSpPr/>
              <p:nvPr/>
            </p:nvSpPr>
            <p:spPr>
              <a:xfrm>
                <a:off x="11853208" y="4791168"/>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18" name="任意多边形: 形状 217">
                <a:extLst>
                  <a:ext uri="{FF2B5EF4-FFF2-40B4-BE49-F238E27FC236}">
                    <a16:creationId xmlns:a16="http://schemas.microsoft.com/office/drawing/2014/main" id="{C4FC3C52-8266-48B9-A833-15635B46F8E3}"/>
                  </a:ext>
                </a:extLst>
              </p:cNvPr>
              <p:cNvSpPr/>
              <p:nvPr/>
            </p:nvSpPr>
            <p:spPr>
              <a:xfrm>
                <a:off x="12140243" y="4791168"/>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19" name="任意多边形: 形状 218">
                <a:extLst>
                  <a:ext uri="{FF2B5EF4-FFF2-40B4-BE49-F238E27FC236}">
                    <a16:creationId xmlns:a16="http://schemas.microsoft.com/office/drawing/2014/main" id="{CF5B8DB2-A989-4FC3-A60F-E34645DC5C23}"/>
                  </a:ext>
                </a:extLst>
              </p:cNvPr>
              <p:cNvSpPr/>
              <p:nvPr/>
            </p:nvSpPr>
            <p:spPr>
              <a:xfrm>
                <a:off x="11853208" y="4888468"/>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20" name="任意多边形: 形状 219">
                <a:extLst>
                  <a:ext uri="{FF2B5EF4-FFF2-40B4-BE49-F238E27FC236}">
                    <a16:creationId xmlns:a16="http://schemas.microsoft.com/office/drawing/2014/main" id="{6804BE7C-7E29-4EE1-8DCA-013808C75D9D}"/>
                  </a:ext>
                </a:extLst>
              </p:cNvPr>
              <p:cNvSpPr/>
              <p:nvPr/>
            </p:nvSpPr>
            <p:spPr>
              <a:xfrm>
                <a:off x="12140243" y="4888468"/>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21" name="任意多边形: 形状 220">
                <a:extLst>
                  <a:ext uri="{FF2B5EF4-FFF2-40B4-BE49-F238E27FC236}">
                    <a16:creationId xmlns:a16="http://schemas.microsoft.com/office/drawing/2014/main" id="{AA9B37D1-2321-486D-A3E8-F6C7F2E5063C}"/>
                  </a:ext>
                </a:extLst>
              </p:cNvPr>
              <p:cNvSpPr/>
              <p:nvPr/>
            </p:nvSpPr>
            <p:spPr>
              <a:xfrm>
                <a:off x="11853208" y="4969551"/>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22" name="任意多边形: 形状 221">
                <a:extLst>
                  <a:ext uri="{FF2B5EF4-FFF2-40B4-BE49-F238E27FC236}">
                    <a16:creationId xmlns:a16="http://schemas.microsoft.com/office/drawing/2014/main" id="{01CC1A25-D9D2-4DD3-96AB-C2D0F6E900CF}"/>
                  </a:ext>
                </a:extLst>
              </p:cNvPr>
              <p:cNvSpPr/>
              <p:nvPr/>
            </p:nvSpPr>
            <p:spPr>
              <a:xfrm>
                <a:off x="12140243" y="4969551"/>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23" name="任意多边形: 形状 222">
                <a:extLst>
                  <a:ext uri="{FF2B5EF4-FFF2-40B4-BE49-F238E27FC236}">
                    <a16:creationId xmlns:a16="http://schemas.microsoft.com/office/drawing/2014/main" id="{F4B98A40-CC6C-4889-93E0-AA8409CA3863}"/>
                  </a:ext>
                </a:extLst>
              </p:cNvPr>
              <p:cNvSpPr/>
              <p:nvPr/>
            </p:nvSpPr>
            <p:spPr>
              <a:xfrm>
                <a:off x="11853208" y="5147935"/>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24" name="任意多边形: 形状 223">
                <a:extLst>
                  <a:ext uri="{FF2B5EF4-FFF2-40B4-BE49-F238E27FC236}">
                    <a16:creationId xmlns:a16="http://schemas.microsoft.com/office/drawing/2014/main" id="{76739D80-29DA-4DBA-AA70-12C4AF105A7C}"/>
                  </a:ext>
                </a:extLst>
              </p:cNvPr>
              <p:cNvSpPr/>
              <p:nvPr/>
            </p:nvSpPr>
            <p:spPr>
              <a:xfrm>
                <a:off x="12140243" y="5147935"/>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25" name="任意多边形: 形状 224">
                <a:extLst>
                  <a:ext uri="{FF2B5EF4-FFF2-40B4-BE49-F238E27FC236}">
                    <a16:creationId xmlns:a16="http://schemas.microsoft.com/office/drawing/2014/main" id="{63B663B4-1332-480D-909A-746ADEC40C59}"/>
                  </a:ext>
                </a:extLst>
              </p:cNvPr>
              <p:cNvSpPr/>
              <p:nvPr/>
            </p:nvSpPr>
            <p:spPr>
              <a:xfrm>
                <a:off x="11853208" y="5245235"/>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26" name="任意多边形: 形状 225">
                <a:extLst>
                  <a:ext uri="{FF2B5EF4-FFF2-40B4-BE49-F238E27FC236}">
                    <a16:creationId xmlns:a16="http://schemas.microsoft.com/office/drawing/2014/main" id="{B8BDF44C-60F3-4DFA-B8EF-C6CE6A28B65C}"/>
                  </a:ext>
                </a:extLst>
              </p:cNvPr>
              <p:cNvSpPr/>
              <p:nvPr/>
            </p:nvSpPr>
            <p:spPr>
              <a:xfrm>
                <a:off x="12140243" y="5245235"/>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27" name="任意多边形: 形状 226">
                <a:extLst>
                  <a:ext uri="{FF2B5EF4-FFF2-40B4-BE49-F238E27FC236}">
                    <a16:creationId xmlns:a16="http://schemas.microsoft.com/office/drawing/2014/main" id="{3F49686E-0A34-46A2-ABEA-CD8F65DC8717}"/>
                  </a:ext>
                </a:extLst>
              </p:cNvPr>
              <p:cNvSpPr/>
              <p:nvPr/>
            </p:nvSpPr>
            <p:spPr>
              <a:xfrm>
                <a:off x="11853208" y="5326319"/>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28" name="任意多边形: 形状 227">
                <a:extLst>
                  <a:ext uri="{FF2B5EF4-FFF2-40B4-BE49-F238E27FC236}">
                    <a16:creationId xmlns:a16="http://schemas.microsoft.com/office/drawing/2014/main" id="{EC28B048-CB9C-48F2-ADF5-9075349C1854}"/>
                  </a:ext>
                </a:extLst>
              </p:cNvPr>
              <p:cNvSpPr/>
              <p:nvPr/>
            </p:nvSpPr>
            <p:spPr>
              <a:xfrm>
                <a:off x="12140243" y="5326319"/>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29" name="任意多边形: 形状 228">
                <a:extLst>
                  <a:ext uri="{FF2B5EF4-FFF2-40B4-BE49-F238E27FC236}">
                    <a16:creationId xmlns:a16="http://schemas.microsoft.com/office/drawing/2014/main" id="{683A4072-5651-4711-A32B-6442BEE479AB}"/>
                  </a:ext>
                </a:extLst>
              </p:cNvPr>
              <p:cNvSpPr/>
              <p:nvPr/>
            </p:nvSpPr>
            <p:spPr>
              <a:xfrm>
                <a:off x="11853208" y="5504703"/>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30" name="任意多边形: 形状 229">
                <a:extLst>
                  <a:ext uri="{FF2B5EF4-FFF2-40B4-BE49-F238E27FC236}">
                    <a16:creationId xmlns:a16="http://schemas.microsoft.com/office/drawing/2014/main" id="{2CC5506B-A806-4E0B-920B-98A8170B2106}"/>
                  </a:ext>
                </a:extLst>
              </p:cNvPr>
              <p:cNvSpPr/>
              <p:nvPr/>
            </p:nvSpPr>
            <p:spPr>
              <a:xfrm>
                <a:off x="12140243" y="5504703"/>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231" name="任意多边形: 形状 230">
                <a:extLst>
                  <a:ext uri="{FF2B5EF4-FFF2-40B4-BE49-F238E27FC236}">
                    <a16:creationId xmlns:a16="http://schemas.microsoft.com/office/drawing/2014/main" id="{9D7335C8-94DD-44BE-810C-11D82BF7BA0A}"/>
                  </a:ext>
                </a:extLst>
              </p:cNvPr>
              <p:cNvSpPr/>
              <p:nvPr/>
            </p:nvSpPr>
            <p:spPr>
              <a:xfrm>
                <a:off x="11853208" y="5602003"/>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32" name="任意多边形: 形状 231">
                <a:extLst>
                  <a:ext uri="{FF2B5EF4-FFF2-40B4-BE49-F238E27FC236}">
                    <a16:creationId xmlns:a16="http://schemas.microsoft.com/office/drawing/2014/main" id="{EAAA15C9-1329-4DAF-818F-021C07C86043}"/>
                  </a:ext>
                </a:extLst>
              </p:cNvPr>
              <p:cNvSpPr/>
              <p:nvPr/>
            </p:nvSpPr>
            <p:spPr>
              <a:xfrm>
                <a:off x="12140243" y="5602003"/>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233" name="任意多边形: 形状 232">
                <a:extLst>
                  <a:ext uri="{FF2B5EF4-FFF2-40B4-BE49-F238E27FC236}">
                    <a16:creationId xmlns:a16="http://schemas.microsoft.com/office/drawing/2014/main" id="{599A2CBA-D35C-45F4-9855-63787BD93643}"/>
                  </a:ext>
                </a:extLst>
              </p:cNvPr>
              <p:cNvSpPr/>
              <p:nvPr/>
            </p:nvSpPr>
            <p:spPr>
              <a:xfrm>
                <a:off x="7823356"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34" name="任意多边形: 形状 233">
                <a:extLst>
                  <a:ext uri="{FF2B5EF4-FFF2-40B4-BE49-F238E27FC236}">
                    <a16:creationId xmlns:a16="http://schemas.microsoft.com/office/drawing/2014/main" id="{9F6E1AA8-A076-4B9E-B704-AFBB737F997B}"/>
                  </a:ext>
                </a:extLst>
              </p:cNvPr>
              <p:cNvSpPr/>
              <p:nvPr/>
            </p:nvSpPr>
            <p:spPr>
              <a:xfrm>
                <a:off x="7823356"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35" name="任意多边形: 形状 234">
                <a:extLst>
                  <a:ext uri="{FF2B5EF4-FFF2-40B4-BE49-F238E27FC236}">
                    <a16:creationId xmlns:a16="http://schemas.microsoft.com/office/drawing/2014/main" id="{985B12C2-3232-481F-B543-5836C5B68ADA}"/>
                  </a:ext>
                </a:extLst>
              </p:cNvPr>
              <p:cNvSpPr/>
              <p:nvPr/>
            </p:nvSpPr>
            <p:spPr>
              <a:xfrm>
                <a:off x="7823356" y="432088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236" name="任意多边形: 形状 235">
                <a:extLst>
                  <a:ext uri="{FF2B5EF4-FFF2-40B4-BE49-F238E27FC236}">
                    <a16:creationId xmlns:a16="http://schemas.microsoft.com/office/drawing/2014/main" id="{11C966AB-3124-4257-A53E-AB5B5A23D11C}"/>
                  </a:ext>
                </a:extLst>
              </p:cNvPr>
              <p:cNvSpPr/>
              <p:nvPr/>
            </p:nvSpPr>
            <p:spPr>
              <a:xfrm>
                <a:off x="7823356"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237" name="任意多边形: 形状 236">
                <a:extLst>
                  <a:ext uri="{FF2B5EF4-FFF2-40B4-BE49-F238E27FC236}">
                    <a16:creationId xmlns:a16="http://schemas.microsoft.com/office/drawing/2014/main" id="{3AA47F3C-3C95-4D73-85DA-796D5CF90D3A}"/>
                  </a:ext>
                </a:extLst>
              </p:cNvPr>
              <p:cNvSpPr/>
              <p:nvPr/>
            </p:nvSpPr>
            <p:spPr>
              <a:xfrm>
                <a:off x="7823356" y="4612784"/>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238" name="任意多边形: 形状 237">
                <a:extLst>
                  <a:ext uri="{FF2B5EF4-FFF2-40B4-BE49-F238E27FC236}">
                    <a16:creationId xmlns:a16="http://schemas.microsoft.com/office/drawing/2014/main" id="{85B30493-018E-4DFE-A774-1827D011F3D1}"/>
                  </a:ext>
                </a:extLst>
              </p:cNvPr>
              <p:cNvSpPr/>
              <p:nvPr/>
            </p:nvSpPr>
            <p:spPr>
              <a:xfrm>
                <a:off x="7823356"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39" name="任意多边形: 形状 238">
                <a:extLst>
                  <a:ext uri="{FF2B5EF4-FFF2-40B4-BE49-F238E27FC236}">
                    <a16:creationId xmlns:a16="http://schemas.microsoft.com/office/drawing/2014/main" id="{0EF22269-5591-4325-9D5D-92835A8C5186}"/>
                  </a:ext>
                </a:extLst>
              </p:cNvPr>
              <p:cNvSpPr/>
              <p:nvPr/>
            </p:nvSpPr>
            <p:spPr>
              <a:xfrm>
                <a:off x="7823356" y="506685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40" name="任意多边形: 形状 239">
                <a:extLst>
                  <a:ext uri="{FF2B5EF4-FFF2-40B4-BE49-F238E27FC236}">
                    <a16:creationId xmlns:a16="http://schemas.microsoft.com/office/drawing/2014/main" id="{E016E7D0-2D24-48B1-84C5-CBB51431FF6F}"/>
                  </a:ext>
                </a:extLst>
              </p:cNvPr>
              <p:cNvSpPr/>
              <p:nvPr/>
            </p:nvSpPr>
            <p:spPr>
              <a:xfrm>
                <a:off x="7823356" y="5358752"/>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241" name="任意多边形: 形状 240">
                <a:extLst>
                  <a:ext uri="{FF2B5EF4-FFF2-40B4-BE49-F238E27FC236}">
                    <a16:creationId xmlns:a16="http://schemas.microsoft.com/office/drawing/2014/main" id="{4C0BD02D-7DCA-469B-A82A-2C6C42528D58}"/>
                  </a:ext>
                </a:extLst>
              </p:cNvPr>
              <p:cNvSpPr/>
              <p:nvPr/>
            </p:nvSpPr>
            <p:spPr>
              <a:xfrm>
                <a:off x="7823356" y="5504703"/>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242" name="任意多边形: 形状 241">
                <a:extLst>
                  <a:ext uri="{FF2B5EF4-FFF2-40B4-BE49-F238E27FC236}">
                    <a16:creationId xmlns:a16="http://schemas.microsoft.com/office/drawing/2014/main" id="{8F502F01-577D-435B-9E39-519374263DA7}"/>
                  </a:ext>
                </a:extLst>
              </p:cNvPr>
              <p:cNvSpPr/>
              <p:nvPr/>
            </p:nvSpPr>
            <p:spPr>
              <a:xfrm>
                <a:off x="7661189"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43" name="任意多边形: 形状 242">
                <a:extLst>
                  <a:ext uri="{FF2B5EF4-FFF2-40B4-BE49-F238E27FC236}">
                    <a16:creationId xmlns:a16="http://schemas.microsoft.com/office/drawing/2014/main" id="{54A3D257-2E45-4902-92C3-E468A3E28268}"/>
                  </a:ext>
                </a:extLst>
              </p:cNvPr>
              <p:cNvSpPr/>
              <p:nvPr/>
            </p:nvSpPr>
            <p:spPr>
              <a:xfrm>
                <a:off x="7661189"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44" name="任意多边形: 形状 243">
                <a:extLst>
                  <a:ext uri="{FF2B5EF4-FFF2-40B4-BE49-F238E27FC236}">
                    <a16:creationId xmlns:a16="http://schemas.microsoft.com/office/drawing/2014/main" id="{FFA0F2A8-491A-4EF9-B61C-4F7AC5CA9147}"/>
                  </a:ext>
                </a:extLst>
              </p:cNvPr>
              <p:cNvSpPr/>
              <p:nvPr/>
            </p:nvSpPr>
            <p:spPr>
              <a:xfrm>
                <a:off x="7661189"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245" name="任意多边形: 形状 244">
                <a:extLst>
                  <a:ext uri="{FF2B5EF4-FFF2-40B4-BE49-F238E27FC236}">
                    <a16:creationId xmlns:a16="http://schemas.microsoft.com/office/drawing/2014/main" id="{66AE749C-C419-4980-88F3-9CF31EA6E99B}"/>
                  </a:ext>
                </a:extLst>
              </p:cNvPr>
              <p:cNvSpPr/>
              <p:nvPr/>
            </p:nvSpPr>
            <p:spPr>
              <a:xfrm>
                <a:off x="7661189"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46" name="任意多边形: 形状 245">
                <a:extLst>
                  <a:ext uri="{FF2B5EF4-FFF2-40B4-BE49-F238E27FC236}">
                    <a16:creationId xmlns:a16="http://schemas.microsoft.com/office/drawing/2014/main" id="{45FFF0D4-7FF7-4B5F-B6B3-936AD0DEBB8E}"/>
                  </a:ext>
                </a:extLst>
              </p:cNvPr>
              <p:cNvSpPr/>
              <p:nvPr/>
            </p:nvSpPr>
            <p:spPr>
              <a:xfrm>
                <a:off x="7661189" y="492090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47" name="任意多边形: 形状 246">
                <a:extLst>
                  <a:ext uri="{FF2B5EF4-FFF2-40B4-BE49-F238E27FC236}">
                    <a16:creationId xmlns:a16="http://schemas.microsoft.com/office/drawing/2014/main" id="{77A673FA-B9E3-483E-9DD8-CC0EF1D2AEA9}"/>
                  </a:ext>
                </a:extLst>
              </p:cNvPr>
              <p:cNvSpPr/>
              <p:nvPr/>
            </p:nvSpPr>
            <p:spPr>
              <a:xfrm>
                <a:off x="7661189" y="506685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48" name="任意多边形: 形状 247">
                <a:extLst>
                  <a:ext uri="{FF2B5EF4-FFF2-40B4-BE49-F238E27FC236}">
                    <a16:creationId xmlns:a16="http://schemas.microsoft.com/office/drawing/2014/main" id="{6153EB1E-38B5-4AF5-9FB8-621B38E3C528}"/>
                  </a:ext>
                </a:extLst>
              </p:cNvPr>
              <p:cNvSpPr/>
              <p:nvPr/>
            </p:nvSpPr>
            <p:spPr>
              <a:xfrm>
                <a:off x="7661189" y="521280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49" name="任意多边形: 形状 248">
                <a:extLst>
                  <a:ext uri="{FF2B5EF4-FFF2-40B4-BE49-F238E27FC236}">
                    <a16:creationId xmlns:a16="http://schemas.microsoft.com/office/drawing/2014/main" id="{C590190B-A8D8-4041-9136-D36B637C1F8C}"/>
                  </a:ext>
                </a:extLst>
              </p:cNvPr>
              <p:cNvSpPr/>
              <p:nvPr/>
            </p:nvSpPr>
            <p:spPr>
              <a:xfrm>
                <a:off x="7661189" y="5504703"/>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250" name="任意多边形: 形状 249">
                <a:extLst>
                  <a:ext uri="{FF2B5EF4-FFF2-40B4-BE49-F238E27FC236}">
                    <a16:creationId xmlns:a16="http://schemas.microsoft.com/office/drawing/2014/main" id="{97BA3E04-068A-4AA1-936A-BFA89B59910B}"/>
                  </a:ext>
                </a:extLst>
              </p:cNvPr>
              <p:cNvSpPr/>
              <p:nvPr/>
            </p:nvSpPr>
            <p:spPr>
              <a:xfrm>
                <a:off x="7499021"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51" name="任意多边形: 形状 250">
                <a:extLst>
                  <a:ext uri="{FF2B5EF4-FFF2-40B4-BE49-F238E27FC236}">
                    <a16:creationId xmlns:a16="http://schemas.microsoft.com/office/drawing/2014/main" id="{2EB44C8B-D59B-4E8F-AFFA-9143052A78A7}"/>
                  </a:ext>
                </a:extLst>
              </p:cNvPr>
              <p:cNvSpPr/>
              <p:nvPr/>
            </p:nvSpPr>
            <p:spPr>
              <a:xfrm>
                <a:off x="7499021"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52" name="任意多边形: 形状 251">
                <a:extLst>
                  <a:ext uri="{FF2B5EF4-FFF2-40B4-BE49-F238E27FC236}">
                    <a16:creationId xmlns:a16="http://schemas.microsoft.com/office/drawing/2014/main" id="{D6E267AA-F153-4F82-9A6C-DA1BFA94D32B}"/>
                  </a:ext>
                </a:extLst>
              </p:cNvPr>
              <p:cNvSpPr/>
              <p:nvPr/>
            </p:nvSpPr>
            <p:spPr>
              <a:xfrm>
                <a:off x="7499021" y="432088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253" name="任意多边形: 形状 252">
                <a:extLst>
                  <a:ext uri="{FF2B5EF4-FFF2-40B4-BE49-F238E27FC236}">
                    <a16:creationId xmlns:a16="http://schemas.microsoft.com/office/drawing/2014/main" id="{AEEAF61A-DFF8-4CFF-AEBE-FDD9A78D3888}"/>
                  </a:ext>
                </a:extLst>
              </p:cNvPr>
              <p:cNvSpPr/>
              <p:nvPr/>
            </p:nvSpPr>
            <p:spPr>
              <a:xfrm>
                <a:off x="7499021"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254" name="任意多边形: 形状 253">
                <a:extLst>
                  <a:ext uri="{FF2B5EF4-FFF2-40B4-BE49-F238E27FC236}">
                    <a16:creationId xmlns:a16="http://schemas.microsoft.com/office/drawing/2014/main" id="{EF3E38E5-17ED-429F-BA85-3CB1FFA8406B}"/>
                  </a:ext>
                </a:extLst>
              </p:cNvPr>
              <p:cNvSpPr/>
              <p:nvPr/>
            </p:nvSpPr>
            <p:spPr>
              <a:xfrm>
                <a:off x="7499021" y="4612784"/>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255" name="任意多边形: 形状 254">
                <a:extLst>
                  <a:ext uri="{FF2B5EF4-FFF2-40B4-BE49-F238E27FC236}">
                    <a16:creationId xmlns:a16="http://schemas.microsoft.com/office/drawing/2014/main" id="{560E26F0-5DB0-4E4E-A419-0829A92F4950}"/>
                  </a:ext>
                </a:extLst>
              </p:cNvPr>
              <p:cNvSpPr/>
              <p:nvPr/>
            </p:nvSpPr>
            <p:spPr>
              <a:xfrm>
                <a:off x="7499021"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56" name="任意多边形: 形状 255">
                <a:extLst>
                  <a:ext uri="{FF2B5EF4-FFF2-40B4-BE49-F238E27FC236}">
                    <a16:creationId xmlns:a16="http://schemas.microsoft.com/office/drawing/2014/main" id="{8DC1D05C-C286-414E-9FFB-37874F0021A0}"/>
                  </a:ext>
                </a:extLst>
              </p:cNvPr>
              <p:cNvSpPr/>
              <p:nvPr/>
            </p:nvSpPr>
            <p:spPr>
              <a:xfrm>
                <a:off x="7499021" y="506685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57" name="任意多边形: 形状 256">
                <a:extLst>
                  <a:ext uri="{FF2B5EF4-FFF2-40B4-BE49-F238E27FC236}">
                    <a16:creationId xmlns:a16="http://schemas.microsoft.com/office/drawing/2014/main" id="{4D3197F5-DF19-4764-B90E-FB4E35F81ED7}"/>
                  </a:ext>
                </a:extLst>
              </p:cNvPr>
              <p:cNvSpPr/>
              <p:nvPr/>
            </p:nvSpPr>
            <p:spPr>
              <a:xfrm>
                <a:off x="7499021" y="521280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58" name="任意多边形: 形状 257">
                <a:extLst>
                  <a:ext uri="{FF2B5EF4-FFF2-40B4-BE49-F238E27FC236}">
                    <a16:creationId xmlns:a16="http://schemas.microsoft.com/office/drawing/2014/main" id="{57147261-B3B6-447A-9885-3562C30D7658}"/>
                  </a:ext>
                </a:extLst>
              </p:cNvPr>
              <p:cNvSpPr/>
              <p:nvPr/>
            </p:nvSpPr>
            <p:spPr>
              <a:xfrm>
                <a:off x="7499021" y="5358752"/>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259" name="任意多边形: 形状 258">
                <a:extLst>
                  <a:ext uri="{FF2B5EF4-FFF2-40B4-BE49-F238E27FC236}">
                    <a16:creationId xmlns:a16="http://schemas.microsoft.com/office/drawing/2014/main" id="{5123A709-A83F-4826-B0CB-30DBAA8C624E}"/>
                  </a:ext>
                </a:extLst>
              </p:cNvPr>
              <p:cNvSpPr/>
              <p:nvPr/>
            </p:nvSpPr>
            <p:spPr>
              <a:xfrm>
                <a:off x="7336854"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60" name="任意多边形: 形状 259">
                <a:extLst>
                  <a:ext uri="{FF2B5EF4-FFF2-40B4-BE49-F238E27FC236}">
                    <a16:creationId xmlns:a16="http://schemas.microsoft.com/office/drawing/2014/main" id="{18958644-5F2C-4C0B-9CF0-56CD9CC4A244}"/>
                  </a:ext>
                </a:extLst>
              </p:cNvPr>
              <p:cNvSpPr/>
              <p:nvPr/>
            </p:nvSpPr>
            <p:spPr>
              <a:xfrm>
                <a:off x="7336854"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61" name="任意多边形: 形状 260">
                <a:extLst>
                  <a:ext uri="{FF2B5EF4-FFF2-40B4-BE49-F238E27FC236}">
                    <a16:creationId xmlns:a16="http://schemas.microsoft.com/office/drawing/2014/main" id="{60E382B4-6DFE-4944-AFC1-8AE9D6C946E5}"/>
                  </a:ext>
                </a:extLst>
              </p:cNvPr>
              <p:cNvSpPr/>
              <p:nvPr/>
            </p:nvSpPr>
            <p:spPr>
              <a:xfrm>
                <a:off x="7336854"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262" name="任意多边形: 形状 261">
                <a:extLst>
                  <a:ext uri="{FF2B5EF4-FFF2-40B4-BE49-F238E27FC236}">
                    <a16:creationId xmlns:a16="http://schemas.microsoft.com/office/drawing/2014/main" id="{B82C0150-4434-428C-AECE-A1A503EAD01C}"/>
                  </a:ext>
                </a:extLst>
              </p:cNvPr>
              <p:cNvSpPr/>
              <p:nvPr/>
            </p:nvSpPr>
            <p:spPr>
              <a:xfrm>
                <a:off x="7336854"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63" name="任意多边形: 形状 262">
                <a:extLst>
                  <a:ext uri="{FF2B5EF4-FFF2-40B4-BE49-F238E27FC236}">
                    <a16:creationId xmlns:a16="http://schemas.microsoft.com/office/drawing/2014/main" id="{036C047C-94CD-49CF-AA45-6B945165F6A6}"/>
                  </a:ext>
                </a:extLst>
              </p:cNvPr>
              <p:cNvSpPr/>
              <p:nvPr/>
            </p:nvSpPr>
            <p:spPr>
              <a:xfrm>
                <a:off x="7336854" y="492090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64" name="任意多边形: 形状 263">
                <a:extLst>
                  <a:ext uri="{FF2B5EF4-FFF2-40B4-BE49-F238E27FC236}">
                    <a16:creationId xmlns:a16="http://schemas.microsoft.com/office/drawing/2014/main" id="{F18BB69B-5F3F-40E7-9B49-27D3F481A7F3}"/>
                  </a:ext>
                </a:extLst>
              </p:cNvPr>
              <p:cNvSpPr/>
              <p:nvPr/>
            </p:nvSpPr>
            <p:spPr>
              <a:xfrm>
                <a:off x="7336854" y="521280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265" name="任意多边形: 形状 264">
                <a:extLst>
                  <a:ext uri="{FF2B5EF4-FFF2-40B4-BE49-F238E27FC236}">
                    <a16:creationId xmlns:a16="http://schemas.microsoft.com/office/drawing/2014/main" id="{49F0A651-0BCF-4B40-A539-D871E082701D}"/>
                  </a:ext>
                </a:extLst>
              </p:cNvPr>
              <p:cNvSpPr/>
              <p:nvPr/>
            </p:nvSpPr>
            <p:spPr>
              <a:xfrm>
                <a:off x="7336854" y="5504703"/>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266" name="任意多边形: 形状 265">
                <a:extLst>
                  <a:ext uri="{FF2B5EF4-FFF2-40B4-BE49-F238E27FC236}">
                    <a16:creationId xmlns:a16="http://schemas.microsoft.com/office/drawing/2014/main" id="{B09C0EB2-0EC2-4552-B2A6-AE18EA3B5B48}"/>
                  </a:ext>
                </a:extLst>
              </p:cNvPr>
              <p:cNvSpPr/>
              <p:nvPr/>
            </p:nvSpPr>
            <p:spPr>
              <a:xfrm>
                <a:off x="11423465" y="4774951"/>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267" name="任意多边形: 形状 266">
                <a:extLst>
                  <a:ext uri="{FF2B5EF4-FFF2-40B4-BE49-F238E27FC236}">
                    <a16:creationId xmlns:a16="http://schemas.microsoft.com/office/drawing/2014/main" id="{236EFFD3-D37D-45DE-8CCD-86A699602BB6}"/>
                  </a:ext>
                </a:extLst>
              </p:cNvPr>
              <p:cNvSpPr/>
              <p:nvPr/>
            </p:nvSpPr>
            <p:spPr>
              <a:xfrm>
                <a:off x="11423465" y="4872251"/>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268" name="任意多边形: 形状 267">
                <a:extLst>
                  <a:ext uri="{FF2B5EF4-FFF2-40B4-BE49-F238E27FC236}">
                    <a16:creationId xmlns:a16="http://schemas.microsoft.com/office/drawing/2014/main" id="{44A809EC-2839-4FFC-9C93-C5A6B5BF43D3}"/>
                  </a:ext>
                </a:extLst>
              </p:cNvPr>
              <p:cNvSpPr/>
              <p:nvPr/>
            </p:nvSpPr>
            <p:spPr>
              <a:xfrm>
                <a:off x="11423465" y="4985768"/>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269" name="任意多边形: 形状 268">
                <a:extLst>
                  <a:ext uri="{FF2B5EF4-FFF2-40B4-BE49-F238E27FC236}">
                    <a16:creationId xmlns:a16="http://schemas.microsoft.com/office/drawing/2014/main" id="{CE7FB598-243F-451E-A1C6-1448628D0B20}"/>
                  </a:ext>
                </a:extLst>
              </p:cNvPr>
              <p:cNvSpPr/>
              <p:nvPr/>
            </p:nvSpPr>
            <p:spPr>
              <a:xfrm>
                <a:off x="11423465" y="5083068"/>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270" name="任意多边形: 形状 269">
                <a:extLst>
                  <a:ext uri="{FF2B5EF4-FFF2-40B4-BE49-F238E27FC236}">
                    <a16:creationId xmlns:a16="http://schemas.microsoft.com/office/drawing/2014/main" id="{A0B2790D-53A0-4BB8-9A81-18CC8A6E09FC}"/>
                  </a:ext>
                </a:extLst>
              </p:cNvPr>
              <p:cNvSpPr/>
              <p:nvPr/>
            </p:nvSpPr>
            <p:spPr>
              <a:xfrm>
                <a:off x="11423465" y="5180369"/>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271" name="任意多边形: 形状 270">
                <a:extLst>
                  <a:ext uri="{FF2B5EF4-FFF2-40B4-BE49-F238E27FC236}">
                    <a16:creationId xmlns:a16="http://schemas.microsoft.com/office/drawing/2014/main" id="{9EE79626-C2DF-4B64-9A00-314199A99FAB}"/>
                  </a:ext>
                </a:extLst>
              </p:cNvPr>
              <p:cNvSpPr/>
              <p:nvPr/>
            </p:nvSpPr>
            <p:spPr>
              <a:xfrm>
                <a:off x="11423465" y="5293886"/>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272" name="任意多边形: 形状 271">
                <a:extLst>
                  <a:ext uri="{FF2B5EF4-FFF2-40B4-BE49-F238E27FC236}">
                    <a16:creationId xmlns:a16="http://schemas.microsoft.com/office/drawing/2014/main" id="{86C3471F-8783-4D1E-AAE9-C07240185425}"/>
                  </a:ext>
                </a:extLst>
              </p:cNvPr>
              <p:cNvSpPr/>
              <p:nvPr/>
            </p:nvSpPr>
            <p:spPr>
              <a:xfrm>
                <a:off x="11423465" y="5391186"/>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273" name="任意多边形: 形状 272">
                <a:extLst>
                  <a:ext uri="{FF2B5EF4-FFF2-40B4-BE49-F238E27FC236}">
                    <a16:creationId xmlns:a16="http://schemas.microsoft.com/office/drawing/2014/main" id="{D6C4639D-7CC7-4223-8B12-0A3DE8B2A40D}"/>
                  </a:ext>
                </a:extLst>
              </p:cNvPr>
              <p:cNvSpPr/>
              <p:nvPr/>
            </p:nvSpPr>
            <p:spPr>
              <a:xfrm>
                <a:off x="11423465" y="5504703"/>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274" name="任意多边形: 形状 273">
                <a:extLst>
                  <a:ext uri="{FF2B5EF4-FFF2-40B4-BE49-F238E27FC236}">
                    <a16:creationId xmlns:a16="http://schemas.microsoft.com/office/drawing/2014/main" id="{28B0FF32-5483-4934-9412-8712C8903A77}"/>
                  </a:ext>
                </a:extLst>
              </p:cNvPr>
              <p:cNvSpPr/>
              <p:nvPr/>
            </p:nvSpPr>
            <p:spPr>
              <a:xfrm>
                <a:off x="11309948" y="4774951"/>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275" name="任意多边形: 形状 274">
                <a:extLst>
                  <a:ext uri="{FF2B5EF4-FFF2-40B4-BE49-F238E27FC236}">
                    <a16:creationId xmlns:a16="http://schemas.microsoft.com/office/drawing/2014/main" id="{E3ABB853-E5EF-471B-B7CC-B31FF2FB880F}"/>
                  </a:ext>
                </a:extLst>
              </p:cNvPr>
              <p:cNvSpPr/>
              <p:nvPr/>
            </p:nvSpPr>
            <p:spPr>
              <a:xfrm>
                <a:off x="11309948" y="4872251"/>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276" name="任意多边形: 形状 275">
                <a:extLst>
                  <a:ext uri="{FF2B5EF4-FFF2-40B4-BE49-F238E27FC236}">
                    <a16:creationId xmlns:a16="http://schemas.microsoft.com/office/drawing/2014/main" id="{2B31A100-D098-4A8D-B7B4-679BD1CD98C8}"/>
                  </a:ext>
                </a:extLst>
              </p:cNvPr>
              <p:cNvSpPr/>
              <p:nvPr/>
            </p:nvSpPr>
            <p:spPr>
              <a:xfrm>
                <a:off x="11309948" y="4985768"/>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277" name="任意多边形: 形状 276">
                <a:extLst>
                  <a:ext uri="{FF2B5EF4-FFF2-40B4-BE49-F238E27FC236}">
                    <a16:creationId xmlns:a16="http://schemas.microsoft.com/office/drawing/2014/main" id="{FBBEB74A-495E-49C2-BEE6-FDD22173CC0A}"/>
                  </a:ext>
                </a:extLst>
              </p:cNvPr>
              <p:cNvSpPr/>
              <p:nvPr/>
            </p:nvSpPr>
            <p:spPr>
              <a:xfrm>
                <a:off x="11309948" y="5083068"/>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278" name="任意多边形: 形状 277">
                <a:extLst>
                  <a:ext uri="{FF2B5EF4-FFF2-40B4-BE49-F238E27FC236}">
                    <a16:creationId xmlns:a16="http://schemas.microsoft.com/office/drawing/2014/main" id="{D9C75BC2-6E12-4963-9B81-632B3EFABA57}"/>
                  </a:ext>
                </a:extLst>
              </p:cNvPr>
              <p:cNvSpPr/>
              <p:nvPr/>
            </p:nvSpPr>
            <p:spPr>
              <a:xfrm>
                <a:off x="11309948" y="5180369"/>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279" name="任意多边形: 形状 278">
                <a:extLst>
                  <a:ext uri="{FF2B5EF4-FFF2-40B4-BE49-F238E27FC236}">
                    <a16:creationId xmlns:a16="http://schemas.microsoft.com/office/drawing/2014/main" id="{F7DCE61E-4808-4719-960C-C42FE9AECAB8}"/>
                  </a:ext>
                </a:extLst>
              </p:cNvPr>
              <p:cNvSpPr/>
              <p:nvPr/>
            </p:nvSpPr>
            <p:spPr>
              <a:xfrm>
                <a:off x="11309948" y="5293886"/>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280" name="任意多边形: 形状 279">
                <a:extLst>
                  <a:ext uri="{FF2B5EF4-FFF2-40B4-BE49-F238E27FC236}">
                    <a16:creationId xmlns:a16="http://schemas.microsoft.com/office/drawing/2014/main" id="{F551F9D3-5EED-4AE2-8A37-8721CF797BD7}"/>
                  </a:ext>
                </a:extLst>
              </p:cNvPr>
              <p:cNvSpPr/>
              <p:nvPr/>
            </p:nvSpPr>
            <p:spPr>
              <a:xfrm>
                <a:off x="11309948" y="5391186"/>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281" name="任意多边形: 形状 280">
                <a:extLst>
                  <a:ext uri="{FF2B5EF4-FFF2-40B4-BE49-F238E27FC236}">
                    <a16:creationId xmlns:a16="http://schemas.microsoft.com/office/drawing/2014/main" id="{B63431DF-20A5-4A93-9000-D29BBC71EEDB}"/>
                  </a:ext>
                </a:extLst>
              </p:cNvPr>
              <p:cNvSpPr/>
              <p:nvPr/>
            </p:nvSpPr>
            <p:spPr>
              <a:xfrm>
                <a:off x="11309948" y="5504703"/>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282" name="任意多边形: 形状 281">
                <a:extLst>
                  <a:ext uri="{FF2B5EF4-FFF2-40B4-BE49-F238E27FC236}">
                    <a16:creationId xmlns:a16="http://schemas.microsoft.com/office/drawing/2014/main" id="{F01682EA-A9EE-4215-9D20-473E53C797B4}"/>
                  </a:ext>
                </a:extLst>
              </p:cNvPr>
              <p:cNvSpPr/>
              <p:nvPr/>
            </p:nvSpPr>
            <p:spPr>
              <a:xfrm>
                <a:off x="12477551" y="4791168"/>
                <a:ext cx="97300" cy="145950"/>
              </a:xfrm>
              <a:custGeom>
                <a:avLst/>
                <a:gdLst/>
                <a:ahLst/>
                <a:cxnLst/>
                <a:rect l="0" t="0" r="0" b="0"/>
                <a:pathLst>
                  <a:path w="97300" h="145950">
                    <a:moveTo>
                      <a:pt x="12163" y="12163"/>
                    </a:moveTo>
                    <a:lnTo>
                      <a:pt x="93246" y="12163"/>
                    </a:lnTo>
                    <a:lnTo>
                      <a:pt x="93246"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283" name="任意多边形: 形状 282">
                <a:extLst>
                  <a:ext uri="{FF2B5EF4-FFF2-40B4-BE49-F238E27FC236}">
                    <a16:creationId xmlns:a16="http://schemas.microsoft.com/office/drawing/2014/main" id="{19D203F0-F80B-4B73-932A-63A29F9D7A70}"/>
                  </a:ext>
                </a:extLst>
              </p:cNvPr>
              <p:cNvSpPr/>
              <p:nvPr/>
            </p:nvSpPr>
            <p:spPr>
              <a:xfrm>
                <a:off x="12720802" y="4791168"/>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284" name="任意多边形: 形状 283">
                <a:extLst>
                  <a:ext uri="{FF2B5EF4-FFF2-40B4-BE49-F238E27FC236}">
                    <a16:creationId xmlns:a16="http://schemas.microsoft.com/office/drawing/2014/main" id="{F7EA3E1B-1454-4749-A4F3-AB885E1F53A8}"/>
                  </a:ext>
                </a:extLst>
              </p:cNvPr>
              <p:cNvSpPr/>
              <p:nvPr/>
            </p:nvSpPr>
            <p:spPr>
              <a:xfrm>
                <a:off x="12964052" y="4791168"/>
                <a:ext cx="64867" cy="145950"/>
              </a:xfrm>
              <a:custGeom>
                <a:avLst/>
                <a:gdLst/>
                <a:ahLst/>
                <a:cxnLst/>
                <a:rect l="0" t="0" r="0" b="0"/>
                <a:pathLst>
                  <a:path w="64866" h="145950">
                    <a:moveTo>
                      <a:pt x="12163" y="12163"/>
                    </a:moveTo>
                    <a:lnTo>
                      <a:pt x="60813" y="12163"/>
                    </a:lnTo>
                    <a:lnTo>
                      <a:pt x="60813"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285" name="任意多边形: 形状 284">
                <a:extLst>
                  <a:ext uri="{FF2B5EF4-FFF2-40B4-BE49-F238E27FC236}">
                    <a16:creationId xmlns:a16="http://schemas.microsoft.com/office/drawing/2014/main" id="{8941CB96-8685-4480-AFD6-737B373A0027}"/>
                  </a:ext>
                </a:extLst>
              </p:cNvPr>
              <p:cNvSpPr/>
              <p:nvPr/>
            </p:nvSpPr>
            <p:spPr>
              <a:xfrm>
                <a:off x="12477551" y="4953335"/>
                <a:ext cx="97300" cy="145950"/>
              </a:xfrm>
              <a:custGeom>
                <a:avLst/>
                <a:gdLst/>
                <a:ahLst/>
                <a:cxnLst/>
                <a:rect l="0" t="0" r="0" b="0"/>
                <a:pathLst>
                  <a:path w="97300" h="145950">
                    <a:moveTo>
                      <a:pt x="12163" y="12163"/>
                    </a:moveTo>
                    <a:lnTo>
                      <a:pt x="93246" y="12163"/>
                    </a:lnTo>
                    <a:lnTo>
                      <a:pt x="93246"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286" name="任意多边形: 形状 285">
                <a:extLst>
                  <a:ext uri="{FF2B5EF4-FFF2-40B4-BE49-F238E27FC236}">
                    <a16:creationId xmlns:a16="http://schemas.microsoft.com/office/drawing/2014/main" id="{8A2E1AA6-3C97-4562-8CA0-C5E3414D2582}"/>
                  </a:ext>
                </a:extLst>
              </p:cNvPr>
              <p:cNvSpPr/>
              <p:nvPr/>
            </p:nvSpPr>
            <p:spPr>
              <a:xfrm>
                <a:off x="12720802" y="49533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287" name="任意多边形: 形状 286">
                <a:extLst>
                  <a:ext uri="{FF2B5EF4-FFF2-40B4-BE49-F238E27FC236}">
                    <a16:creationId xmlns:a16="http://schemas.microsoft.com/office/drawing/2014/main" id="{FAA03062-0823-4679-A971-58E00CA5BFD5}"/>
                  </a:ext>
                </a:extLst>
              </p:cNvPr>
              <p:cNvSpPr/>
              <p:nvPr/>
            </p:nvSpPr>
            <p:spPr>
              <a:xfrm>
                <a:off x="12834319" y="49533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288" name="任意多边形: 形状 287">
                <a:extLst>
                  <a:ext uri="{FF2B5EF4-FFF2-40B4-BE49-F238E27FC236}">
                    <a16:creationId xmlns:a16="http://schemas.microsoft.com/office/drawing/2014/main" id="{D6407D71-2DF4-40B9-A960-509D6C016A60}"/>
                  </a:ext>
                </a:extLst>
              </p:cNvPr>
              <p:cNvSpPr/>
              <p:nvPr/>
            </p:nvSpPr>
            <p:spPr>
              <a:xfrm>
                <a:off x="12964052" y="4953335"/>
                <a:ext cx="64867" cy="145950"/>
              </a:xfrm>
              <a:custGeom>
                <a:avLst/>
                <a:gdLst/>
                <a:ahLst/>
                <a:cxnLst/>
                <a:rect l="0" t="0" r="0" b="0"/>
                <a:pathLst>
                  <a:path w="64866" h="145950">
                    <a:moveTo>
                      <a:pt x="12163" y="12163"/>
                    </a:moveTo>
                    <a:lnTo>
                      <a:pt x="60813" y="12163"/>
                    </a:lnTo>
                    <a:lnTo>
                      <a:pt x="60813"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289" name="任意多边形: 形状 288">
                <a:extLst>
                  <a:ext uri="{FF2B5EF4-FFF2-40B4-BE49-F238E27FC236}">
                    <a16:creationId xmlns:a16="http://schemas.microsoft.com/office/drawing/2014/main" id="{98CDE75B-B80D-4AF5-8806-F5988C9523D2}"/>
                  </a:ext>
                </a:extLst>
              </p:cNvPr>
              <p:cNvSpPr/>
              <p:nvPr/>
            </p:nvSpPr>
            <p:spPr>
              <a:xfrm>
                <a:off x="12477551" y="5099285"/>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290" name="任意多边形: 形状 289">
                <a:extLst>
                  <a:ext uri="{FF2B5EF4-FFF2-40B4-BE49-F238E27FC236}">
                    <a16:creationId xmlns:a16="http://schemas.microsoft.com/office/drawing/2014/main" id="{2AD52F76-6204-40C6-966D-4842B704342C}"/>
                  </a:ext>
                </a:extLst>
              </p:cNvPr>
              <p:cNvSpPr/>
              <p:nvPr/>
            </p:nvSpPr>
            <p:spPr>
              <a:xfrm>
                <a:off x="12607285" y="5099285"/>
                <a:ext cx="81084" cy="129734"/>
              </a:xfrm>
              <a:custGeom>
                <a:avLst/>
                <a:gdLst/>
                <a:ahLst/>
                <a:cxnLst/>
                <a:rect l="0" t="0" r="0" b="0"/>
                <a:pathLst>
                  <a:path w="81083" h="129733">
                    <a:moveTo>
                      <a:pt x="12163" y="12163"/>
                    </a:moveTo>
                    <a:lnTo>
                      <a:pt x="77029" y="12163"/>
                    </a:lnTo>
                    <a:lnTo>
                      <a:pt x="77029"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291" name="任意多边形: 形状 290">
                <a:extLst>
                  <a:ext uri="{FF2B5EF4-FFF2-40B4-BE49-F238E27FC236}">
                    <a16:creationId xmlns:a16="http://schemas.microsoft.com/office/drawing/2014/main" id="{DB790F28-B8BD-4FD2-9481-783082E9E6AF}"/>
                  </a:ext>
                </a:extLst>
              </p:cNvPr>
              <p:cNvSpPr/>
              <p:nvPr/>
            </p:nvSpPr>
            <p:spPr>
              <a:xfrm>
                <a:off x="12720802" y="5099285"/>
                <a:ext cx="81084" cy="129734"/>
              </a:xfrm>
              <a:custGeom>
                <a:avLst/>
                <a:gdLst/>
                <a:ahLst/>
                <a:cxnLst/>
                <a:rect l="0" t="0" r="0" b="0"/>
                <a:pathLst>
                  <a:path w="81083" h="129733">
                    <a:moveTo>
                      <a:pt x="12163" y="12163"/>
                    </a:moveTo>
                    <a:lnTo>
                      <a:pt x="77029" y="12163"/>
                    </a:lnTo>
                    <a:lnTo>
                      <a:pt x="77029"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292" name="任意多边形: 形状 291">
                <a:extLst>
                  <a:ext uri="{FF2B5EF4-FFF2-40B4-BE49-F238E27FC236}">
                    <a16:creationId xmlns:a16="http://schemas.microsoft.com/office/drawing/2014/main" id="{30B48003-7E3B-4131-8234-C109966D8097}"/>
                  </a:ext>
                </a:extLst>
              </p:cNvPr>
              <p:cNvSpPr/>
              <p:nvPr/>
            </p:nvSpPr>
            <p:spPr>
              <a:xfrm>
                <a:off x="12964052" y="5099285"/>
                <a:ext cx="64867" cy="129734"/>
              </a:xfrm>
              <a:custGeom>
                <a:avLst/>
                <a:gdLst/>
                <a:ahLst/>
                <a:cxnLst/>
                <a:rect l="0" t="0" r="0" b="0"/>
                <a:pathLst>
                  <a:path w="64866" h="129733">
                    <a:moveTo>
                      <a:pt x="12163" y="12163"/>
                    </a:moveTo>
                    <a:lnTo>
                      <a:pt x="60813" y="12163"/>
                    </a:lnTo>
                    <a:lnTo>
                      <a:pt x="60813"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293" name="任意多边形: 形状 292">
                <a:extLst>
                  <a:ext uri="{FF2B5EF4-FFF2-40B4-BE49-F238E27FC236}">
                    <a16:creationId xmlns:a16="http://schemas.microsoft.com/office/drawing/2014/main" id="{86F0DD3E-D7E1-40DE-8B70-FB2C7317AB90}"/>
                  </a:ext>
                </a:extLst>
              </p:cNvPr>
              <p:cNvSpPr/>
              <p:nvPr/>
            </p:nvSpPr>
            <p:spPr>
              <a:xfrm>
                <a:off x="12720802" y="52452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294" name="任意多边形: 形状 293">
                <a:extLst>
                  <a:ext uri="{FF2B5EF4-FFF2-40B4-BE49-F238E27FC236}">
                    <a16:creationId xmlns:a16="http://schemas.microsoft.com/office/drawing/2014/main" id="{16A9D782-DE59-4437-B7CA-E1BBAE7FDFE2}"/>
                  </a:ext>
                </a:extLst>
              </p:cNvPr>
              <p:cNvSpPr/>
              <p:nvPr/>
            </p:nvSpPr>
            <p:spPr>
              <a:xfrm>
                <a:off x="12834319" y="52452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295" name="任意多边形: 形状 294">
                <a:extLst>
                  <a:ext uri="{FF2B5EF4-FFF2-40B4-BE49-F238E27FC236}">
                    <a16:creationId xmlns:a16="http://schemas.microsoft.com/office/drawing/2014/main" id="{8F679604-F3CE-441D-9ECF-7FA275D80871}"/>
                  </a:ext>
                </a:extLst>
              </p:cNvPr>
              <p:cNvSpPr/>
              <p:nvPr/>
            </p:nvSpPr>
            <p:spPr>
              <a:xfrm>
                <a:off x="12477551" y="5391186"/>
                <a:ext cx="97300" cy="162167"/>
              </a:xfrm>
              <a:custGeom>
                <a:avLst/>
                <a:gdLst/>
                <a:ahLst/>
                <a:cxnLst/>
                <a:rect l="0" t="0" r="0" b="0"/>
                <a:pathLst>
                  <a:path w="97300" h="162167">
                    <a:moveTo>
                      <a:pt x="12163" y="12163"/>
                    </a:moveTo>
                    <a:lnTo>
                      <a:pt x="93246" y="12163"/>
                    </a:lnTo>
                    <a:lnTo>
                      <a:pt x="93246"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296" name="任意多边形: 形状 295">
                <a:extLst>
                  <a:ext uri="{FF2B5EF4-FFF2-40B4-BE49-F238E27FC236}">
                    <a16:creationId xmlns:a16="http://schemas.microsoft.com/office/drawing/2014/main" id="{867C605F-94A1-434C-871D-246999D36504}"/>
                  </a:ext>
                </a:extLst>
              </p:cNvPr>
              <p:cNvSpPr/>
              <p:nvPr/>
            </p:nvSpPr>
            <p:spPr>
              <a:xfrm>
                <a:off x="12607285" y="5391186"/>
                <a:ext cx="81084" cy="162167"/>
              </a:xfrm>
              <a:custGeom>
                <a:avLst/>
                <a:gdLst/>
                <a:ahLst/>
                <a:cxnLst/>
                <a:rect l="0" t="0" r="0" b="0"/>
                <a:pathLst>
                  <a:path w="81083" h="162167">
                    <a:moveTo>
                      <a:pt x="12163" y="12163"/>
                    </a:moveTo>
                    <a:lnTo>
                      <a:pt x="77029" y="12163"/>
                    </a:lnTo>
                    <a:lnTo>
                      <a:pt x="77029"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297" name="任意多边形: 形状 296">
                <a:extLst>
                  <a:ext uri="{FF2B5EF4-FFF2-40B4-BE49-F238E27FC236}">
                    <a16:creationId xmlns:a16="http://schemas.microsoft.com/office/drawing/2014/main" id="{9DDDA426-B7B1-4143-98E6-7E4943B68ED4}"/>
                  </a:ext>
                </a:extLst>
              </p:cNvPr>
              <p:cNvSpPr/>
              <p:nvPr/>
            </p:nvSpPr>
            <p:spPr>
              <a:xfrm>
                <a:off x="12720802" y="5391186"/>
                <a:ext cx="81084" cy="162167"/>
              </a:xfrm>
              <a:custGeom>
                <a:avLst/>
                <a:gdLst/>
                <a:ahLst/>
                <a:cxnLst/>
                <a:rect l="0" t="0" r="0" b="0"/>
                <a:pathLst>
                  <a:path w="81083" h="162167">
                    <a:moveTo>
                      <a:pt x="12163" y="12163"/>
                    </a:moveTo>
                    <a:lnTo>
                      <a:pt x="77029" y="12163"/>
                    </a:lnTo>
                    <a:lnTo>
                      <a:pt x="77029"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298" name="任意多边形: 形状 297">
                <a:extLst>
                  <a:ext uri="{FF2B5EF4-FFF2-40B4-BE49-F238E27FC236}">
                    <a16:creationId xmlns:a16="http://schemas.microsoft.com/office/drawing/2014/main" id="{807507F4-ADA1-45E1-8FC1-C0964B2AD6E1}"/>
                  </a:ext>
                </a:extLst>
              </p:cNvPr>
              <p:cNvSpPr/>
              <p:nvPr/>
            </p:nvSpPr>
            <p:spPr>
              <a:xfrm>
                <a:off x="12834319" y="5391186"/>
                <a:ext cx="81084" cy="162167"/>
              </a:xfrm>
              <a:custGeom>
                <a:avLst/>
                <a:gdLst/>
                <a:ahLst/>
                <a:cxnLst/>
                <a:rect l="0" t="0" r="0" b="0"/>
                <a:pathLst>
                  <a:path w="81083" h="162167">
                    <a:moveTo>
                      <a:pt x="12163" y="12163"/>
                    </a:moveTo>
                    <a:lnTo>
                      <a:pt x="77029" y="12163"/>
                    </a:lnTo>
                    <a:lnTo>
                      <a:pt x="77029"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299" name="任意多边形: 形状 298">
                <a:extLst>
                  <a:ext uri="{FF2B5EF4-FFF2-40B4-BE49-F238E27FC236}">
                    <a16:creationId xmlns:a16="http://schemas.microsoft.com/office/drawing/2014/main" id="{AA09B8BC-79E8-44B3-A530-3EC6B4BD334E}"/>
                  </a:ext>
                </a:extLst>
              </p:cNvPr>
              <p:cNvSpPr/>
              <p:nvPr/>
            </p:nvSpPr>
            <p:spPr>
              <a:xfrm>
                <a:off x="12964052" y="5391186"/>
                <a:ext cx="64867" cy="162167"/>
              </a:xfrm>
              <a:custGeom>
                <a:avLst/>
                <a:gdLst/>
                <a:ahLst/>
                <a:cxnLst/>
                <a:rect l="0" t="0" r="0" b="0"/>
                <a:pathLst>
                  <a:path w="64866" h="162167">
                    <a:moveTo>
                      <a:pt x="12163" y="12163"/>
                    </a:moveTo>
                    <a:lnTo>
                      <a:pt x="60813" y="12163"/>
                    </a:lnTo>
                    <a:lnTo>
                      <a:pt x="60813"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300" name="任意多边形: 形状 299">
                <a:extLst>
                  <a:ext uri="{FF2B5EF4-FFF2-40B4-BE49-F238E27FC236}">
                    <a16:creationId xmlns:a16="http://schemas.microsoft.com/office/drawing/2014/main" id="{573933B6-947B-4200-9EA8-F97FF42D286B}"/>
                  </a:ext>
                </a:extLst>
              </p:cNvPr>
              <p:cNvSpPr/>
              <p:nvPr/>
            </p:nvSpPr>
            <p:spPr>
              <a:xfrm>
                <a:off x="12477551" y="5553353"/>
                <a:ext cx="97300" cy="145950"/>
              </a:xfrm>
              <a:custGeom>
                <a:avLst/>
                <a:gdLst/>
                <a:ahLst/>
                <a:cxnLst/>
                <a:rect l="0" t="0" r="0" b="0"/>
                <a:pathLst>
                  <a:path w="97300" h="145950">
                    <a:moveTo>
                      <a:pt x="12163" y="12163"/>
                    </a:moveTo>
                    <a:lnTo>
                      <a:pt x="93246" y="12163"/>
                    </a:lnTo>
                    <a:lnTo>
                      <a:pt x="93246"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301" name="任意多边形: 形状 300">
                <a:extLst>
                  <a:ext uri="{FF2B5EF4-FFF2-40B4-BE49-F238E27FC236}">
                    <a16:creationId xmlns:a16="http://schemas.microsoft.com/office/drawing/2014/main" id="{9CECDB02-70D4-420A-8586-3D84A79CE849}"/>
                  </a:ext>
                </a:extLst>
              </p:cNvPr>
              <p:cNvSpPr/>
              <p:nvPr/>
            </p:nvSpPr>
            <p:spPr>
              <a:xfrm>
                <a:off x="12720802" y="5553353"/>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302" name="任意多边形: 形状 301">
                <a:extLst>
                  <a:ext uri="{FF2B5EF4-FFF2-40B4-BE49-F238E27FC236}">
                    <a16:creationId xmlns:a16="http://schemas.microsoft.com/office/drawing/2014/main" id="{D251D25E-95E5-4CB3-B542-E23325FA922B}"/>
                  </a:ext>
                </a:extLst>
              </p:cNvPr>
              <p:cNvSpPr/>
              <p:nvPr/>
            </p:nvSpPr>
            <p:spPr>
              <a:xfrm>
                <a:off x="12964052" y="5553353"/>
                <a:ext cx="64867" cy="145950"/>
              </a:xfrm>
              <a:custGeom>
                <a:avLst/>
                <a:gdLst/>
                <a:ahLst/>
                <a:cxnLst/>
                <a:rect l="0" t="0" r="0" b="0"/>
                <a:pathLst>
                  <a:path w="64866" h="145950">
                    <a:moveTo>
                      <a:pt x="12163" y="12163"/>
                    </a:moveTo>
                    <a:lnTo>
                      <a:pt x="60813" y="12163"/>
                    </a:lnTo>
                    <a:lnTo>
                      <a:pt x="60813"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303" name="任意多边形: 形状 302">
                <a:extLst>
                  <a:ext uri="{FF2B5EF4-FFF2-40B4-BE49-F238E27FC236}">
                    <a16:creationId xmlns:a16="http://schemas.microsoft.com/office/drawing/2014/main" id="{9AD3F3C1-DBF9-42B5-A26E-09C7DC2F62F3}"/>
                  </a:ext>
                </a:extLst>
              </p:cNvPr>
              <p:cNvSpPr/>
              <p:nvPr/>
            </p:nvSpPr>
            <p:spPr>
              <a:xfrm>
                <a:off x="10523438" y="4556025"/>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04" name="任意多边形: 形状 303">
                <a:extLst>
                  <a:ext uri="{FF2B5EF4-FFF2-40B4-BE49-F238E27FC236}">
                    <a16:creationId xmlns:a16="http://schemas.microsoft.com/office/drawing/2014/main" id="{D6DAF891-E5CB-4745-8B15-FCEEF5EE9FB9}"/>
                  </a:ext>
                </a:extLst>
              </p:cNvPr>
              <p:cNvSpPr/>
              <p:nvPr/>
            </p:nvSpPr>
            <p:spPr>
              <a:xfrm>
                <a:off x="10795878" y="4556025"/>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305" name="任意多边形: 形状 304">
                <a:extLst>
                  <a:ext uri="{FF2B5EF4-FFF2-40B4-BE49-F238E27FC236}">
                    <a16:creationId xmlns:a16="http://schemas.microsoft.com/office/drawing/2014/main" id="{90489FA2-C4FD-4953-82FF-18CDDAE74310}"/>
                  </a:ext>
                </a:extLst>
              </p:cNvPr>
              <p:cNvSpPr/>
              <p:nvPr/>
            </p:nvSpPr>
            <p:spPr>
              <a:xfrm>
                <a:off x="10523438" y="4685759"/>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06" name="任意多边形: 形状 305">
                <a:extLst>
                  <a:ext uri="{FF2B5EF4-FFF2-40B4-BE49-F238E27FC236}">
                    <a16:creationId xmlns:a16="http://schemas.microsoft.com/office/drawing/2014/main" id="{36A21690-635C-49EA-BDCC-08E6CB75203C}"/>
                  </a:ext>
                </a:extLst>
              </p:cNvPr>
              <p:cNvSpPr/>
              <p:nvPr/>
            </p:nvSpPr>
            <p:spPr>
              <a:xfrm>
                <a:off x="10523438" y="4815493"/>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07" name="任意多边形: 形状 306">
                <a:extLst>
                  <a:ext uri="{FF2B5EF4-FFF2-40B4-BE49-F238E27FC236}">
                    <a16:creationId xmlns:a16="http://schemas.microsoft.com/office/drawing/2014/main" id="{8B90D7F5-B577-419F-8773-CD65DC4516C2}"/>
                  </a:ext>
                </a:extLst>
              </p:cNvPr>
              <p:cNvSpPr/>
              <p:nvPr/>
            </p:nvSpPr>
            <p:spPr>
              <a:xfrm>
                <a:off x="10795878" y="4815493"/>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308" name="任意多边形: 形状 307">
                <a:extLst>
                  <a:ext uri="{FF2B5EF4-FFF2-40B4-BE49-F238E27FC236}">
                    <a16:creationId xmlns:a16="http://schemas.microsoft.com/office/drawing/2014/main" id="{8A66965A-D53D-4308-9114-BE0916BB3C9E}"/>
                  </a:ext>
                </a:extLst>
              </p:cNvPr>
              <p:cNvSpPr/>
              <p:nvPr/>
            </p:nvSpPr>
            <p:spPr>
              <a:xfrm>
                <a:off x="10795878" y="4945226"/>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309" name="任意多边形: 形状 308">
                <a:extLst>
                  <a:ext uri="{FF2B5EF4-FFF2-40B4-BE49-F238E27FC236}">
                    <a16:creationId xmlns:a16="http://schemas.microsoft.com/office/drawing/2014/main" id="{F41A34C3-A90C-451B-B892-6EEA3A0588CB}"/>
                  </a:ext>
                </a:extLst>
              </p:cNvPr>
              <p:cNvSpPr/>
              <p:nvPr/>
            </p:nvSpPr>
            <p:spPr>
              <a:xfrm>
                <a:off x="10795878" y="5074960"/>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310" name="任意多边形: 形状 309">
                <a:extLst>
                  <a:ext uri="{FF2B5EF4-FFF2-40B4-BE49-F238E27FC236}">
                    <a16:creationId xmlns:a16="http://schemas.microsoft.com/office/drawing/2014/main" id="{A1D62C67-3896-4C20-A028-009BB02131C5}"/>
                  </a:ext>
                </a:extLst>
              </p:cNvPr>
              <p:cNvSpPr/>
              <p:nvPr/>
            </p:nvSpPr>
            <p:spPr>
              <a:xfrm>
                <a:off x="10523438" y="5074960"/>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11" name="任意多边形: 形状 310">
                <a:extLst>
                  <a:ext uri="{FF2B5EF4-FFF2-40B4-BE49-F238E27FC236}">
                    <a16:creationId xmlns:a16="http://schemas.microsoft.com/office/drawing/2014/main" id="{7CE2B959-6177-48A7-ACE6-8A9B74D5DCD7}"/>
                  </a:ext>
                </a:extLst>
              </p:cNvPr>
              <p:cNvSpPr/>
              <p:nvPr/>
            </p:nvSpPr>
            <p:spPr>
              <a:xfrm>
                <a:off x="10523438" y="5204694"/>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12" name="任意多边形: 形状 311">
                <a:extLst>
                  <a:ext uri="{FF2B5EF4-FFF2-40B4-BE49-F238E27FC236}">
                    <a16:creationId xmlns:a16="http://schemas.microsoft.com/office/drawing/2014/main" id="{0EEC3037-91F8-4D36-A62D-DFA08AA324A5}"/>
                  </a:ext>
                </a:extLst>
              </p:cNvPr>
              <p:cNvSpPr/>
              <p:nvPr/>
            </p:nvSpPr>
            <p:spPr>
              <a:xfrm>
                <a:off x="10523438" y="5334427"/>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13" name="任意多边形: 形状 312">
                <a:extLst>
                  <a:ext uri="{FF2B5EF4-FFF2-40B4-BE49-F238E27FC236}">
                    <a16:creationId xmlns:a16="http://schemas.microsoft.com/office/drawing/2014/main" id="{39EADB52-8786-4399-B11C-A43D6B84990F}"/>
                  </a:ext>
                </a:extLst>
              </p:cNvPr>
              <p:cNvSpPr/>
              <p:nvPr/>
            </p:nvSpPr>
            <p:spPr>
              <a:xfrm>
                <a:off x="10795878" y="5334427"/>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314" name="任意多边形: 形状 313">
                <a:extLst>
                  <a:ext uri="{FF2B5EF4-FFF2-40B4-BE49-F238E27FC236}">
                    <a16:creationId xmlns:a16="http://schemas.microsoft.com/office/drawing/2014/main" id="{8E4EB372-F724-4FDB-9CC1-3DFE6D9ADF1A}"/>
                  </a:ext>
                </a:extLst>
              </p:cNvPr>
              <p:cNvSpPr/>
              <p:nvPr/>
            </p:nvSpPr>
            <p:spPr>
              <a:xfrm>
                <a:off x="9179072" y="4791168"/>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15" name="任意多边形: 形状 314">
                <a:extLst>
                  <a:ext uri="{FF2B5EF4-FFF2-40B4-BE49-F238E27FC236}">
                    <a16:creationId xmlns:a16="http://schemas.microsoft.com/office/drawing/2014/main" id="{D6A3555C-B462-4343-9FB0-CF3E6FFF0302}"/>
                  </a:ext>
                </a:extLst>
              </p:cNvPr>
              <p:cNvSpPr/>
              <p:nvPr/>
            </p:nvSpPr>
            <p:spPr>
              <a:xfrm>
                <a:off x="9023392" y="4920901"/>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16" name="任意多边形: 形状 315">
                <a:extLst>
                  <a:ext uri="{FF2B5EF4-FFF2-40B4-BE49-F238E27FC236}">
                    <a16:creationId xmlns:a16="http://schemas.microsoft.com/office/drawing/2014/main" id="{65991CAF-45CB-43B0-BF2E-69F47BC0C3EB}"/>
                  </a:ext>
                </a:extLst>
              </p:cNvPr>
              <p:cNvSpPr/>
              <p:nvPr/>
            </p:nvSpPr>
            <p:spPr>
              <a:xfrm>
                <a:off x="9179072" y="5050635"/>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17" name="任意多边形: 形状 316">
                <a:extLst>
                  <a:ext uri="{FF2B5EF4-FFF2-40B4-BE49-F238E27FC236}">
                    <a16:creationId xmlns:a16="http://schemas.microsoft.com/office/drawing/2014/main" id="{A00DDDFE-DE8A-40AD-BB96-BFE59BC36551}"/>
                  </a:ext>
                </a:extLst>
              </p:cNvPr>
              <p:cNvSpPr/>
              <p:nvPr/>
            </p:nvSpPr>
            <p:spPr>
              <a:xfrm>
                <a:off x="9023392" y="5050635"/>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18" name="任意多边形: 形状 317">
                <a:extLst>
                  <a:ext uri="{FF2B5EF4-FFF2-40B4-BE49-F238E27FC236}">
                    <a16:creationId xmlns:a16="http://schemas.microsoft.com/office/drawing/2014/main" id="{3112560F-F3D3-4CA6-BBA0-DF6780F0F8C1}"/>
                  </a:ext>
                </a:extLst>
              </p:cNvPr>
              <p:cNvSpPr/>
              <p:nvPr/>
            </p:nvSpPr>
            <p:spPr>
              <a:xfrm>
                <a:off x="9179072" y="5180369"/>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19" name="任意多边形: 形状 318">
                <a:extLst>
                  <a:ext uri="{FF2B5EF4-FFF2-40B4-BE49-F238E27FC236}">
                    <a16:creationId xmlns:a16="http://schemas.microsoft.com/office/drawing/2014/main" id="{63415075-873D-497C-BF9B-BBE5B26B1A92}"/>
                  </a:ext>
                </a:extLst>
              </p:cNvPr>
              <p:cNvSpPr/>
              <p:nvPr/>
            </p:nvSpPr>
            <p:spPr>
              <a:xfrm>
                <a:off x="9023392" y="5180369"/>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20" name="任意多边形: 形状 319">
                <a:extLst>
                  <a:ext uri="{FF2B5EF4-FFF2-40B4-BE49-F238E27FC236}">
                    <a16:creationId xmlns:a16="http://schemas.microsoft.com/office/drawing/2014/main" id="{4966FB8B-537E-4C88-9F19-8EE976DD4698}"/>
                  </a:ext>
                </a:extLst>
              </p:cNvPr>
              <p:cNvSpPr/>
              <p:nvPr/>
            </p:nvSpPr>
            <p:spPr>
              <a:xfrm>
                <a:off x="9023392" y="5310102"/>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21" name="任意多边形: 形状 320">
                <a:extLst>
                  <a:ext uri="{FF2B5EF4-FFF2-40B4-BE49-F238E27FC236}">
                    <a16:creationId xmlns:a16="http://schemas.microsoft.com/office/drawing/2014/main" id="{929DF726-5706-4055-966A-2978E41A726D}"/>
                  </a:ext>
                </a:extLst>
              </p:cNvPr>
              <p:cNvSpPr/>
              <p:nvPr/>
            </p:nvSpPr>
            <p:spPr>
              <a:xfrm>
                <a:off x="9179072" y="5439836"/>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22" name="任意多边形: 形状 321">
                <a:extLst>
                  <a:ext uri="{FF2B5EF4-FFF2-40B4-BE49-F238E27FC236}">
                    <a16:creationId xmlns:a16="http://schemas.microsoft.com/office/drawing/2014/main" id="{1844AD5D-F8B2-4672-B040-C499E7B864A9}"/>
                  </a:ext>
                </a:extLst>
              </p:cNvPr>
              <p:cNvSpPr/>
              <p:nvPr/>
            </p:nvSpPr>
            <p:spPr>
              <a:xfrm>
                <a:off x="9023392" y="5439836"/>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23" name="任意多边形: 形状 322">
                <a:extLst>
                  <a:ext uri="{FF2B5EF4-FFF2-40B4-BE49-F238E27FC236}">
                    <a16:creationId xmlns:a16="http://schemas.microsoft.com/office/drawing/2014/main" id="{589DD8FE-8B4B-416E-A0C9-AB7AC39830A8}"/>
                  </a:ext>
                </a:extLst>
              </p:cNvPr>
              <p:cNvSpPr/>
              <p:nvPr/>
            </p:nvSpPr>
            <p:spPr>
              <a:xfrm>
                <a:off x="8870955" y="4791168"/>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24" name="任意多边形: 形状 323">
                <a:extLst>
                  <a:ext uri="{FF2B5EF4-FFF2-40B4-BE49-F238E27FC236}">
                    <a16:creationId xmlns:a16="http://schemas.microsoft.com/office/drawing/2014/main" id="{4DF6354B-2488-44CC-B9FD-CDF01F651140}"/>
                  </a:ext>
                </a:extLst>
              </p:cNvPr>
              <p:cNvSpPr/>
              <p:nvPr/>
            </p:nvSpPr>
            <p:spPr>
              <a:xfrm>
                <a:off x="8870955" y="4920901"/>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25" name="任意多边形: 形状 324">
                <a:extLst>
                  <a:ext uri="{FF2B5EF4-FFF2-40B4-BE49-F238E27FC236}">
                    <a16:creationId xmlns:a16="http://schemas.microsoft.com/office/drawing/2014/main" id="{3184D89B-CAFF-4BCE-8AC7-87345A842651}"/>
                  </a:ext>
                </a:extLst>
              </p:cNvPr>
              <p:cNvSpPr/>
              <p:nvPr/>
            </p:nvSpPr>
            <p:spPr>
              <a:xfrm>
                <a:off x="8870955" y="5180369"/>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26" name="任意多边形: 形状 325">
                <a:extLst>
                  <a:ext uri="{FF2B5EF4-FFF2-40B4-BE49-F238E27FC236}">
                    <a16:creationId xmlns:a16="http://schemas.microsoft.com/office/drawing/2014/main" id="{7E82EB03-8280-497B-889A-4FB799E1D229}"/>
                  </a:ext>
                </a:extLst>
              </p:cNvPr>
              <p:cNvSpPr/>
              <p:nvPr/>
            </p:nvSpPr>
            <p:spPr>
              <a:xfrm>
                <a:off x="8870955" y="5310102"/>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27" name="任意多边形: 形状 326">
                <a:extLst>
                  <a:ext uri="{FF2B5EF4-FFF2-40B4-BE49-F238E27FC236}">
                    <a16:creationId xmlns:a16="http://schemas.microsoft.com/office/drawing/2014/main" id="{6B0CEA5D-550A-4E32-9DDD-8C42B1173C34}"/>
                  </a:ext>
                </a:extLst>
              </p:cNvPr>
              <p:cNvSpPr/>
              <p:nvPr/>
            </p:nvSpPr>
            <p:spPr>
              <a:xfrm>
                <a:off x="8870955" y="5439836"/>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28" name="任意多边形: 形状 327">
                <a:extLst>
                  <a:ext uri="{FF2B5EF4-FFF2-40B4-BE49-F238E27FC236}">
                    <a16:creationId xmlns:a16="http://schemas.microsoft.com/office/drawing/2014/main" id="{05F67475-F8D5-4EEB-8FA9-21A6F7859FA5}"/>
                  </a:ext>
                </a:extLst>
              </p:cNvPr>
              <p:cNvSpPr/>
              <p:nvPr/>
            </p:nvSpPr>
            <p:spPr>
              <a:xfrm>
                <a:off x="9023392" y="5569570"/>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329" name="任意多边形: 形状 328">
                <a:extLst>
                  <a:ext uri="{FF2B5EF4-FFF2-40B4-BE49-F238E27FC236}">
                    <a16:creationId xmlns:a16="http://schemas.microsoft.com/office/drawing/2014/main" id="{46AFDF65-173E-4B84-93EE-EE8F2896264D}"/>
                  </a:ext>
                </a:extLst>
              </p:cNvPr>
              <p:cNvSpPr/>
              <p:nvPr/>
            </p:nvSpPr>
            <p:spPr>
              <a:xfrm>
                <a:off x="5455716" y="4693867"/>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330" name="任意多边形: 形状 329">
                <a:extLst>
                  <a:ext uri="{FF2B5EF4-FFF2-40B4-BE49-F238E27FC236}">
                    <a16:creationId xmlns:a16="http://schemas.microsoft.com/office/drawing/2014/main" id="{9A32A32C-78C5-4626-92E6-B151F8D39EF2}"/>
                  </a:ext>
                </a:extLst>
              </p:cNvPr>
              <p:cNvSpPr/>
              <p:nvPr/>
            </p:nvSpPr>
            <p:spPr>
              <a:xfrm>
                <a:off x="5682750" y="4693867"/>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331" name="任意多边形: 形状 330">
                <a:extLst>
                  <a:ext uri="{FF2B5EF4-FFF2-40B4-BE49-F238E27FC236}">
                    <a16:creationId xmlns:a16="http://schemas.microsoft.com/office/drawing/2014/main" id="{B1DBC19D-B7CE-410C-B50D-37926B7679A5}"/>
                  </a:ext>
                </a:extLst>
              </p:cNvPr>
              <p:cNvSpPr/>
              <p:nvPr/>
            </p:nvSpPr>
            <p:spPr>
              <a:xfrm>
                <a:off x="5796267" y="4693867"/>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332" name="任意多边形: 形状 331">
                <a:extLst>
                  <a:ext uri="{FF2B5EF4-FFF2-40B4-BE49-F238E27FC236}">
                    <a16:creationId xmlns:a16="http://schemas.microsoft.com/office/drawing/2014/main" id="{ADFB4731-564E-48B2-95BD-C3846A0FE69D}"/>
                  </a:ext>
                </a:extLst>
              </p:cNvPr>
              <p:cNvSpPr/>
              <p:nvPr/>
            </p:nvSpPr>
            <p:spPr>
              <a:xfrm>
                <a:off x="5455716" y="4969551"/>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333" name="任意多边形: 形状 332">
                <a:extLst>
                  <a:ext uri="{FF2B5EF4-FFF2-40B4-BE49-F238E27FC236}">
                    <a16:creationId xmlns:a16="http://schemas.microsoft.com/office/drawing/2014/main" id="{EF631396-33A4-46A3-B277-7ECFEC4BA71F}"/>
                  </a:ext>
                </a:extLst>
              </p:cNvPr>
              <p:cNvSpPr/>
              <p:nvPr/>
            </p:nvSpPr>
            <p:spPr>
              <a:xfrm>
                <a:off x="5569233" y="4969551"/>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334" name="任意多边形: 形状 333">
                <a:extLst>
                  <a:ext uri="{FF2B5EF4-FFF2-40B4-BE49-F238E27FC236}">
                    <a16:creationId xmlns:a16="http://schemas.microsoft.com/office/drawing/2014/main" id="{F26454B3-DB87-464F-A762-2998150691F3}"/>
                  </a:ext>
                </a:extLst>
              </p:cNvPr>
              <p:cNvSpPr/>
              <p:nvPr/>
            </p:nvSpPr>
            <p:spPr>
              <a:xfrm>
                <a:off x="5796267" y="4969551"/>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335" name="任意多边形: 形状 334">
                <a:extLst>
                  <a:ext uri="{FF2B5EF4-FFF2-40B4-BE49-F238E27FC236}">
                    <a16:creationId xmlns:a16="http://schemas.microsoft.com/office/drawing/2014/main" id="{3C768ADA-7256-4A41-8424-E95B97B739B9}"/>
                  </a:ext>
                </a:extLst>
              </p:cNvPr>
              <p:cNvSpPr/>
              <p:nvPr/>
            </p:nvSpPr>
            <p:spPr>
              <a:xfrm>
                <a:off x="5455716" y="5245235"/>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336" name="任意多边形: 形状 335">
                <a:extLst>
                  <a:ext uri="{FF2B5EF4-FFF2-40B4-BE49-F238E27FC236}">
                    <a16:creationId xmlns:a16="http://schemas.microsoft.com/office/drawing/2014/main" id="{8C3DE6C0-1E0F-446F-8640-665B5B8F4B6E}"/>
                  </a:ext>
                </a:extLst>
              </p:cNvPr>
              <p:cNvSpPr/>
              <p:nvPr/>
            </p:nvSpPr>
            <p:spPr>
              <a:xfrm>
                <a:off x="5682750" y="5245235"/>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337" name="任意多边形: 形状 336">
                <a:extLst>
                  <a:ext uri="{FF2B5EF4-FFF2-40B4-BE49-F238E27FC236}">
                    <a16:creationId xmlns:a16="http://schemas.microsoft.com/office/drawing/2014/main" id="{FD0A45E7-4EB0-48D6-915A-A64265142892}"/>
                  </a:ext>
                </a:extLst>
              </p:cNvPr>
              <p:cNvSpPr/>
              <p:nvPr/>
            </p:nvSpPr>
            <p:spPr>
              <a:xfrm>
                <a:off x="5796267" y="5245235"/>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338" name="任意多边形: 形状 337">
                <a:extLst>
                  <a:ext uri="{FF2B5EF4-FFF2-40B4-BE49-F238E27FC236}">
                    <a16:creationId xmlns:a16="http://schemas.microsoft.com/office/drawing/2014/main" id="{42EBF884-1D59-4DE6-B307-4E422D8D0E1E}"/>
                  </a:ext>
                </a:extLst>
              </p:cNvPr>
              <p:cNvSpPr/>
              <p:nvPr/>
            </p:nvSpPr>
            <p:spPr>
              <a:xfrm>
                <a:off x="9740171" y="4774951"/>
                <a:ext cx="356768" cy="308117"/>
              </a:xfrm>
              <a:custGeom>
                <a:avLst/>
                <a:gdLst/>
                <a:ahLst/>
                <a:cxnLst/>
                <a:rect l="0" t="0" r="0" b="0"/>
                <a:pathLst>
                  <a:path w="356767" h="308117">
                    <a:moveTo>
                      <a:pt x="291090" y="12163"/>
                    </a:moveTo>
                    <a:lnTo>
                      <a:pt x="72164" y="12163"/>
                    </a:lnTo>
                    <a:lnTo>
                      <a:pt x="12163" y="304063"/>
                    </a:lnTo>
                    <a:lnTo>
                      <a:pt x="354335" y="304063"/>
                    </a:lnTo>
                    <a:close/>
                  </a:path>
                </a:pathLst>
              </a:custGeom>
              <a:solidFill>
                <a:srgbClr val="1B1E2D"/>
              </a:solidFill>
              <a:ln w="9525" cap="flat">
                <a:noFill/>
                <a:prstDash val="solid"/>
                <a:miter/>
              </a:ln>
            </p:spPr>
            <p:txBody>
              <a:bodyPr anchor="ctr"/>
              <a:lstStyle/>
              <a:p>
                <a:pPr algn="ctr"/>
                <a:endParaRPr/>
              </a:p>
            </p:txBody>
          </p:sp>
          <p:sp>
            <p:nvSpPr>
              <p:cNvPr id="339" name="任意多边形: 形状 338">
                <a:extLst>
                  <a:ext uri="{FF2B5EF4-FFF2-40B4-BE49-F238E27FC236}">
                    <a16:creationId xmlns:a16="http://schemas.microsoft.com/office/drawing/2014/main" id="{7C936A1B-D651-44DC-B3D0-1293931AF50A}"/>
                  </a:ext>
                </a:extLst>
              </p:cNvPr>
              <p:cNvSpPr/>
              <p:nvPr/>
            </p:nvSpPr>
            <p:spPr>
              <a:xfrm>
                <a:off x="9813146" y="4353316"/>
                <a:ext cx="210817" cy="372984"/>
              </a:xfrm>
              <a:custGeom>
                <a:avLst/>
                <a:gdLst/>
                <a:ahLst/>
                <a:cxnLst/>
                <a:rect l="0" t="0" r="0" b="0"/>
                <a:pathLst>
                  <a:path w="210817" h="372984">
                    <a:moveTo>
                      <a:pt x="203520" y="368930"/>
                    </a:moveTo>
                    <a:lnTo>
                      <a:pt x="127301" y="12163"/>
                    </a:lnTo>
                    <a:lnTo>
                      <a:pt x="86759" y="12163"/>
                    </a:lnTo>
                    <a:lnTo>
                      <a:pt x="12163" y="368930"/>
                    </a:lnTo>
                    <a:close/>
                  </a:path>
                </a:pathLst>
              </a:custGeom>
              <a:solidFill>
                <a:srgbClr val="1B1E2D"/>
              </a:solidFill>
              <a:ln w="9525" cap="flat">
                <a:noFill/>
                <a:prstDash val="solid"/>
                <a:miter/>
              </a:ln>
            </p:spPr>
            <p:txBody>
              <a:bodyPr anchor="ctr"/>
              <a:lstStyle/>
              <a:p>
                <a:pPr algn="ctr"/>
                <a:endParaRPr/>
              </a:p>
            </p:txBody>
          </p:sp>
        </p:grpSp>
      </p:grpSp>
      <p:cxnSp>
        <p:nvCxnSpPr>
          <p:cNvPr id="340" name="直接连接符 339">
            <a:extLst>
              <a:ext uri="{FF2B5EF4-FFF2-40B4-BE49-F238E27FC236}">
                <a16:creationId xmlns:a16="http://schemas.microsoft.com/office/drawing/2014/main" id="{8D91C4E1-6D58-49D6-99EE-AA44AAD0F852}"/>
              </a:ext>
            </a:extLst>
          </p:cNvPr>
          <p:cNvCxnSpPr>
            <a:cxnSpLocks/>
          </p:cNvCxnSpPr>
          <p:nvPr userDrawn="1"/>
        </p:nvCxnSpPr>
        <p:spPr>
          <a:xfrm>
            <a:off x="673099" y="3408261"/>
            <a:ext cx="10845802" cy="0"/>
          </a:xfrm>
          <a:prstGeom prst="line">
            <a:avLst/>
          </a:prstGeom>
          <a:ln w="19050">
            <a:solidFill>
              <a:srgbClr val="8D754B"/>
            </a:solidFill>
          </a:ln>
        </p:spPr>
        <p:style>
          <a:lnRef idx="1">
            <a:schemeClr val="accent1"/>
          </a:lnRef>
          <a:fillRef idx="0">
            <a:schemeClr val="accent1"/>
          </a:fillRef>
          <a:effectRef idx="0">
            <a:schemeClr val="accent1"/>
          </a:effectRef>
          <a:fontRef idx="minor">
            <a:schemeClr val="tx1"/>
          </a:fontRef>
        </p:style>
      </p:cxnSp>
      <p:cxnSp>
        <p:nvCxnSpPr>
          <p:cNvPr id="341" name="直接连接符 340">
            <a:extLst>
              <a:ext uri="{FF2B5EF4-FFF2-40B4-BE49-F238E27FC236}">
                <a16:creationId xmlns:a16="http://schemas.microsoft.com/office/drawing/2014/main" id="{0548B903-DDEF-4F97-B43B-ECE52BF674CB}"/>
              </a:ext>
            </a:extLst>
          </p:cNvPr>
          <p:cNvCxnSpPr>
            <a:cxnSpLocks/>
          </p:cNvCxnSpPr>
          <p:nvPr userDrawn="1"/>
        </p:nvCxnSpPr>
        <p:spPr>
          <a:xfrm>
            <a:off x="673099" y="4617345"/>
            <a:ext cx="10845802" cy="0"/>
          </a:xfrm>
          <a:prstGeom prst="line">
            <a:avLst/>
          </a:prstGeom>
          <a:ln w="19050">
            <a:solidFill>
              <a:srgbClr val="8D754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transition spd="med">
    <p:pull/>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t>2025/10/31</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OfficePLUS</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transition spd="med">
    <p:pull/>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194" name="矩形 193">
            <a:extLst>
              <a:ext uri="{FF2B5EF4-FFF2-40B4-BE49-F238E27FC236}">
                <a16:creationId xmlns:a16="http://schemas.microsoft.com/office/drawing/2014/main" id="{B3A51DA2-A05F-49C5-A5EF-0BADBB0B72CC}"/>
              </a:ext>
            </a:extLst>
          </p:cNvPr>
          <p:cNvSpPr/>
          <p:nvPr userDrawn="1"/>
        </p:nvSpPr>
        <p:spPr>
          <a:xfrm>
            <a:off x="0" y="2025650"/>
            <a:ext cx="12192000" cy="3573894"/>
          </a:xfrm>
          <a:prstGeom prst="rect">
            <a:avLst/>
          </a:prstGeom>
          <a:solidFill>
            <a:srgbClr val="1B1E2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9"/>
          <p:cNvSpPr>
            <a:spLocks noGrp="1"/>
          </p:cNvSpPr>
          <p:nvPr userDrawn="1">
            <p:ph type="title"/>
          </p:nvPr>
        </p:nvSpPr>
        <p:spPr>
          <a:xfrm>
            <a:off x="2431962" y="2755372"/>
            <a:ext cx="5419185" cy="895350"/>
          </a:xfr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2433078" y="3650722"/>
            <a:ext cx="5419185" cy="1015623"/>
          </a:xfrm>
        </p:spPr>
        <p:txBody>
          <a:bodyPr anchor="t">
            <a:normAutofit/>
          </a:bodyPr>
          <a:lstStyle>
            <a:lvl1pPr marL="0" indent="0" algn="l">
              <a:lnSpc>
                <a:spcPct val="150000"/>
              </a:lnSpc>
              <a:spcBef>
                <a:spcPts val="0"/>
              </a:spcBef>
              <a:buNone/>
              <a:defRPr sz="1100">
                <a:solidFill>
                  <a:schemeClr val="accent3"/>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10" name="任意多边形: 形状 9">
            <a:extLst>
              <a:ext uri="{FF2B5EF4-FFF2-40B4-BE49-F238E27FC236}">
                <a16:creationId xmlns:a16="http://schemas.microsoft.com/office/drawing/2014/main" id="{87F1F4E1-ACAF-4AB1-9B7E-185C043A56F8}"/>
              </a:ext>
            </a:extLst>
          </p:cNvPr>
          <p:cNvSpPr/>
          <p:nvPr userDrawn="1"/>
        </p:nvSpPr>
        <p:spPr>
          <a:xfrm flipV="1">
            <a:off x="0" y="5492168"/>
            <a:ext cx="12192000" cy="148561"/>
          </a:xfrm>
          <a:custGeom>
            <a:avLst/>
            <a:gdLst/>
            <a:ahLst/>
            <a:cxnLst/>
            <a:rect l="0" t="0" r="0" b="0"/>
            <a:pathLst>
              <a:path w="10865194" h="162167">
                <a:moveTo>
                  <a:pt x="12163" y="12163"/>
                </a:moveTo>
                <a:lnTo>
                  <a:pt x="10861141" y="12163"/>
                </a:lnTo>
                <a:lnTo>
                  <a:pt x="10861141" y="158113"/>
                </a:lnTo>
                <a:lnTo>
                  <a:pt x="12163" y="158113"/>
                </a:lnTo>
                <a:close/>
              </a:path>
            </a:pathLst>
          </a:custGeom>
          <a:solidFill>
            <a:srgbClr val="8D754B"/>
          </a:solidFill>
          <a:ln w="9525" cap="flat">
            <a:noFill/>
            <a:prstDash val="solid"/>
            <a:miter/>
          </a:ln>
        </p:spPr>
        <p:txBody>
          <a:bodyPr anchor="ctr"/>
          <a:lstStyle/>
          <a:p>
            <a:pPr algn="ctr"/>
            <a:endParaRPr/>
          </a:p>
        </p:txBody>
      </p:sp>
      <p:grpSp>
        <p:nvGrpSpPr>
          <p:cNvPr id="11" name="组合 10">
            <a:extLst>
              <a:ext uri="{FF2B5EF4-FFF2-40B4-BE49-F238E27FC236}">
                <a16:creationId xmlns:a16="http://schemas.microsoft.com/office/drawing/2014/main" id="{8CFF08D8-E60C-43D9-8363-11C21CBA289D}"/>
              </a:ext>
            </a:extLst>
          </p:cNvPr>
          <p:cNvGrpSpPr/>
          <p:nvPr userDrawn="1"/>
        </p:nvGrpSpPr>
        <p:grpSpPr>
          <a:xfrm>
            <a:off x="6337300" y="4119437"/>
            <a:ext cx="5124451" cy="1462383"/>
            <a:chOff x="5374633" y="3570049"/>
            <a:chExt cx="7711044" cy="2331963"/>
          </a:xfrm>
        </p:grpSpPr>
        <p:sp>
          <p:nvSpPr>
            <p:cNvPr id="12" name="任意多边形: 形状 11">
              <a:extLst>
                <a:ext uri="{FF2B5EF4-FFF2-40B4-BE49-F238E27FC236}">
                  <a16:creationId xmlns:a16="http://schemas.microsoft.com/office/drawing/2014/main" id="{5A306598-BEE1-48F6-AF96-26977B222F42}"/>
                </a:ext>
              </a:extLst>
            </p:cNvPr>
            <p:cNvSpPr/>
            <p:nvPr/>
          </p:nvSpPr>
          <p:spPr>
            <a:xfrm>
              <a:off x="8090931" y="4184663"/>
              <a:ext cx="616235" cy="1605454"/>
            </a:xfrm>
            <a:custGeom>
              <a:avLst/>
              <a:gdLst/>
              <a:ahLst/>
              <a:cxnLst/>
              <a:rect l="0" t="0" r="0" b="0"/>
              <a:pathLst>
                <a:path w="616234" h="1605454">
                  <a:moveTo>
                    <a:pt x="12163" y="12163"/>
                  </a:moveTo>
                  <a:lnTo>
                    <a:pt x="608937" y="12163"/>
                  </a:lnTo>
                  <a:lnTo>
                    <a:pt x="608937" y="1607887"/>
                  </a:lnTo>
                  <a:lnTo>
                    <a:pt x="12163" y="1607887"/>
                  </a:lnTo>
                  <a:close/>
                </a:path>
              </a:pathLst>
            </a:custGeom>
            <a:solidFill>
              <a:srgbClr val="8D754B"/>
            </a:solidFill>
            <a:ln w="9525" cap="flat">
              <a:noFill/>
              <a:prstDash val="solid"/>
              <a:miter/>
            </a:ln>
          </p:spPr>
          <p:txBody>
            <a:bodyPr anchor="ctr"/>
            <a:lstStyle/>
            <a:p>
              <a:pPr algn="ctr"/>
              <a:endParaRPr/>
            </a:p>
          </p:txBody>
        </p:sp>
        <p:sp>
          <p:nvSpPr>
            <p:cNvPr id="13" name="任意多边形: 形状 12">
              <a:extLst>
                <a:ext uri="{FF2B5EF4-FFF2-40B4-BE49-F238E27FC236}">
                  <a16:creationId xmlns:a16="http://schemas.microsoft.com/office/drawing/2014/main" id="{9015D86F-84A8-4F9F-B943-E4B4D36EA972}"/>
                </a:ext>
              </a:extLst>
            </p:cNvPr>
            <p:cNvSpPr/>
            <p:nvPr/>
          </p:nvSpPr>
          <p:spPr>
            <a:xfrm>
              <a:off x="6063843" y="4045199"/>
              <a:ext cx="583802" cy="1751405"/>
            </a:xfrm>
            <a:custGeom>
              <a:avLst/>
              <a:gdLst/>
              <a:ahLst/>
              <a:cxnLst/>
              <a:rect l="0" t="0" r="0" b="0"/>
              <a:pathLst>
                <a:path w="583801" h="1751404">
                  <a:moveTo>
                    <a:pt x="12163" y="12163"/>
                  </a:moveTo>
                  <a:lnTo>
                    <a:pt x="579747" y="12163"/>
                  </a:lnTo>
                  <a:lnTo>
                    <a:pt x="579747" y="1748972"/>
                  </a:lnTo>
                  <a:lnTo>
                    <a:pt x="12163" y="1748972"/>
                  </a:lnTo>
                  <a:close/>
                </a:path>
              </a:pathLst>
            </a:custGeom>
            <a:solidFill>
              <a:srgbClr val="8D754B"/>
            </a:solidFill>
            <a:ln w="9525" cap="flat">
              <a:noFill/>
              <a:prstDash val="solid"/>
              <a:miter/>
            </a:ln>
          </p:spPr>
          <p:txBody>
            <a:bodyPr anchor="ctr"/>
            <a:lstStyle/>
            <a:p>
              <a:pPr algn="ctr"/>
              <a:endParaRPr/>
            </a:p>
          </p:txBody>
        </p:sp>
        <p:sp>
          <p:nvSpPr>
            <p:cNvPr id="14" name="任意多边形: 形状 13">
              <a:extLst>
                <a:ext uri="{FF2B5EF4-FFF2-40B4-BE49-F238E27FC236}">
                  <a16:creationId xmlns:a16="http://schemas.microsoft.com/office/drawing/2014/main" id="{AA2D67E4-E1D0-4331-BD97-0E890CA0FC52}"/>
                </a:ext>
              </a:extLst>
            </p:cNvPr>
            <p:cNvSpPr/>
            <p:nvPr/>
          </p:nvSpPr>
          <p:spPr>
            <a:xfrm>
              <a:off x="11786719" y="3570049"/>
              <a:ext cx="583802" cy="2221689"/>
            </a:xfrm>
            <a:custGeom>
              <a:avLst/>
              <a:gdLst/>
              <a:ahLst/>
              <a:cxnLst/>
              <a:rect l="0" t="0" r="0" b="0"/>
              <a:pathLst>
                <a:path w="583801" h="2221689">
                  <a:moveTo>
                    <a:pt x="574882" y="2222500"/>
                  </a:moveTo>
                  <a:lnTo>
                    <a:pt x="574882" y="219736"/>
                  </a:lnTo>
                  <a:lnTo>
                    <a:pt x="12163" y="12163"/>
                  </a:lnTo>
                  <a:lnTo>
                    <a:pt x="12163" y="2222500"/>
                  </a:lnTo>
                  <a:close/>
                </a:path>
              </a:pathLst>
            </a:custGeom>
            <a:solidFill>
              <a:srgbClr val="8D754B"/>
            </a:solidFill>
            <a:ln w="9525" cap="flat">
              <a:noFill/>
              <a:prstDash val="solid"/>
              <a:miter/>
            </a:ln>
          </p:spPr>
          <p:txBody>
            <a:bodyPr anchor="ctr"/>
            <a:lstStyle/>
            <a:p>
              <a:pPr algn="ctr"/>
              <a:endParaRPr/>
            </a:p>
          </p:txBody>
        </p:sp>
        <p:sp>
          <p:nvSpPr>
            <p:cNvPr id="15" name="任意多边形: 形状 14">
              <a:extLst>
                <a:ext uri="{FF2B5EF4-FFF2-40B4-BE49-F238E27FC236}">
                  <a16:creationId xmlns:a16="http://schemas.microsoft.com/office/drawing/2014/main" id="{4DA47D61-8234-417D-A4CB-B5984CB4BED8}"/>
                </a:ext>
              </a:extLst>
            </p:cNvPr>
            <p:cNvSpPr/>
            <p:nvPr/>
          </p:nvSpPr>
          <p:spPr>
            <a:xfrm>
              <a:off x="7247662" y="3806813"/>
              <a:ext cx="778402" cy="2027089"/>
            </a:xfrm>
            <a:custGeom>
              <a:avLst/>
              <a:gdLst/>
              <a:ahLst/>
              <a:cxnLst/>
              <a:rect l="0" t="0" r="0" b="0"/>
              <a:pathLst>
                <a:path w="778402" h="2027088">
                  <a:moveTo>
                    <a:pt x="12163" y="12163"/>
                  </a:moveTo>
                  <a:lnTo>
                    <a:pt x="771104" y="12163"/>
                  </a:lnTo>
                  <a:lnTo>
                    <a:pt x="771104" y="2018169"/>
                  </a:lnTo>
                  <a:lnTo>
                    <a:pt x="12162" y="2018169"/>
                  </a:lnTo>
                  <a:close/>
                </a:path>
              </a:pathLst>
            </a:custGeom>
            <a:solidFill>
              <a:srgbClr val="8D754B"/>
            </a:solidFill>
            <a:ln w="9525" cap="flat">
              <a:noFill/>
              <a:prstDash val="solid"/>
              <a:miter/>
            </a:ln>
          </p:spPr>
          <p:txBody>
            <a:bodyPr anchor="ctr"/>
            <a:lstStyle/>
            <a:p>
              <a:pPr algn="ctr"/>
              <a:endParaRPr/>
            </a:p>
          </p:txBody>
        </p:sp>
        <p:sp>
          <p:nvSpPr>
            <p:cNvPr id="16" name="任意多边形: 形状 15">
              <a:extLst>
                <a:ext uri="{FF2B5EF4-FFF2-40B4-BE49-F238E27FC236}">
                  <a16:creationId xmlns:a16="http://schemas.microsoft.com/office/drawing/2014/main" id="{59B23513-C6EE-49D0-A6D6-E2D52CB8595F}"/>
                </a:ext>
              </a:extLst>
            </p:cNvPr>
            <p:cNvSpPr/>
            <p:nvPr/>
          </p:nvSpPr>
          <p:spPr>
            <a:xfrm>
              <a:off x="11139672" y="4653326"/>
              <a:ext cx="551368" cy="1151386"/>
            </a:xfrm>
            <a:custGeom>
              <a:avLst/>
              <a:gdLst/>
              <a:ahLst/>
              <a:cxnLst/>
              <a:rect l="0" t="0" r="0" b="0"/>
              <a:pathLst>
                <a:path w="551368" h="1151386">
                  <a:moveTo>
                    <a:pt x="12163" y="12163"/>
                  </a:moveTo>
                  <a:lnTo>
                    <a:pt x="547314" y="12163"/>
                  </a:lnTo>
                  <a:lnTo>
                    <a:pt x="547314" y="1139224"/>
                  </a:lnTo>
                  <a:lnTo>
                    <a:pt x="12163" y="1139224"/>
                  </a:lnTo>
                  <a:close/>
                </a:path>
              </a:pathLst>
            </a:custGeom>
            <a:solidFill>
              <a:srgbClr val="8D754B"/>
            </a:solidFill>
            <a:ln w="9525" cap="flat">
              <a:noFill/>
              <a:prstDash val="solid"/>
              <a:miter/>
            </a:ln>
          </p:spPr>
          <p:txBody>
            <a:bodyPr anchor="ctr"/>
            <a:lstStyle/>
            <a:p>
              <a:pPr algn="ctr"/>
              <a:endParaRPr/>
            </a:p>
          </p:txBody>
        </p:sp>
        <p:sp>
          <p:nvSpPr>
            <p:cNvPr id="17" name="任意多边形: 形状 16">
              <a:extLst>
                <a:ext uri="{FF2B5EF4-FFF2-40B4-BE49-F238E27FC236}">
                  <a16:creationId xmlns:a16="http://schemas.microsoft.com/office/drawing/2014/main" id="{7E166395-A62F-4F1C-8037-A1C1811F23B9}"/>
                </a:ext>
              </a:extLst>
            </p:cNvPr>
            <p:cNvSpPr/>
            <p:nvPr/>
          </p:nvSpPr>
          <p:spPr>
            <a:xfrm>
              <a:off x="12437009" y="4556025"/>
              <a:ext cx="648668" cy="1281120"/>
            </a:xfrm>
            <a:custGeom>
              <a:avLst/>
              <a:gdLst/>
              <a:ahLst/>
              <a:cxnLst/>
              <a:rect l="0" t="0" r="0" b="0"/>
              <a:pathLst>
                <a:path w="648668" h="1281119">
                  <a:moveTo>
                    <a:pt x="12163" y="12163"/>
                  </a:moveTo>
                  <a:lnTo>
                    <a:pt x="644614" y="12163"/>
                  </a:lnTo>
                  <a:lnTo>
                    <a:pt x="644614" y="1268958"/>
                  </a:lnTo>
                  <a:lnTo>
                    <a:pt x="12163" y="1268958"/>
                  </a:lnTo>
                  <a:close/>
                </a:path>
              </a:pathLst>
            </a:custGeom>
            <a:solidFill>
              <a:srgbClr val="8D754B"/>
            </a:solidFill>
            <a:ln w="9525" cap="flat">
              <a:noFill/>
              <a:prstDash val="solid"/>
              <a:miter/>
            </a:ln>
          </p:spPr>
          <p:txBody>
            <a:bodyPr anchor="ctr"/>
            <a:lstStyle/>
            <a:p>
              <a:pPr algn="ctr"/>
              <a:endParaRPr/>
            </a:p>
          </p:txBody>
        </p:sp>
        <p:sp>
          <p:nvSpPr>
            <p:cNvPr id="18" name="任意多边形: 形状 17">
              <a:extLst>
                <a:ext uri="{FF2B5EF4-FFF2-40B4-BE49-F238E27FC236}">
                  <a16:creationId xmlns:a16="http://schemas.microsoft.com/office/drawing/2014/main" id="{4657A591-6951-439E-807E-588A821F8CA1}"/>
                </a:ext>
              </a:extLst>
            </p:cNvPr>
            <p:cNvSpPr/>
            <p:nvPr/>
          </p:nvSpPr>
          <p:spPr>
            <a:xfrm>
              <a:off x="10458571" y="4434400"/>
              <a:ext cx="600018" cy="1394637"/>
            </a:xfrm>
            <a:custGeom>
              <a:avLst/>
              <a:gdLst/>
              <a:ahLst/>
              <a:cxnLst/>
              <a:rect l="0" t="0" r="0" b="0"/>
              <a:pathLst>
                <a:path w="600018" h="1394636">
                  <a:moveTo>
                    <a:pt x="12163" y="12163"/>
                  </a:moveTo>
                  <a:lnTo>
                    <a:pt x="595964" y="12163"/>
                  </a:lnTo>
                  <a:lnTo>
                    <a:pt x="595964" y="1390583"/>
                  </a:lnTo>
                  <a:lnTo>
                    <a:pt x="12163" y="1390583"/>
                  </a:lnTo>
                  <a:close/>
                </a:path>
              </a:pathLst>
            </a:custGeom>
            <a:solidFill>
              <a:srgbClr val="8D754B"/>
            </a:solidFill>
            <a:ln w="9525" cap="flat">
              <a:noFill/>
              <a:prstDash val="solid"/>
              <a:miter/>
            </a:ln>
          </p:spPr>
          <p:txBody>
            <a:bodyPr anchor="ctr"/>
            <a:lstStyle/>
            <a:p>
              <a:pPr algn="ctr"/>
              <a:endParaRPr/>
            </a:p>
          </p:txBody>
        </p:sp>
        <p:sp>
          <p:nvSpPr>
            <p:cNvPr id="19" name="任意多边形: 形状 18">
              <a:extLst>
                <a:ext uri="{FF2B5EF4-FFF2-40B4-BE49-F238E27FC236}">
                  <a16:creationId xmlns:a16="http://schemas.microsoft.com/office/drawing/2014/main" id="{DF6933B6-EA47-4A62-8B87-2EC661A4992D}"/>
                </a:ext>
              </a:extLst>
            </p:cNvPr>
            <p:cNvSpPr/>
            <p:nvPr/>
          </p:nvSpPr>
          <p:spPr>
            <a:xfrm>
              <a:off x="8786628" y="4556025"/>
              <a:ext cx="600018" cy="1345987"/>
            </a:xfrm>
            <a:custGeom>
              <a:avLst/>
              <a:gdLst/>
              <a:ahLst/>
              <a:cxnLst/>
              <a:rect l="0" t="0" r="0" b="0"/>
              <a:pathLst>
                <a:path w="600018" h="1345986">
                  <a:moveTo>
                    <a:pt x="12162" y="12163"/>
                  </a:moveTo>
                  <a:lnTo>
                    <a:pt x="595964" y="12163"/>
                  </a:lnTo>
                  <a:lnTo>
                    <a:pt x="595964" y="1333824"/>
                  </a:lnTo>
                  <a:lnTo>
                    <a:pt x="12162" y="1333824"/>
                  </a:lnTo>
                  <a:close/>
                </a:path>
              </a:pathLst>
            </a:custGeom>
            <a:solidFill>
              <a:srgbClr val="8D754B"/>
            </a:solidFill>
            <a:ln w="9525" cap="flat">
              <a:noFill/>
              <a:prstDash val="solid"/>
              <a:miter/>
            </a:ln>
          </p:spPr>
          <p:txBody>
            <a:bodyPr anchor="ctr"/>
            <a:lstStyle/>
            <a:p>
              <a:pPr algn="ctr"/>
              <a:endParaRPr/>
            </a:p>
          </p:txBody>
        </p:sp>
        <p:sp>
          <p:nvSpPr>
            <p:cNvPr id="22" name="任意多边形: 形状 21">
              <a:extLst>
                <a:ext uri="{FF2B5EF4-FFF2-40B4-BE49-F238E27FC236}">
                  <a16:creationId xmlns:a16="http://schemas.microsoft.com/office/drawing/2014/main" id="{85CC2321-51AE-493B-A947-D235315975D8}"/>
                </a:ext>
              </a:extLst>
            </p:cNvPr>
            <p:cNvSpPr/>
            <p:nvPr/>
          </p:nvSpPr>
          <p:spPr>
            <a:xfrm>
              <a:off x="6715754" y="3673836"/>
              <a:ext cx="454068" cy="2189256"/>
            </a:xfrm>
            <a:custGeom>
              <a:avLst/>
              <a:gdLst/>
              <a:ahLst/>
              <a:cxnLst/>
              <a:rect l="0" t="0" r="0" b="0"/>
              <a:pathLst>
                <a:path w="454067" h="2189255">
                  <a:moveTo>
                    <a:pt x="451635" y="642993"/>
                  </a:moveTo>
                  <a:cubicBezTo>
                    <a:pt x="451635" y="558666"/>
                    <a:pt x="367309" y="490555"/>
                    <a:pt x="257035" y="482447"/>
                  </a:cubicBezTo>
                  <a:lnTo>
                    <a:pt x="257035" y="438662"/>
                  </a:lnTo>
                  <a:lnTo>
                    <a:pt x="255413" y="330010"/>
                  </a:lnTo>
                  <a:lnTo>
                    <a:pt x="250548" y="12163"/>
                  </a:lnTo>
                  <a:lnTo>
                    <a:pt x="218115" y="12163"/>
                  </a:lnTo>
                  <a:lnTo>
                    <a:pt x="214871" y="330010"/>
                  </a:lnTo>
                  <a:cubicBezTo>
                    <a:pt x="193790" y="338118"/>
                    <a:pt x="179195" y="359200"/>
                    <a:pt x="179195" y="385147"/>
                  </a:cubicBezTo>
                  <a:cubicBezTo>
                    <a:pt x="179195" y="409472"/>
                    <a:pt x="193790" y="430554"/>
                    <a:pt x="213250" y="438662"/>
                  </a:cubicBezTo>
                  <a:lnTo>
                    <a:pt x="213250" y="482447"/>
                  </a:lnTo>
                  <a:cubicBezTo>
                    <a:pt x="102976" y="490555"/>
                    <a:pt x="12163" y="560287"/>
                    <a:pt x="12163" y="642993"/>
                  </a:cubicBezTo>
                  <a:cubicBezTo>
                    <a:pt x="12163" y="706238"/>
                    <a:pt x="65678" y="761374"/>
                    <a:pt x="130545" y="788943"/>
                  </a:cubicBezTo>
                  <a:lnTo>
                    <a:pt x="130545" y="2183580"/>
                  </a:lnTo>
                  <a:lnTo>
                    <a:pt x="187303" y="2183580"/>
                  </a:lnTo>
                  <a:lnTo>
                    <a:pt x="284603" y="2183580"/>
                  </a:lnTo>
                  <a:lnTo>
                    <a:pt x="325145" y="2183580"/>
                  </a:lnTo>
                  <a:lnTo>
                    <a:pt x="325145" y="788943"/>
                  </a:lnTo>
                  <a:cubicBezTo>
                    <a:pt x="406229" y="762996"/>
                    <a:pt x="451635" y="707859"/>
                    <a:pt x="451635" y="642993"/>
                  </a:cubicBezTo>
                  <a:close/>
                </a:path>
              </a:pathLst>
            </a:custGeom>
            <a:solidFill>
              <a:srgbClr val="8D754B"/>
            </a:solidFill>
            <a:ln w="9525" cap="flat">
              <a:noFill/>
              <a:prstDash val="solid"/>
              <a:miter/>
            </a:ln>
          </p:spPr>
          <p:txBody>
            <a:bodyPr anchor="ctr"/>
            <a:lstStyle/>
            <a:p>
              <a:pPr algn="ctr"/>
              <a:endParaRPr/>
            </a:p>
          </p:txBody>
        </p:sp>
        <p:sp>
          <p:nvSpPr>
            <p:cNvPr id="23" name="任意多边形: 形状 22">
              <a:extLst>
                <a:ext uri="{FF2B5EF4-FFF2-40B4-BE49-F238E27FC236}">
                  <a16:creationId xmlns:a16="http://schemas.microsoft.com/office/drawing/2014/main" id="{C915410B-4EEE-42DD-BCCF-CC1C69078D82}"/>
                </a:ext>
              </a:extLst>
            </p:cNvPr>
            <p:cNvSpPr/>
            <p:nvPr/>
          </p:nvSpPr>
          <p:spPr>
            <a:xfrm>
              <a:off x="6960627" y="3990062"/>
              <a:ext cx="48650" cy="129734"/>
            </a:xfrm>
            <a:custGeom>
              <a:avLst/>
              <a:gdLst/>
              <a:ahLst/>
              <a:cxnLst/>
              <a:rect l="0" t="0" r="0" b="0"/>
              <a:pathLst>
                <a:path w="48650" h="129733">
                  <a:moveTo>
                    <a:pt x="47839" y="67299"/>
                  </a:moveTo>
                  <a:cubicBezTo>
                    <a:pt x="47839" y="42974"/>
                    <a:pt x="33244" y="21893"/>
                    <a:pt x="12163" y="12163"/>
                  </a:cubicBezTo>
                  <a:lnTo>
                    <a:pt x="13784" y="120814"/>
                  </a:lnTo>
                  <a:cubicBezTo>
                    <a:pt x="33244" y="112706"/>
                    <a:pt x="47839" y="91624"/>
                    <a:pt x="47839" y="67299"/>
                  </a:cubicBezTo>
                  <a:close/>
                </a:path>
              </a:pathLst>
            </a:custGeom>
            <a:solidFill>
              <a:srgbClr val="8D754B"/>
            </a:solidFill>
            <a:ln w="9525" cap="flat">
              <a:noFill/>
              <a:prstDash val="solid"/>
              <a:miter/>
            </a:ln>
          </p:spPr>
          <p:txBody>
            <a:bodyPr anchor="ctr"/>
            <a:lstStyle/>
            <a:p>
              <a:pPr algn="ctr"/>
              <a:endParaRPr/>
            </a:p>
          </p:txBody>
        </p:sp>
        <p:sp>
          <p:nvSpPr>
            <p:cNvPr id="24" name="任意多边形: 形状 23">
              <a:extLst>
                <a:ext uri="{FF2B5EF4-FFF2-40B4-BE49-F238E27FC236}">
                  <a16:creationId xmlns:a16="http://schemas.microsoft.com/office/drawing/2014/main" id="{1C2AB3EC-3F5B-4491-BF8C-E8352FD8BCC7}"/>
                </a:ext>
              </a:extLst>
            </p:cNvPr>
            <p:cNvSpPr/>
            <p:nvPr/>
          </p:nvSpPr>
          <p:spPr>
            <a:xfrm>
              <a:off x="5374633" y="4256016"/>
              <a:ext cx="600018" cy="1605454"/>
            </a:xfrm>
            <a:custGeom>
              <a:avLst/>
              <a:gdLst/>
              <a:ahLst/>
              <a:cxnLst/>
              <a:rect l="0" t="0" r="0" b="0"/>
              <a:pathLst>
                <a:path w="600018" h="1605454">
                  <a:moveTo>
                    <a:pt x="336497" y="255413"/>
                  </a:moveTo>
                  <a:lnTo>
                    <a:pt x="336497" y="12163"/>
                  </a:lnTo>
                  <a:lnTo>
                    <a:pt x="271630" y="12163"/>
                  </a:lnTo>
                  <a:lnTo>
                    <a:pt x="271630" y="255413"/>
                  </a:lnTo>
                  <a:lnTo>
                    <a:pt x="12163" y="255413"/>
                  </a:lnTo>
                  <a:lnTo>
                    <a:pt x="12163" y="1601400"/>
                  </a:lnTo>
                  <a:lnTo>
                    <a:pt x="595964" y="1601400"/>
                  </a:lnTo>
                  <a:lnTo>
                    <a:pt x="595964" y="255413"/>
                  </a:lnTo>
                  <a:lnTo>
                    <a:pt x="336497" y="255413"/>
                  </a:lnTo>
                  <a:close/>
                  <a:moveTo>
                    <a:pt x="158113" y="1195982"/>
                  </a:moveTo>
                  <a:lnTo>
                    <a:pt x="93246" y="1195982"/>
                  </a:lnTo>
                  <a:lnTo>
                    <a:pt x="93246" y="1001382"/>
                  </a:lnTo>
                  <a:lnTo>
                    <a:pt x="158113" y="1001382"/>
                  </a:lnTo>
                  <a:lnTo>
                    <a:pt x="158113" y="1195982"/>
                  </a:lnTo>
                  <a:close/>
                  <a:moveTo>
                    <a:pt x="158113" y="920298"/>
                  </a:moveTo>
                  <a:lnTo>
                    <a:pt x="93246" y="920298"/>
                  </a:lnTo>
                  <a:lnTo>
                    <a:pt x="93246" y="725698"/>
                  </a:lnTo>
                  <a:lnTo>
                    <a:pt x="158113" y="725698"/>
                  </a:lnTo>
                  <a:lnTo>
                    <a:pt x="158113" y="920298"/>
                  </a:lnTo>
                  <a:close/>
                  <a:moveTo>
                    <a:pt x="158113" y="644614"/>
                  </a:moveTo>
                  <a:lnTo>
                    <a:pt x="93246" y="644614"/>
                  </a:lnTo>
                  <a:lnTo>
                    <a:pt x="93246" y="450014"/>
                  </a:lnTo>
                  <a:lnTo>
                    <a:pt x="158113" y="450014"/>
                  </a:lnTo>
                  <a:lnTo>
                    <a:pt x="158113" y="644614"/>
                  </a:lnTo>
                  <a:close/>
                  <a:moveTo>
                    <a:pt x="271630" y="920298"/>
                  </a:moveTo>
                  <a:lnTo>
                    <a:pt x="206763" y="920298"/>
                  </a:lnTo>
                  <a:lnTo>
                    <a:pt x="206763" y="725698"/>
                  </a:lnTo>
                  <a:lnTo>
                    <a:pt x="271630" y="725698"/>
                  </a:lnTo>
                  <a:lnTo>
                    <a:pt x="271630" y="920298"/>
                  </a:lnTo>
                  <a:close/>
                  <a:moveTo>
                    <a:pt x="385147" y="1195982"/>
                  </a:moveTo>
                  <a:lnTo>
                    <a:pt x="320280" y="1195982"/>
                  </a:lnTo>
                  <a:lnTo>
                    <a:pt x="320280" y="1001382"/>
                  </a:lnTo>
                  <a:lnTo>
                    <a:pt x="385147" y="1001382"/>
                  </a:lnTo>
                  <a:lnTo>
                    <a:pt x="385147" y="1195982"/>
                  </a:lnTo>
                  <a:close/>
                  <a:moveTo>
                    <a:pt x="385147" y="644614"/>
                  </a:moveTo>
                  <a:lnTo>
                    <a:pt x="320280" y="644614"/>
                  </a:lnTo>
                  <a:lnTo>
                    <a:pt x="320280" y="450014"/>
                  </a:lnTo>
                  <a:lnTo>
                    <a:pt x="385147" y="450014"/>
                  </a:lnTo>
                  <a:lnTo>
                    <a:pt x="385147" y="644614"/>
                  </a:lnTo>
                  <a:close/>
                  <a:moveTo>
                    <a:pt x="498664" y="1195982"/>
                  </a:moveTo>
                  <a:lnTo>
                    <a:pt x="433797" y="1195982"/>
                  </a:lnTo>
                  <a:lnTo>
                    <a:pt x="433797" y="1001382"/>
                  </a:lnTo>
                  <a:lnTo>
                    <a:pt x="498664" y="1001382"/>
                  </a:lnTo>
                  <a:lnTo>
                    <a:pt x="498664" y="1195982"/>
                  </a:lnTo>
                  <a:close/>
                  <a:moveTo>
                    <a:pt x="498664" y="920298"/>
                  </a:moveTo>
                  <a:lnTo>
                    <a:pt x="433797" y="920298"/>
                  </a:lnTo>
                  <a:lnTo>
                    <a:pt x="433797" y="725698"/>
                  </a:lnTo>
                  <a:lnTo>
                    <a:pt x="498664" y="725698"/>
                  </a:lnTo>
                  <a:lnTo>
                    <a:pt x="498664" y="920298"/>
                  </a:lnTo>
                  <a:close/>
                  <a:moveTo>
                    <a:pt x="498664" y="644614"/>
                  </a:moveTo>
                  <a:lnTo>
                    <a:pt x="433797" y="644614"/>
                  </a:lnTo>
                  <a:lnTo>
                    <a:pt x="433797" y="450014"/>
                  </a:lnTo>
                  <a:lnTo>
                    <a:pt x="498664" y="450014"/>
                  </a:lnTo>
                  <a:lnTo>
                    <a:pt x="498664" y="644614"/>
                  </a:lnTo>
                  <a:close/>
                </a:path>
              </a:pathLst>
            </a:custGeom>
            <a:solidFill>
              <a:srgbClr val="8D754B"/>
            </a:solidFill>
            <a:ln w="9525" cap="flat">
              <a:noFill/>
              <a:prstDash val="solid"/>
              <a:miter/>
            </a:ln>
          </p:spPr>
          <p:txBody>
            <a:bodyPr anchor="ctr"/>
            <a:lstStyle/>
            <a:p>
              <a:pPr algn="ctr"/>
              <a:endParaRPr/>
            </a:p>
          </p:txBody>
        </p:sp>
        <p:sp>
          <p:nvSpPr>
            <p:cNvPr id="25" name="任意多边形: 形状 24">
              <a:extLst>
                <a:ext uri="{FF2B5EF4-FFF2-40B4-BE49-F238E27FC236}">
                  <a16:creationId xmlns:a16="http://schemas.microsoft.com/office/drawing/2014/main" id="{CF4D6B8D-1D50-4A9E-9084-7B344AA5C84A}"/>
                </a:ext>
              </a:extLst>
            </p:cNvPr>
            <p:cNvSpPr/>
            <p:nvPr/>
          </p:nvSpPr>
          <p:spPr>
            <a:xfrm>
              <a:off x="9696385" y="5277669"/>
              <a:ext cx="437851" cy="178384"/>
            </a:xfrm>
            <a:custGeom>
              <a:avLst/>
              <a:gdLst/>
              <a:ahLst/>
              <a:cxnLst/>
              <a:rect l="0" t="0" r="0" b="0"/>
              <a:pathLst>
                <a:path w="437851" h="178383">
                  <a:moveTo>
                    <a:pt x="33244" y="12163"/>
                  </a:moveTo>
                  <a:lnTo>
                    <a:pt x="12163" y="174330"/>
                  </a:lnTo>
                  <a:lnTo>
                    <a:pt x="437041" y="174330"/>
                  </a:lnTo>
                  <a:lnTo>
                    <a:pt x="417580" y="12163"/>
                  </a:lnTo>
                  <a:close/>
                </a:path>
              </a:pathLst>
            </a:custGeom>
            <a:noFill/>
            <a:ln w="9525" cap="flat">
              <a:noFill/>
              <a:prstDash val="solid"/>
              <a:miter/>
            </a:ln>
          </p:spPr>
          <p:txBody>
            <a:bodyPr anchor="ctr"/>
            <a:lstStyle/>
            <a:p>
              <a:pPr algn="ctr"/>
              <a:endParaRPr/>
            </a:p>
          </p:txBody>
        </p:sp>
        <p:sp>
          <p:nvSpPr>
            <p:cNvPr id="26" name="任意多边形: 形状 25">
              <a:extLst>
                <a:ext uri="{FF2B5EF4-FFF2-40B4-BE49-F238E27FC236}">
                  <a16:creationId xmlns:a16="http://schemas.microsoft.com/office/drawing/2014/main" id="{89801F37-9CAD-49D8-ABBF-E17AE6A0713F}"/>
                </a:ext>
              </a:extLst>
            </p:cNvPr>
            <p:cNvSpPr/>
            <p:nvPr/>
          </p:nvSpPr>
          <p:spPr>
            <a:xfrm>
              <a:off x="9412593" y="3639781"/>
              <a:ext cx="1005436" cy="2173039"/>
            </a:xfrm>
            <a:custGeom>
              <a:avLst/>
              <a:gdLst/>
              <a:ahLst/>
              <a:cxnLst/>
              <a:rect l="0" t="0" r="0" b="0"/>
              <a:pathLst>
                <a:path w="1005435" h="2173038">
                  <a:moveTo>
                    <a:pt x="797051" y="1568967"/>
                  </a:moveTo>
                  <a:lnTo>
                    <a:pt x="822998" y="1568967"/>
                  </a:lnTo>
                  <a:lnTo>
                    <a:pt x="822998" y="1439233"/>
                  </a:lnTo>
                  <a:lnTo>
                    <a:pt x="759753" y="1439233"/>
                  </a:lnTo>
                  <a:lnTo>
                    <a:pt x="610559" y="725698"/>
                  </a:lnTo>
                  <a:lnTo>
                    <a:pt x="644614" y="725698"/>
                  </a:lnTo>
                  <a:lnTo>
                    <a:pt x="644614" y="595964"/>
                  </a:lnTo>
                  <a:lnTo>
                    <a:pt x="582991" y="595964"/>
                  </a:lnTo>
                  <a:lnTo>
                    <a:pt x="531097" y="383525"/>
                  </a:lnTo>
                  <a:lnTo>
                    <a:pt x="531097" y="12163"/>
                  </a:lnTo>
                  <a:lnTo>
                    <a:pt x="466230" y="12163"/>
                  </a:lnTo>
                  <a:lnTo>
                    <a:pt x="466230" y="383525"/>
                  </a:lnTo>
                  <a:lnTo>
                    <a:pt x="430553" y="595964"/>
                  </a:lnTo>
                  <a:lnTo>
                    <a:pt x="352713" y="595964"/>
                  </a:lnTo>
                  <a:lnTo>
                    <a:pt x="352713" y="725698"/>
                  </a:lnTo>
                  <a:lnTo>
                    <a:pt x="402985" y="725698"/>
                  </a:lnTo>
                  <a:lnTo>
                    <a:pt x="253791" y="1439233"/>
                  </a:lnTo>
                  <a:lnTo>
                    <a:pt x="158113" y="1439233"/>
                  </a:lnTo>
                  <a:lnTo>
                    <a:pt x="158113" y="1568967"/>
                  </a:lnTo>
                  <a:lnTo>
                    <a:pt x="216493" y="1568967"/>
                  </a:lnTo>
                  <a:lnTo>
                    <a:pt x="12163" y="2168985"/>
                  </a:lnTo>
                  <a:lnTo>
                    <a:pt x="226223" y="2168985"/>
                  </a:lnTo>
                  <a:lnTo>
                    <a:pt x="248927" y="2160877"/>
                  </a:lnTo>
                  <a:lnTo>
                    <a:pt x="286225" y="1877084"/>
                  </a:lnTo>
                  <a:lnTo>
                    <a:pt x="727320" y="1877084"/>
                  </a:lnTo>
                  <a:lnTo>
                    <a:pt x="761375" y="2160877"/>
                  </a:lnTo>
                  <a:lnTo>
                    <a:pt x="784078" y="2168985"/>
                  </a:lnTo>
                  <a:lnTo>
                    <a:pt x="1001382" y="2168985"/>
                  </a:lnTo>
                  <a:lnTo>
                    <a:pt x="797051" y="1568967"/>
                  </a:lnTo>
                  <a:close/>
                  <a:moveTo>
                    <a:pt x="527854" y="725698"/>
                  </a:moveTo>
                  <a:lnTo>
                    <a:pt x="604072" y="1082465"/>
                  </a:lnTo>
                  <a:lnTo>
                    <a:pt x="412715" y="1082465"/>
                  </a:lnTo>
                  <a:lnTo>
                    <a:pt x="485691" y="725698"/>
                  </a:lnTo>
                  <a:lnTo>
                    <a:pt x="527854" y="725698"/>
                  </a:lnTo>
                  <a:close/>
                  <a:moveTo>
                    <a:pt x="399742" y="1147332"/>
                  </a:moveTo>
                  <a:lnTo>
                    <a:pt x="618667" y="1147332"/>
                  </a:lnTo>
                  <a:lnTo>
                    <a:pt x="681912" y="1439233"/>
                  </a:lnTo>
                  <a:lnTo>
                    <a:pt x="339740" y="1439233"/>
                  </a:lnTo>
                  <a:lnTo>
                    <a:pt x="399742" y="1147332"/>
                  </a:lnTo>
                  <a:close/>
                  <a:moveTo>
                    <a:pt x="295955" y="1812217"/>
                  </a:moveTo>
                  <a:lnTo>
                    <a:pt x="317036" y="1650050"/>
                  </a:lnTo>
                  <a:lnTo>
                    <a:pt x="701373" y="1650050"/>
                  </a:lnTo>
                  <a:lnTo>
                    <a:pt x="720833" y="1812217"/>
                  </a:lnTo>
                  <a:lnTo>
                    <a:pt x="295955" y="1812217"/>
                  </a:lnTo>
                  <a:close/>
                </a:path>
              </a:pathLst>
            </a:custGeom>
            <a:solidFill>
              <a:srgbClr val="8D754B"/>
            </a:solidFill>
            <a:ln w="9525" cap="flat">
              <a:noFill/>
              <a:prstDash val="solid"/>
              <a:miter/>
            </a:ln>
          </p:spPr>
          <p:txBody>
            <a:bodyPr anchor="ctr"/>
            <a:lstStyle/>
            <a:p>
              <a:pPr algn="ctr"/>
              <a:endParaRPr/>
            </a:p>
          </p:txBody>
        </p:sp>
        <p:grpSp>
          <p:nvGrpSpPr>
            <p:cNvPr id="27" name="组合 26">
              <a:extLst>
                <a:ext uri="{FF2B5EF4-FFF2-40B4-BE49-F238E27FC236}">
                  <a16:creationId xmlns:a16="http://schemas.microsoft.com/office/drawing/2014/main" id="{69FFB2CE-7E95-4815-A9B8-AFCB1A27D892}"/>
                </a:ext>
              </a:extLst>
            </p:cNvPr>
            <p:cNvGrpSpPr/>
            <p:nvPr/>
          </p:nvGrpSpPr>
          <p:grpSpPr>
            <a:xfrm>
              <a:off x="5455716" y="3996549"/>
              <a:ext cx="7573203" cy="1702754"/>
              <a:chOff x="5455716" y="3996549"/>
              <a:chExt cx="7573203" cy="1702754"/>
            </a:xfrm>
          </p:grpSpPr>
          <p:sp>
            <p:nvSpPr>
              <p:cNvPr id="28" name="任意多边形: 形状 27">
                <a:extLst>
                  <a:ext uri="{FF2B5EF4-FFF2-40B4-BE49-F238E27FC236}">
                    <a16:creationId xmlns:a16="http://schemas.microsoft.com/office/drawing/2014/main" id="{44F215E2-7A0F-46F8-8B70-86BCAEA49305}"/>
                  </a:ext>
                </a:extLst>
              </p:cNvPr>
              <p:cNvSpPr/>
              <p:nvPr/>
            </p:nvSpPr>
            <p:spPr>
              <a:xfrm>
                <a:off x="8131473" y="4385750"/>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29" name="任意多边形: 形状 28">
                <a:extLst>
                  <a:ext uri="{FF2B5EF4-FFF2-40B4-BE49-F238E27FC236}">
                    <a16:creationId xmlns:a16="http://schemas.microsoft.com/office/drawing/2014/main" id="{34FBEC74-E93B-44D8-9520-CFFA0C8D94FF}"/>
                  </a:ext>
                </a:extLst>
              </p:cNvPr>
              <p:cNvSpPr/>
              <p:nvPr/>
            </p:nvSpPr>
            <p:spPr>
              <a:xfrm>
                <a:off x="8244990" y="4385750"/>
                <a:ext cx="64867" cy="243251"/>
              </a:xfrm>
              <a:custGeom>
                <a:avLst/>
                <a:gdLst/>
                <a:ahLst/>
                <a:cxnLst/>
                <a:rect l="0" t="0" r="0" b="0"/>
                <a:pathLst>
                  <a:path w="64866" h="243250">
                    <a:moveTo>
                      <a:pt x="12163" y="12163"/>
                    </a:moveTo>
                    <a:lnTo>
                      <a:pt x="60813" y="12163"/>
                    </a:lnTo>
                    <a:lnTo>
                      <a:pt x="60813"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0" name="任意多边形: 形状 29">
                <a:extLst>
                  <a:ext uri="{FF2B5EF4-FFF2-40B4-BE49-F238E27FC236}">
                    <a16:creationId xmlns:a16="http://schemas.microsoft.com/office/drawing/2014/main" id="{4F992600-54D2-4D0C-9FFD-80BDE54AFB84}"/>
                  </a:ext>
                </a:extLst>
              </p:cNvPr>
              <p:cNvSpPr/>
              <p:nvPr/>
            </p:nvSpPr>
            <p:spPr>
              <a:xfrm>
                <a:off x="8455807" y="4385750"/>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1" name="任意多边形: 形状 30">
                <a:extLst>
                  <a:ext uri="{FF2B5EF4-FFF2-40B4-BE49-F238E27FC236}">
                    <a16:creationId xmlns:a16="http://schemas.microsoft.com/office/drawing/2014/main" id="{143C60B0-9F62-4038-87F7-BD7E650A1E86}"/>
                  </a:ext>
                </a:extLst>
              </p:cNvPr>
              <p:cNvSpPr/>
              <p:nvPr/>
            </p:nvSpPr>
            <p:spPr>
              <a:xfrm>
                <a:off x="8569324" y="4385750"/>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2" name="任意多边形: 形状 31">
                <a:extLst>
                  <a:ext uri="{FF2B5EF4-FFF2-40B4-BE49-F238E27FC236}">
                    <a16:creationId xmlns:a16="http://schemas.microsoft.com/office/drawing/2014/main" id="{59C79EF7-C74C-421A-9134-FFA45E27B364}"/>
                  </a:ext>
                </a:extLst>
              </p:cNvPr>
              <p:cNvSpPr/>
              <p:nvPr/>
            </p:nvSpPr>
            <p:spPr>
              <a:xfrm>
                <a:off x="8131473" y="4661434"/>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3" name="任意多边形: 形状 32">
                <a:extLst>
                  <a:ext uri="{FF2B5EF4-FFF2-40B4-BE49-F238E27FC236}">
                    <a16:creationId xmlns:a16="http://schemas.microsoft.com/office/drawing/2014/main" id="{76185D45-01AD-4E73-ACC8-034352A809F6}"/>
                  </a:ext>
                </a:extLst>
              </p:cNvPr>
              <p:cNvSpPr/>
              <p:nvPr/>
            </p:nvSpPr>
            <p:spPr>
              <a:xfrm>
                <a:off x="8342290" y="4661434"/>
                <a:ext cx="97300" cy="243251"/>
              </a:xfrm>
              <a:custGeom>
                <a:avLst/>
                <a:gdLst/>
                <a:ahLst/>
                <a:cxnLst/>
                <a:rect l="0" t="0" r="0" b="0"/>
                <a:pathLst>
                  <a:path w="97300" h="243250">
                    <a:moveTo>
                      <a:pt x="12163" y="12163"/>
                    </a:moveTo>
                    <a:lnTo>
                      <a:pt x="93246" y="12163"/>
                    </a:lnTo>
                    <a:lnTo>
                      <a:pt x="93246"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4" name="任意多边形: 形状 33">
                <a:extLst>
                  <a:ext uri="{FF2B5EF4-FFF2-40B4-BE49-F238E27FC236}">
                    <a16:creationId xmlns:a16="http://schemas.microsoft.com/office/drawing/2014/main" id="{BAC32DB9-538D-4201-9B5B-9A66DDBC7B3D}"/>
                  </a:ext>
                </a:extLst>
              </p:cNvPr>
              <p:cNvSpPr/>
              <p:nvPr/>
            </p:nvSpPr>
            <p:spPr>
              <a:xfrm>
                <a:off x="8455807" y="4661434"/>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5" name="任意多边形: 形状 34">
                <a:extLst>
                  <a:ext uri="{FF2B5EF4-FFF2-40B4-BE49-F238E27FC236}">
                    <a16:creationId xmlns:a16="http://schemas.microsoft.com/office/drawing/2014/main" id="{1C06218A-D2CB-4F33-90EC-BE4A892D082A}"/>
                  </a:ext>
                </a:extLst>
              </p:cNvPr>
              <p:cNvSpPr/>
              <p:nvPr/>
            </p:nvSpPr>
            <p:spPr>
              <a:xfrm>
                <a:off x="8131473" y="4937118"/>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6" name="任意多边形: 形状 35">
                <a:extLst>
                  <a:ext uri="{FF2B5EF4-FFF2-40B4-BE49-F238E27FC236}">
                    <a16:creationId xmlns:a16="http://schemas.microsoft.com/office/drawing/2014/main" id="{14F779E4-8B05-4F11-BD97-330933E7B668}"/>
                  </a:ext>
                </a:extLst>
              </p:cNvPr>
              <p:cNvSpPr/>
              <p:nvPr/>
            </p:nvSpPr>
            <p:spPr>
              <a:xfrm>
                <a:off x="8244990" y="4937118"/>
                <a:ext cx="64867" cy="243251"/>
              </a:xfrm>
              <a:custGeom>
                <a:avLst/>
                <a:gdLst/>
                <a:ahLst/>
                <a:cxnLst/>
                <a:rect l="0" t="0" r="0" b="0"/>
                <a:pathLst>
                  <a:path w="64866" h="243250">
                    <a:moveTo>
                      <a:pt x="12163" y="12163"/>
                    </a:moveTo>
                    <a:lnTo>
                      <a:pt x="60813" y="12163"/>
                    </a:lnTo>
                    <a:lnTo>
                      <a:pt x="60813"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7" name="任意多边形: 形状 36">
                <a:extLst>
                  <a:ext uri="{FF2B5EF4-FFF2-40B4-BE49-F238E27FC236}">
                    <a16:creationId xmlns:a16="http://schemas.microsoft.com/office/drawing/2014/main" id="{E5A8FC31-C728-44FE-8C93-493174E8B467}"/>
                  </a:ext>
                </a:extLst>
              </p:cNvPr>
              <p:cNvSpPr/>
              <p:nvPr/>
            </p:nvSpPr>
            <p:spPr>
              <a:xfrm>
                <a:off x="8342290" y="4937118"/>
                <a:ext cx="97300" cy="243251"/>
              </a:xfrm>
              <a:custGeom>
                <a:avLst/>
                <a:gdLst/>
                <a:ahLst/>
                <a:cxnLst/>
                <a:rect l="0" t="0" r="0" b="0"/>
                <a:pathLst>
                  <a:path w="97300" h="243250">
                    <a:moveTo>
                      <a:pt x="12163" y="12163"/>
                    </a:moveTo>
                    <a:lnTo>
                      <a:pt x="93246" y="12163"/>
                    </a:lnTo>
                    <a:lnTo>
                      <a:pt x="93246"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8" name="任意多边形: 形状 37">
                <a:extLst>
                  <a:ext uri="{FF2B5EF4-FFF2-40B4-BE49-F238E27FC236}">
                    <a16:creationId xmlns:a16="http://schemas.microsoft.com/office/drawing/2014/main" id="{D6A3FB80-4D3F-462B-A257-94AEB61515AC}"/>
                  </a:ext>
                </a:extLst>
              </p:cNvPr>
              <p:cNvSpPr/>
              <p:nvPr/>
            </p:nvSpPr>
            <p:spPr>
              <a:xfrm>
                <a:off x="8569324" y="4937118"/>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9" name="任意多边形: 形状 38">
                <a:extLst>
                  <a:ext uri="{FF2B5EF4-FFF2-40B4-BE49-F238E27FC236}">
                    <a16:creationId xmlns:a16="http://schemas.microsoft.com/office/drawing/2014/main" id="{264B65F1-A37C-4F7C-96B4-2FCE8AE0C1AC}"/>
                  </a:ext>
                </a:extLst>
              </p:cNvPr>
              <p:cNvSpPr/>
              <p:nvPr/>
            </p:nvSpPr>
            <p:spPr>
              <a:xfrm>
                <a:off x="8131473" y="5229019"/>
                <a:ext cx="81084" cy="227034"/>
              </a:xfrm>
              <a:custGeom>
                <a:avLst/>
                <a:gdLst/>
                <a:ahLst/>
                <a:cxnLst/>
                <a:rect l="0" t="0" r="0" b="0"/>
                <a:pathLst>
                  <a:path w="81083" h="227033">
                    <a:moveTo>
                      <a:pt x="12163" y="12163"/>
                    </a:moveTo>
                    <a:lnTo>
                      <a:pt x="77029" y="12163"/>
                    </a:lnTo>
                    <a:lnTo>
                      <a:pt x="77029" y="222980"/>
                    </a:lnTo>
                    <a:lnTo>
                      <a:pt x="12163" y="222980"/>
                    </a:lnTo>
                    <a:close/>
                  </a:path>
                </a:pathLst>
              </a:custGeom>
              <a:solidFill>
                <a:srgbClr val="1B1E2D"/>
              </a:solidFill>
              <a:ln w="9525" cap="flat">
                <a:noFill/>
                <a:prstDash val="solid"/>
                <a:miter/>
              </a:ln>
            </p:spPr>
            <p:txBody>
              <a:bodyPr anchor="ctr"/>
              <a:lstStyle/>
              <a:p>
                <a:pPr algn="ctr"/>
                <a:endParaRPr/>
              </a:p>
            </p:txBody>
          </p:sp>
          <p:sp>
            <p:nvSpPr>
              <p:cNvPr id="40" name="任意多边形: 形状 39">
                <a:extLst>
                  <a:ext uri="{FF2B5EF4-FFF2-40B4-BE49-F238E27FC236}">
                    <a16:creationId xmlns:a16="http://schemas.microsoft.com/office/drawing/2014/main" id="{BA7767DF-7F69-4F42-8F78-E2849F97F223}"/>
                  </a:ext>
                </a:extLst>
              </p:cNvPr>
              <p:cNvSpPr/>
              <p:nvPr/>
            </p:nvSpPr>
            <p:spPr>
              <a:xfrm>
                <a:off x="8342290" y="5229019"/>
                <a:ext cx="97300" cy="227034"/>
              </a:xfrm>
              <a:custGeom>
                <a:avLst/>
                <a:gdLst/>
                <a:ahLst/>
                <a:cxnLst/>
                <a:rect l="0" t="0" r="0" b="0"/>
                <a:pathLst>
                  <a:path w="97300" h="227033">
                    <a:moveTo>
                      <a:pt x="12163" y="12163"/>
                    </a:moveTo>
                    <a:lnTo>
                      <a:pt x="93246" y="12163"/>
                    </a:lnTo>
                    <a:lnTo>
                      <a:pt x="93246" y="222980"/>
                    </a:lnTo>
                    <a:lnTo>
                      <a:pt x="12163" y="222980"/>
                    </a:lnTo>
                    <a:close/>
                  </a:path>
                </a:pathLst>
              </a:custGeom>
              <a:solidFill>
                <a:srgbClr val="1B1E2D"/>
              </a:solidFill>
              <a:ln w="9525" cap="flat">
                <a:noFill/>
                <a:prstDash val="solid"/>
                <a:miter/>
              </a:ln>
            </p:spPr>
            <p:txBody>
              <a:bodyPr anchor="ctr"/>
              <a:lstStyle/>
              <a:p>
                <a:pPr algn="ctr"/>
                <a:endParaRPr/>
              </a:p>
            </p:txBody>
          </p:sp>
          <p:sp>
            <p:nvSpPr>
              <p:cNvPr id="41" name="任意多边形: 形状 40">
                <a:extLst>
                  <a:ext uri="{FF2B5EF4-FFF2-40B4-BE49-F238E27FC236}">
                    <a16:creationId xmlns:a16="http://schemas.microsoft.com/office/drawing/2014/main" id="{0BC0FC4A-1AEA-4BAB-923E-68133F1CD8BF}"/>
                  </a:ext>
                </a:extLst>
              </p:cNvPr>
              <p:cNvSpPr/>
              <p:nvPr/>
            </p:nvSpPr>
            <p:spPr>
              <a:xfrm>
                <a:off x="8455807" y="5229019"/>
                <a:ext cx="81084" cy="227034"/>
              </a:xfrm>
              <a:custGeom>
                <a:avLst/>
                <a:gdLst/>
                <a:ahLst/>
                <a:cxnLst/>
                <a:rect l="0" t="0" r="0" b="0"/>
                <a:pathLst>
                  <a:path w="81083" h="227033">
                    <a:moveTo>
                      <a:pt x="12163" y="12163"/>
                    </a:moveTo>
                    <a:lnTo>
                      <a:pt x="77029" y="12163"/>
                    </a:lnTo>
                    <a:lnTo>
                      <a:pt x="77029" y="222980"/>
                    </a:lnTo>
                    <a:lnTo>
                      <a:pt x="12163" y="222980"/>
                    </a:lnTo>
                    <a:close/>
                  </a:path>
                </a:pathLst>
              </a:custGeom>
              <a:solidFill>
                <a:srgbClr val="1B1E2D"/>
              </a:solidFill>
              <a:ln w="9525" cap="flat">
                <a:noFill/>
                <a:prstDash val="solid"/>
                <a:miter/>
              </a:ln>
            </p:spPr>
            <p:txBody>
              <a:bodyPr anchor="ctr"/>
              <a:lstStyle/>
              <a:p>
                <a:pPr algn="ctr"/>
                <a:endParaRPr/>
              </a:p>
            </p:txBody>
          </p:sp>
          <p:sp>
            <p:nvSpPr>
              <p:cNvPr id="42" name="任意多边形: 形状 41">
                <a:extLst>
                  <a:ext uri="{FF2B5EF4-FFF2-40B4-BE49-F238E27FC236}">
                    <a16:creationId xmlns:a16="http://schemas.microsoft.com/office/drawing/2014/main" id="{8941F762-CB12-4F8F-88BD-CAD89B35D574}"/>
                  </a:ext>
                </a:extLst>
              </p:cNvPr>
              <p:cNvSpPr/>
              <p:nvPr/>
            </p:nvSpPr>
            <p:spPr>
              <a:xfrm>
                <a:off x="6509802"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43" name="任意多边形: 形状 42">
                <a:extLst>
                  <a:ext uri="{FF2B5EF4-FFF2-40B4-BE49-F238E27FC236}">
                    <a16:creationId xmlns:a16="http://schemas.microsoft.com/office/drawing/2014/main" id="{1F99CBA1-9568-4F7B-860C-9B0E003BC6BE}"/>
                  </a:ext>
                </a:extLst>
              </p:cNvPr>
              <p:cNvSpPr/>
              <p:nvPr/>
            </p:nvSpPr>
            <p:spPr>
              <a:xfrm>
                <a:off x="6509802" y="4580350"/>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44" name="任意多边形: 形状 43">
                <a:extLst>
                  <a:ext uri="{FF2B5EF4-FFF2-40B4-BE49-F238E27FC236}">
                    <a16:creationId xmlns:a16="http://schemas.microsoft.com/office/drawing/2014/main" id="{D7F9A2A3-6703-4A8A-9AA7-0FE182B21B50}"/>
                  </a:ext>
                </a:extLst>
              </p:cNvPr>
              <p:cNvSpPr/>
              <p:nvPr/>
            </p:nvSpPr>
            <p:spPr>
              <a:xfrm>
                <a:off x="6509802" y="4872251"/>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45" name="任意多边形: 形状 44">
                <a:extLst>
                  <a:ext uri="{FF2B5EF4-FFF2-40B4-BE49-F238E27FC236}">
                    <a16:creationId xmlns:a16="http://schemas.microsoft.com/office/drawing/2014/main" id="{EA9F13E3-4820-47D2-B3CE-D071B5E99C6F}"/>
                  </a:ext>
                </a:extLst>
              </p:cNvPr>
              <p:cNvSpPr/>
              <p:nvPr/>
            </p:nvSpPr>
            <p:spPr>
              <a:xfrm>
                <a:off x="6509802"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46" name="任意多边形: 形状 45">
                <a:extLst>
                  <a:ext uri="{FF2B5EF4-FFF2-40B4-BE49-F238E27FC236}">
                    <a16:creationId xmlns:a16="http://schemas.microsoft.com/office/drawing/2014/main" id="{22B12E48-69CA-4A29-B456-D64EF0EC533B}"/>
                  </a:ext>
                </a:extLst>
              </p:cNvPr>
              <p:cNvSpPr/>
              <p:nvPr/>
            </p:nvSpPr>
            <p:spPr>
              <a:xfrm>
                <a:off x="6380069"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47" name="任意多边形: 形状 46">
                <a:extLst>
                  <a:ext uri="{FF2B5EF4-FFF2-40B4-BE49-F238E27FC236}">
                    <a16:creationId xmlns:a16="http://schemas.microsoft.com/office/drawing/2014/main" id="{F268F772-879B-431C-BC42-E4077F79E052}"/>
                  </a:ext>
                </a:extLst>
              </p:cNvPr>
              <p:cNvSpPr/>
              <p:nvPr/>
            </p:nvSpPr>
            <p:spPr>
              <a:xfrm>
                <a:off x="6380069" y="4580350"/>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48" name="任意多边形: 形状 47">
                <a:extLst>
                  <a:ext uri="{FF2B5EF4-FFF2-40B4-BE49-F238E27FC236}">
                    <a16:creationId xmlns:a16="http://schemas.microsoft.com/office/drawing/2014/main" id="{07A82101-1EC0-41AA-A67F-68E536B943CF}"/>
                  </a:ext>
                </a:extLst>
              </p:cNvPr>
              <p:cNvSpPr/>
              <p:nvPr/>
            </p:nvSpPr>
            <p:spPr>
              <a:xfrm>
                <a:off x="6380069"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49" name="任意多边形: 形状 48">
                <a:extLst>
                  <a:ext uri="{FF2B5EF4-FFF2-40B4-BE49-F238E27FC236}">
                    <a16:creationId xmlns:a16="http://schemas.microsoft.com/office/drawing/2014/main" id="{A42C1077-02FC-4214-9BAE-39D972C21BFB}"/>
                  </a:ext>
                </a:extLst>
              </p:cNvPr>
              <p:cNvSpPr/>
              <p:nvPr/>
            </p:nvSpPr>
            <p:spPr>
              <a:xfrm>
                <a:off x="6250335"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50" name="任意多边形: 形状 49">
                <a:extLst>
                  <a:ext uri="{FF2B5EF4-FFF2-40B4-BE49-F238E27FC236}">
                    <a16:creationId xmlns:a16="http://schemas.microsoft.com/office/drawing/2014/main" id="{02D8B89F-7E48-4C04-B795-3EE752F27A5A}"/>
                  </a:ext>
                </a:extLst>
              </p:cNvPr>
              <p:cNvSpPr/>
              <p:nvPr/>
            </p:nvSpPr>
            <p:spPr>
              <a:xfrm>
                <a:off x="6250335" y="4872251"/>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51" name="任意多边形: 形状 50">
                <a:extLst>
                  <a:ext uri="{FF2B5EF4-FFF2-40B4-BE49-F238E27FC236}">
                    <a16:creationId xmlns:a16="http://schemas.microsoft.com/office/drawing/2014/main" id="{5FE9F0A9-388A-4F77-A0CD-0F6CD046E3C7}"/>
                  </a:ext>
                </a:extLst>
              </p:cNvPr>
              <p:cNvSpPr/>
              <p:nvPr/>
            </p:nvSpPr>
            <p:spPr>
              <a:xfrm>
                <a:off x="6250335"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52" name="任意多边形: 形状 51">
                <a:extLst>
                  <a:ext uri="{FF2B5EF4-FFF2-40B4-BE49-F238E27FC236}">
                    <a16:creationId xmlns:a16="http://schemas.microsoft.com/office/drawing/2014/main" id="{49D492AE-949E-4124-88F4-FF1BFA3AC85D}"/>
                  </a:ext>
                </a:extLst>
              </p:cNvPr>
              <p:cNvSpPr/>
              <p:nvPr/>
            </p:nvSpPr>
            <p:spPr>
              <a:xfrm>
                <a:off x="6120601"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53" name="任意多边形: 形状 52">
                <a:extLst>
                  <a:ext uri="{FF2B5EF4-FFF2-40B4-BE49-F238E27FC236}">
                    <a16:creationId xmlns:a16="http://schemas.microsoft.com/office/drawing/2014/main" id="{4E472A18-23BA-4C22-8F39-DAF67C618AC3}"/>
                  </a:ext>
                </a:extLst>
              </p:cNvPr>
              <p:cNvSpPr/>
              <p:nvPr/>
            </p:nvSpPr>
            <p:spPr>
              <a:xfrm>
                <a:off x="6120601" y="4580350"/>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54" name="任意多边形: 形状 53">
                <a:extLst>
                  <a:ext uri="{FF2B5EF4-FFF2-40B4-BE49-F238E27FC236}">
                    <a16:creationId xmlns:a16="http://schemas.microsoft.com/office/drawing/2014/main" id="{5AE45940-ED5C-4ADC-A95C-4BDE63DF4661}"/>
                  </a:ext>
                </a:extLst>
              </p:cNvPr>
              <p:cNvSpPr/>
              <p:nvPr/>
            </p:nvSpPr>
            <p:spPr>
              <a:xfrm>
                <a:off x="6120601" y="4872251"/>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55" name="任意多边形: 形状 54">
                <a:extLst>
                  <a:ext uri="{FF2B5EF4-FFF2-40B4-BE49-F238E27FC236}">
                    <a16:creationId xmlns:a16="http://schemas.microsoft.com/office/drawing/2014/main" id="{D1B32D83-A3A3-482A-ACFE-196FAB7D085C}"/>
                  </a:ext>
                </a:extLst>
              </p:cNvPr>
              <p:cNvSpPr/>
              <p:nvPr/>
            </p:nvSpPr>
            <p:spPr>
              <a:xfrm>
                <a:off x="6120601"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56" name="任意多边形: 形状 55">
                <a:extLst>
                  <a:ext uri="{FF2B5EF4-FFF2-40B4-BE49-F238E27FC236}">
                    <a16:creationId xmlns:a16="http://schemas.microsoft.com/office/drawing/2014/main" id="{00CF07D6-1EEE-4EF7-8717-0372ED309104}"/>
                  </a:ext>
                </a:extLst>
              </p:cNvPr>
              <p:cNvSpPr/>
              <p:nvPr/>
            </p:nvSpPr>
            <p:spPr>
              <a:xfrm>
                <a:off x="11853208" y="3996549"/>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57" name="任意多边形: 形状 56">
                <a:extLst>
                  <a:ext uri="{FF2B5EF4-FFF2-40B4-BE49-F238E27FC236}">
                    <a16:creationId xmlns:a16="http://schemas.microsoft.com/office/drawing/2014/main" id="{F11BC09A-050F-4955-8472-D909415A097C}"/>
                  </a:ext>
                </a:extLst>
              </p:cNvPr>
              <p:cNvSpPr/>
              <p:nvPr/>
            </p:nvSpPr>
            <p:spPr>
              <a:xfrm>
                <a:off x="12140243" y="3996549"/>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58" name="任意多边形: 形状 57">
                <a:extLst>
                  <a:ext uri="{FF2B5EF4-FFF2-40B4-BE49-F238E27FC236}">
                    <a16:creationId xmlns:a16="http://schemas.microsoft.com/office/drawing/2014/main" id="{FEA51531-F000-4591-A5F8-2211621AF5B9}"/>
                  </a:ext>
                </a:extLst>
              </p:cNvPr>
              <p:cNvSpPr/>
              <p:nvPr/>
            </p:nvSpPr>
            <p:spPr>
              <a:xfrm>
                <a:off x="12140243" y="4077632"/>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59" name="任意多边形: 形状 58">
                <a:extLst>
                  <a:ext uri="{FF2B5EF4-FFF2-40B4-BE49-F238E27FC236}">
                    <a16:creationId xmlns:a16="http://schemas.microsoft.com/office/drawing/2014/main" id="{6148199B-1DFB-45BA-9544-E5A6E7081EF2}"/>
                  </a:ext>
                </a:extLst>
              </p:cNvPr>
              <p:cNvSpPr/>
              <p:nvPr/>
            </p:nvSpPr>
            <p:spPr>
              <a:xfrm>
                <a:off x="11853208" y="4077632"/>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0" name="任意多边形: 形状 59">
                <a:extLst>
                  <a:ext uri="{FF2B5EF4-FFF2-40B4-BE49-F238E27FC236}">
                    <a16:creationId xmlns:a16="http://schemas.microsoft.com/office/drawing/2014/main" id="{A8191571-37D7-4A40-BD5A-2549ECA2DB5B}"/>
                  </a:ext>
                </a:extLst>
              </p:cNvPr>
              <p:cNvSpPr/>
              <p:nvPr/>
            </p:nvSpPr>
            <p:spPr>
              <a:xfrm>
                <a:off x="12140243" y="4256016"/>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1" name="任意多边形: 形状 60">
                <a:extLst>
                  <a:ext uri="{FF2B5EF4-FFF2-40B4-BE49-F238E27FC236}">
                    <a16:creationId xmlns:a16="http://schemas.microsoft.com/office/drawing/2014/main" id="{3ACC2F43-9D90-45E3-850D-7FE156E69F60}"/>
                  </a:ext>
                </a:extLst>
              </p:cNvPr>
              <p:cNvSpPr/>
              <p:nvPr/>
            </p:nvSpPr>
            <p:spPr>
              <a:xfrm>
                <a:off x="11853208" y="4256016"/>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2" name="任意多边形: 形状 61">
                <a:extLst>
                  <a:ext uri="{FF2B5EF4-FFF2-40B4-BE49-F238E27FC236}">
                    <a16:creationId xmlns:a16="http://schemas.microsoft.com/office/drawing/2014/main" id="{E4443148-456F-41F5-B181-D80CD628641F}"/>
                  </a:ext>
                </a:extLst>
              </p:cNvPr>
              <p:cNvSpPr/>
              <p:nvPr/>
            </p:nvSpPr>
            <p:spPr>
              <a:xfrm>
                <a:off x="11853208" y="4353316"/>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63" name="任意多边形: 形状 62">
                <a:extLst>
                  <a:ext uri="{FF2B5EF4-FFF2-40B4-BE49-F238E27FC236}">
                    <a16:creationId xmlns:a16="http://schemas.microsoft.com/office/drawing/2014/main" id="{AA43BFC7-E6A2-4CEE-B75D-F351D0D9947D}"/>
                  </a:ext>
                </a:extLst>
              </p:cNvPr>
              <p:cNvSpPr/>
              <p:nvPr/>
            </p:nvSpPr>
            <p:spPr>
              <a:xfrm>
                <a:off x="12140243" y="4353316"/>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64" name="任意多边形: 形状 63">
                <a:extLst>
                  <a:ext uri="{FF2B5EF4-FFF2-40B4-BE49-F238E27FC236}">
                    <a16:creationId xmlns:a16="http://schemas.microsoft.com/office/drawing/2014/main" id="{BB64C879-6DF5-4C18-A5FE-2208C072AC71}"/>
                  </a:ext>
                </a:extLst>
              </p:cNvPr>
              <p:cNvSpPr/>
              <p:nvPr/>
            </p:nvSpPr>
            <p:spPr>
              <a:xfrm>
                <a:off x="11853208" y="4434400"/>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5" name="任意多边形: 形状 64">
                <a:extLst>
                  <a:ext uri="{FF2B5EF4-FFF2-40B4-BE49-F238E27FC236}">
                    <a16:creationId xmlns:a16="http://schemas.microsoft.com/office/drawing/2014/main" id="{2695D891-64A3-43D5-A490-F9EE3FEE0BA1}"/>
                  </a:ext>
                </a:extLst>
              </p:cNvPr>
              <p:cNvSpPr/>
              <p:nvPr/>
            </p:nvSpPr>
            <p:spPr>
              <a:xfrm>
                <a:off x="12140243" y="4434400"/>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6" name="任意多边形: 形状 65">
                <a:extLst>
                  <a:ext uri="{FF2B5EF4-FFF2-40B4-BE49-F238E27FC236}">
                    <a16:creationId xmlns:a16="http://schemas.microsoft.com/office/drawing/2014/main" id="{FC097D33-6566-4452-99C0-DAB7AC8F2CEA}"/>
                  </a:ext>
                </a:extLst>
              </p:cNvPr>
              <p:cNvSpPr/>
              <p:nvPr/>
            </p:nvSpPr>
            <p:spPr>
              <a:xfrm>
                <a:off x="11853208" y="4612784"/>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7" name="任意多边形: 形状 66">
                <a:extLst>
                  <a:ext uri="{FF2B5EF4-FFF2-40B4-BE49-F238E27FC236}">
                    <a16:creationId xmlns:a16="http://schemas.microsoft.com/office/drawing/2014/main" id="{149E102B-BB94-448C-B77F-1349EC93EF40}"/>
                  </a:ext>
                </a:extLst>
              </p:cNvPr>
              <p:cNvSpPr/>
              <p:nvPr/>
            </p:nvSpPr>
            <p:spPr>
              <a:xfrm>
                <a:off x="12140243" y="4612784"/>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8" name="任意多边形: 形状 67">
                <a:extLst>
                  <a:ext uri="{FF2B5EF4-FFF2-40B4-BE49-F238E27FC236}">
                    <a16:creationId xmlns:a16="http://schemas.microsoft.com/office/drawing/2014/main" id="{2DF7F9EA-9F7C-496F-96E3-CFCBD3A1664B}"/>
                  </a:ext>
                </a:extLst>
              </p:cNvPr>
              <p:cNvSpPr/>
              <p:nvPr/>
            </p:nvSpPr>
            <p:spPr>
              <a:xfrm>
                <a:off x="11853208" y="4710084"/>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69" name="任意多边形: 形状 68">
                <a:extLst>
                  <a:ext uri="{FF2B5EF4-FFF2-40B4-BE49-F238E27FC236}">
                    <a16:creationId xmlns:a16="http://schemas.microsoft.com/office/drawing/2014/main" id="{49075DA8-D47E-4E34-8E08-B26C80C5A2B2}"/>
                  </a:ext>
                </a:extLst>
              </p:cNvPr>
              <p:cNvSpPr/>
              <p:nvPr/>
            </p:nvSpPr>
            <p:spPr>
              <a:xfrm>
                <a:off x="12140243" y="4710084"/>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70" name="任意多边形: 形状 69">
                <a:extLst>
                  <a:ext uri="{FF2B5EF4-FFF2-40B4-BE49-F238E27FC236}">
                    <a16:creationId xmlns:a16="http://schemas.microsoft.com/office/drawing/2014/main" id="{FE62BAF6-2E07-4DE6-8B64-5DCD705874D5}"/>
                  </a:ext>
                </a:extLst>
              </p:cNvPr>
              <p:cNvSpPr/>
              <p:nvPr/>
            </p:nvSpPr>
            <p:spPr>
              <a:xfrm>
                <a:off x="11853208" y="4791168"/>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1" name="任意多边形: 形状 70">
                <a:extLst>
                  <a:ext uri="{FF2B5EF4-FFF2-40B4-BE49-F238E27FC236}">
                    <a16:creationId xmlns:a16="http://schemas.microsoft.com/office/drawing/2014/main" id="{9F004A0E-48F1-444E-9412-F3D8EBBB5E1D}"/>
                  </a:ext>
                </a:extLst>
              </p:cNvPr>
              <p:cNvSpPr/>
              <p:nvPr/>
            </p:nvSpPr>
            <p:spPr>
              <a:xfrm>
                <a:off x="12140243" y="4791168"/>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2" name="任意多边形: 形状 71">
                <a:extLst>
                  <a:ext uri="{FF2B5EF4-FFF2-40B4-BE49-F238E27FC236}">
                    <a16:creationId xmlns:a16="http://schemas.microsoft.com/office/drawing/2014/main" id="{90478EF3-D16C-42ED-A609-E6B7B609C33C}"/>
                  </a:ext>
                </a:extLst>
              </p:cNvPr>
              <p:cNvSpPr/>
              <p:nvPr/>
            </p:nvSpPr>
            <p:spPr>
              <a:xfrm>
                <a:off x="11853208" y="4888468"/>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73" name="任意多边形: 形状 72">
                <a:extLst>
                  <a:ext uri="{FF2B5EF4-FFF2-40B4-BE49-F238E27FC236}">
                    <a16:creationId xmlns:a16="http://schemas.microsoft.com/office/drawing/2014/main" id="{D052B68E-EB38-4710-AA08-F30A101E7D6B}"/>
                  </a:ext>
                </a:extLst>
              </p:cNvPr>
              <p:cNvSpPr/>
              <p:nvPr/>
            </p:nvSpPr>
            <p:spPr>
              <a:xfrm>
                <a:off x="12140243" y="4888468"/>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74" name="任意多边形: 形状 73">
                <a:extLst>
                  <a:ext uri="{FF2B5EF4-FFF2-40B4-BE49-F238E27FC236}">
                    <a16:creationId xmlns:a16="http://schemas.microsoft.com/office/drawing/2014/main" id="{402B1C3D-3D52-4FC7-BE4A-69AFC1794F1E}"/>
                  </a:ext>
                </a:extLst>
              </p:cNvPr>
              <p:cNvSpPr/>
              <p:nvPr/>
            </p:nvSpPr>
            <p:spPr>
              <a:xfrm>
                <a:off x="11853208" y="4969551"/>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5" name="任意多边形: 形状 74">
                <a:extLst>
                  <a:ext uri="{FF2B5EF4-FFF2-40B4-BE49-F238E27FC236}">
                    <a16:creationId xmlns:a16="http://schemas.microsoft.com/office/drawing/2014/main" id="{134041D6-6107-4881-BF57-F607C76276A8}"/>
                  </a:ext>
                </a:extLst>
              </p:cNvPr>
              <p:cNvSpPr/>
              <p:nvPr/>
            </p:nvSpPr>
            <p:spPr>
              <a:xfrm>
                <a:off x="12140243" y="4969551"/>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6" name="任意多边形: 形状 75">
                <a:extLst>
                  <a:ext uri="{FF2B5EF4-FFF2-40B4-BE49-F238E27FC236}">
                    <a16:creationId xmlns:a16="http://schemas.microsoft.com/office/drawing/2014/main" id="{0416D129-D713-413C-BA18-3403811A4596}"/>
                  </a:ext>
                </a:extLst>
              </p:cNvPr>
              <p:cNvSpPr/>
              <p:nvPr/>
            </p:nvSpPr>
            <p:spPr>
              <a:xfrm>
                <a:off x="11853208" y="5147935"/>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7" name="任意多边形: 形状 76">
                <a:extLst>
                  <a:ext uri="{FF2B5EF4-FFF2-40B4-BE49-F238E27FC236}">
                    <a16:creationId xmlns:a16="http://schemas.microsoft.com/office/drawing/2014/main" id="{56403664-4F24-49FB-9EE5-646FC8928235}"/>
                  </a:ext>
                </a:extLst>
              </p:cNvPr>
              <p:cNvSpPr/>
              <p:nvPr/>
            </p:nvSpPr>
            <p:spPr>
              <a:xfrm>
                <a:off x="12140243" y="5147935"/>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8" name="任意多边形: 形状 77">
                <a:extLst>
                  <a:ext uri="{FF2B5EF4-FFF2-40B4-BE49-F238E27FC236}">
                    <a16:creationId xmlns:a16="http://schemas.microsoft.com/office/drawing/2014/main" id="{64A6DF67-4532-4D16-AA28-C4CDA7F0AEB6}"/>
                  </a:ext>
                </a:extLst>
              </p:cNvPr>
              <p:cNvSpPr/>
              <p:nvPr/>
            </p:nvSpPr>
            <p:spPr>
              <a:xfrm>
                <a:off x="11853208" y="5245235"/>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79" name="任意多边形: 形状 78">
                <a:extLst>
                  <a:ext uri="{FF2B5EF4-FFF2-40B4-BE49-F238E27FC236}">
                    <a16:creationId xmlns:a16="http://schemas.microsoft.com/office/drawing/2014/main" id="{60105AB7-DE6E-43D1-9476-43FB1F3DEA70}"/>
                  </a:ext>
                </a:extLst>
              </p:cNvPr>
              <p:cNvSpPr/>
              <p:nvPr/>
            </p:nvSpPr>
            <p:spPr>
              <a:xfrm>
                <a:off x="12140243" y="5245235"/>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80" name="任意多边形: 形状 79">
                <a:extLst>
                  <a:ext uri="{FF2B5EF4-FFF2-40B4-BE49-F238E27FC236}">
                    <a16:creationId xmlns:a16="http://schemas.microsoft.com/office/drawing/2014/main" id="{75A69C22-0ECC-4005-AF59-B8311B2DECC0}"/>
                  </a:ext>
                </a:extLst>
              </p:cNvPr>
              <p:cNvSpPr/>
              <p:nvPr/>
            </p:nvSpPr>
            <p:spPr>
              <a:xfrm>
                <a:off x="11853208" y="5326319"/>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81" name="任意多边形: 形状 80">
                <a:extLst>
                  <a:ext uri="{FF2B5EF4-FFF2-40B4-BE49-F238E27FC236}">
                    <a16:creationId xmlns:a16="http://schemas.microsoft.com/office/drawing/2014/main" id="{77DBE848-1FCE-4066-ABF6-251299D29FC7}"/>
                  </a:ext>
                </a:extLst>
              </p:cNvPr>
              <p:cNvSpPr/>
              <p:nvPr/>
            </p:nvSpPr>
            <p:spPr>
              <a:xfrm>
                <a:off x="12140243" y="5326319"/>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82" name="任意多边形: 形状 81">
                <a:extLst>
                  <a:ext uri="{FF2B5EF4-FFF2-40B4-BE49-F238E27FC236}">
                    <a16:creationId xmlns:a16="http://schemas.microsoft.com/office/drawing/2014/main" id="{25256E72-E667-4777-AAD5-A497D92202E0}"/>
                  </a:ext>
                </a:extLst>
              </p:cNvPr>
              <p:cNvSpPr/>
              <p:nvPr/>
            </p:nvSpPr>
            <p:spPr>
              <a:xfrm>
                <a:off x="11853208" y="5504703"/>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83" name="任意多边形: 形状 82">
                <a:extLst>
                  <a:ext uri="{FF2B5EF4-FFF2-40B4-BE49-F238E27FC236}">
                    <a16:creationId xmlns:a16="http://schemas.microsoft.com/office/drawing/2014/main" id="{6BB4482D-4D61-47DB-9D5D-8C3D5793FB7F}"/>
                  </a:ext>
                </a:extLst>
              </p:cNvPr>
              <p:cNvSpPr/>
              <p:nvPr/>
            </p:nvSpPr>
            <p:spPr>
              <a:xfrm>
                <a:off x="12140243" y="5504703"/>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84" name="任意多边形: 形状 83">
                <a:extLst>
                  <a:ext uri="{FF2B5EF4-FFF2-40B4-BE49-F238E27FC236}">
                    <a16:creationId xmlns:a16="http://schemas.microsoft.com/office/drawing/2014/main" id="{5C8E1320-4C01-42F4-8C9E-E97C7F4583A1}"/>
                  </a:ext>
                </a:extLst>
              </p:cNvPr>
              <p:cNvSpPr/>
              <p:nvPr/>
            </p:nvSpPr>
            <p:spPr>
              <a:xfrm>
                <a:off x="11853208" y="5602003"/>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85" name="任意多边形: 形状 84">
                <a:extLst>
                  <a:ext uri="{FF2B5EF4-FFF2-40B4-BE49-F238E27FC236}">
                    <a16:creationId xmlns:a16="http://schemas.microsoft.com/office/drawing/2014/main" id="{1201DD4F-D23A-44D1-B204-CE4895F3BFF7}"/>
                  </a:ext>
                </a:extLst>
              </p:cNvPr>
              <p:cNvSpPr/>
              <p:nvPr/>
            </p:nvSpPr>
            <p:spPr>
              <a:xfrm>
                <a:off x="12140243" y="5602003"/>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86" name="任意多边形: 形状 85">
                <a:extLst>
                  <a:ext uri="{FF2B5EF4-FFF2-40B4-BE49-F238E27FC236}">
                    <a16:creationId xmlns:a16="http://schemas.microsoft.com/office/drawing/2014/main" id="{31A9FCAD-C75C-4F3D-B788-FD78BB33CF43}"/>
                  </a:ext>
                </a:extLst>
              </p:cNvPr>
              <p:cNvSpPr/>
              <p:nvPr/>
            </p:nvSpPr>
            <p:spPr>
              <a:xfrm>
                <a:off x="7823356"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87" name="任意多边形: 形状 86">
                <a:extLst>
                  <a:ext uri="{FF2B5EF4-FFF2-40B4-BE49-F238E27FC236}">
                    <a16:creationId xmlns:a16="http://schemas.microsoft.com/office/drawing/2014/main" id="{7EA40554-7D72-4403-97B4-7A00F64385FA}"/>
                  </a:ext>
                </a:extLst>
              </p:cNvPr>
              <p:cNvSpPr/>
              <p:nvPr/>
            </p:nvSpPr>
            <p:spPr>
              <a:xfrm>
                <a:off x="7823356"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88" name="任意多边形: 形状 87">
                <a:extLst>
                  <a:ext uri="{FF2B5EF4-FFF2-40B4-BE49-F238E27FC236}">
                    <a16:creationId xmlns:a16="http://schemas.microsoft.com/office/drawing/2014/main" id="{EA2DE5E9-A5EC-4D4E-AB82-0B69A454F291}"/>
                  </a:ext>
                </a:extLst>
              </p:cNvPr>
              <p:cNvSpPr/>
              <p:nvPr/>
            </p:nvSpPr>
            <p:spPr>
              <a:xfrm>
                <a:off x="7823356" y="432088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89" name="任意多边形: 形状 88">
                <a:extLst>
                  <a:ext uri="{FF2B5EF4-FFF2-40B4-BE49-F238E27FC236}">
                    <a16:creationId xmlns:a16="http://schemas.microsoft.com/office/drawing/2014/main" id="{E7C80022-86BA-4740-A4F1-33FB35900852}"/>
                  </a:ext>
                </a:extLst>
              </p:cNvPr>
              <p:cNvSpPr/>
              <p:nvPr/>
            </p:nvSpPr>
            <p:spPr>
              <a:xfrm>
                <a:off x="7823356"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90" name="任意多边形: 形状 89">
                <a:extLst>
                  <a:ext uri="{FF2B5EF4-FFF2-40B4-BE49-F238E27FC236}">
                    <a16:creationId xmlns:a16="http://schemas.microsoft.com/office/drawing/2014/main" id="{5F6A9F8F-6F89-4476-B021-15832F7A4125}"/>
                  </a:ext>
                </a:extLst>
              </p:cNvPr>
              <p:cNvSpPr/>
              <p:nvPr/>
            </p:nvSpPr>
            <p:spPr>
              <a:xfrm>
                <a:off x="7823356" y="4612784"/>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91" name="任意多边形: 形状 90">
                <a:extLst>
                  <a:ext uri="{FF2B5EF4-FFF2-40B4-BE49-F238E27FC236}">
                    <a16:creationId xmlns:a16="http://schemas.microsoft.com/office/drawing/2014/main" id="{6BDD0183-BF88-4993-BC58-1EC3EDB3B4AF}"/>
                  </a:ext>
                </a:extLst>
              </p:cNvPr>
              <p:cNvSpPr/>
              <p:nvPr/>
            </p:nvSpPr>
            <p:spPr>
              <a:xfrm>
                <a:off x="7823356"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92" name="任意多边形: 形状 91">
                <a:extLst>
                  <a:ext uri="{FF2B5EF4-FFF2-40B4-BE49-F238E27FC236}">
                    <a16:creationId xmlns:a16="http://schemas.microsoft.com/office/drawing/2014/main" id="{0470E736-D1AD-4FA5-BD3F-38A67DE02EC9}"/>
                  </a:ext>
                </a:extLst>
              </p:cNvPr>
              <p:cNvSpPr/>
              <p:nvPr/>
            </p:nvSpPr>
            <p:spPr>
              <a:xfrm>
                <a:off x="7823356" y="506685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93" name="任意多边形: 形状 92">
                <a:extLst>
                  <a:ext uri="{FF2B5EF4-FFF2-40B4-BE49-F238E27FC236}">
                    <a16:creationId xmlns:a16="http://schemas.microsoft.com/office/drawing/2014/main" id="{104B3EEB-C445-4F6C-82F7-122501C3AD5F}"/>
                  </a:ext>
                </a:extLst>
              </p:cNvPr>
              <p:cNvSpPr/>
              <p:nvPr/>
            </p:nvSpPr>
            <p:spPr>
              <a:xfrm>
                <a:off x="7823356" y="5358752"/>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94" name="任意多边形: 形状 93">
                <a:extLst>
                  <a:ext uri="{FF2B5EF4-FFF2-40B4-BE49-F238E27FC236}">
                    <a16:creationId xmlns:a16="http://schemas.microsoft.com/office/drawing/2014/main" id="{E6EBF4FE-95E3-4498-A52E-C56E55E0B9CA}"/>
                  </a:ext>
                </a:extLst>
              </p:cNvPr>
              <p:cNvSpPr/>
              <p:nvPr/>
            </p:nvSpPr>
            <p:spPr>
              <a:xfrm>
                <a:off x="7823356" y="5504703"/>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95" name="任意多边形: 形状 94">
                <a:extLst>
                  <a:ext uri="{FF2B5EF4-FFF2-40B4-BE49-F238E27FC236}">
                    <a16:creationId xmlns:a16="http://schemas.microsoft.com/office/drawing/2014/main" id="{39BA9FBB-AB4E-4DD9-96E8-757EDA876428}"/>
                  </a:ext>
                </a:extLst>
              </p:cNvPr>
              <p:cNvSpPr/>
              <p:nvPr/>
            </p:nvSpPr>
            <p:spPr>
              <a:xfrm>
                <a:off x="7661189"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96" name="任意多边形: 形状 95">
                <a:extLst>
                  <a:ext uri="{FF2B5EF4-FFF2-40B4-BE49-F238E27FC236}">
                    <a16:creationId xmlns:a16="http://schemas.microsoft.com/office/drawing/2014/main" id="{1AA2FEB4-8749-4E3A-A38A-FB4C0D442D64}"/>
                  </a:ext>
                </a:extLst>
              </p:cNvPr>
              <p:cNvSpPr/>
              <p:nvPr/>
            </p:nvSpPr>
            <p:spPr>
              <a:xfrm>
                <a:off x="7661189"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97" name="任意多边形: 形状 96">
                <a:extLst>
                  <a:ext uri="{FF2B5EF4-FFF2-40B4-BE49-F238E27FC236}">
                    <a16:creationId xmlns:a16="http://schemas.microsoft.com/office/drawing/2014/main" id="{7997C35B-3AAB-45D4-80E3-409E32200F5B}"/>
                  </a:ext>
                </a:extLst>
              </p:cNvPr>
              <p:cNvSpPr/>
              <p:nvPr/>
            </p:nvSpPr>
            <p:spPr>
              <a:xfrm>
                <a:off x="7661189"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98" name="任意多边形: 形状 97">
                <a:extLst>
                  <a:ext uri="{FF2B5EF4-FFF2-40B4-BE49-F238E27FC236}">
                    <a16:creationId xmlns:a16="http://schemas.microsoft.com/office/drawing/2014/main" id="{7EBD9626-EB1C-4983-BD63-1738F3ED861D}"/>
                  </a:ext>
                </a:extLst>
              </p:cNvPr>
              <p:cNvSpPr/>
              <p:nvPr/>
            </p:nvSpPr>
            <p:spPr>
              <a:xfrm>
                <a:off x="7661189"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99" name="任意多边形: 形状 98">
                <a:extLst>
                  <a:ext uri="{FF2B5EF4-FFF2-40B4-BE49-F238E27FC236}">
                    <a16:creationId xmlns:a16="http://schemas.microsoft.com/office/drawing/2014/main" id="{98C2B936-C3E4-44B7-B6E4-3B86673DC1B1}"/>
                  </a:ext>
                </a:extLst>
              </p:cNvPr>
              <p:cNvSpPr/>
              <p:nvPr/>
            </p:nvSpPr>
            <p:spPr>
              <a:xfrm>
                <a:off x="7661189" y="492090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0" name="任意多边形: 形状 99">
                <a:extLst>
                  <a:ext uri="{FF2B5EF4-FFF2-40B4-BE49-F238E27FC236}">
                    <a16:creationId xmlns:a16="http://schemas.microsoft.com/office/drawing/2014/main" id="{6C22495E-191F-4DFB-AE5E-373A32B14DD9}"/>
                  </a:ext>
                </a:extLst>
              </p:cNvPr>
              <p:cNvSpPr/>
              <p:nvPr/>
            </p:nvSpPr>
            <p:spPr>
              <a:xfrm>
                <a:off x="7661189" y="506685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1" name="任意多边形: 形状 100">
                <a:extLst>
                  <a:ext uri="{FF2B5EF4-FFF2-40B4-BE49-F238E27FC236}">
                    <a16:creationId xmlns:a16="http://schemas.microsoft.com/office/drawing/2014/main" id="{DA56C376-8DC4-47AD-9866-BFB095605DC6}"/>
                  </a:ext>
                </a:extLst>
              </p:cNvPr>
              <p:cNvSpPr/>
              <p:nvPr/>
            </p:nvSpPr>
            <p:spPr>
              <a:xfrm>
                <a:off x="7661189" y="521280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2" name="任意多边形: 形状 101">
                <a:extLst>
                  <a:ext uri="{FF2B5EF4-FFF2-40B4-BE49-F238E27FC236}">
                    <a16:creationId xmlns:a16="http://schemas.microsoft.com/office/drawing/2014/main" id="{9D6C5117-65CD-4A64-8382-8B74DBC4B965}"/>
                  </a:ext>
                </a:extLst>
              </p:cNvPr>
              <p:cNvSpPr/>
              <p:nvPr/>
            </p:nvSpPr>
            <p:spPr>
              <a:xfrm>
                <a:off x="7661189" y="5504703"/>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03" name="任意多边形: 形状 102">
                <a:extLst>
                  <a:ext uri="{FF2B5EF4-FFF2-40B4-BE49-F238E27FC236}">
                    <a16:creationId xmlns:a16="http://schemas.microsoft.com/office/drawing/2014/main" id="{561D549A-A70F-41AB-84EB-17E8B745B09C}"/>
                  </a:ext>
                </a:extLst>
              </p:cNvPr>
              <p:cNvSpPr/>
              <p:nvPr/>
            </p:nvSpPr>
            <p:spPr>
              <a:xfrm>
                <a:off x="7499021"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4" name="任意多边形: 形状 103">
                <a:extLst>
                  <a:ext uri="{FF2B5EF4-FFF2-40B4-BE49-F238E27FC236}">
                    <a16:creationId xmlns:a16="http://schemas.microsoft.com/office/drawing/2014/main" id="{25965AFE-6466-4495-A98F-A06A322AB1A4}"/>
                  </a:ext>
                </a:extLst>
              </p:cNvPr>
              <p:cNvSpPr/>
              <p:nvPr/>
            </p:nvSpPr>
            <p:spPr>
              <a:xfrm>
                <a:off x="7499021"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5" name="任意多边形: 形状 104">
                <a:extLst>
                  <a:ext uri="{FF2B5EF4-FFF2-40B4-BE49-F238E27FC236}">
                    <a16:creationId xmlns:a16="http://schemas.microsoft.com/office/drawing/2014/main" id="{D666C1FC-64EC-4AD0-A024-700113728055}"/>
                  </a:ext>
                </a:extLst>
              </p:cNvPr>
              <p:cNvSpPr/>
              <p:nvPr/>
            </p:nvSpPr>
            <p:spPr>
              <a:xfrm>
                <a:off x="7499021" y="432088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106" name="任意多边形: 形状 105">
                <a:extLst>
                  <a:ext uri="{FF2B5EF4-FFF2-40B4-BE49-F238E27FC236}">
                    <a16:creationId xmlns:a16="http://schemas.microsoft.com/office/drawing/2014/main" id="{CEA92D4A-3958-4CE8-8A14-FA4589947AF0}"/>
                  </a:ext>
                </a:extLst>
              </p:cNvPr>
              <p:cNvSpPr/>
              <p:nvPr/>
            </p:nvSpPr>
            <p:spPr>
              <a:xfrm>
                <a:off x="7499021"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107" name="任意多边形: 形状 106">
                <a:extLst>
                  <a:ext uri="{FF2B5EF4-FFF2-40B4-BE49-F238E27FC236}">
                    <a16:creationId xmlns:a16="http://schemas.microsoft.com/office/drawing/2014/main" id="{29333E3F-D5B1-4641-B7AA-724F890FF549}"/>
                  </a:ext>
                </a:extLst>
              </p:cNvPr>
              <p:cNvSpPr/>
              <p:nvPr/>
            </p:nvSpPr>
            <p:spPr>
              <a:xfrm>
                <a:off x="7499021" y="4612784"/>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08" name="任意多边形: 形状 107">
                <a:extLst>
                  <a:ext uri="{FF2B5EF4-FFF2-40B4-BE49-F238E27FC236}">
                    <a16:creationId xmlns:a16="http://schemas.microsoft.com/office/drawing/2014/main" id="{1AD8BB79-3E99-456F-BF58-DB685F024BA5}"/>
                  </a:ext>
                </a:extLst>
              </p:cNvPr>
              <p:cNvSpPr/>
              <p:nvPr/>
            </p:nvSpPr>
            <p:spPr>
              <a:xfrm>
                <a:off x="7499021"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9" name="任意多边形: 形状 108">
                <a:extLst>
                  <a:ext uri="{FF2B5EF4-FFF2-40B4-BE49-F238E27FC236}">
                    <a16:creationId xmlns:a16="http://schemas.microsoft.com/office/drawing/2014/main" id="{7B79816D-00F7-492E-ABA9-3FADD7EFF04E}"/>
                  </a:ext>
                </a:extLst>
              </p:cNvPr>
              <p:cNvSpPr/>
              <p:nvPr/>
            </p:nvSpPr>
            <p:spPr>
              <a:xfrm>
                <a:off x="7499021" y="506685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0" name="任意多边形: 形状 109">
                <a:extLst>
                  <a:ext uri="{FF2B5EF4-FFF2-40B4-BE49-F238E27FC236}">
                    <a16:creationId xmlns:a16="http://schemas.microsoft.com/office/drawing/2014/main" id="{8B11BDDC-414D-404A-9578-5AD61A01D1E3}"/>
                  </a:ext>
                </a:extLst>
              </p:cNvPr>
              <p:cNvSpPr/>
              <p:nvPr/>
            </p:nvSpPr>
            <p:spPr>
              <a:xfrm>
                <a:off x="7499021" y="521280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1" name="任意多边形: 形状 110">
                <a:extLst>
                  <a:ext uri="{FF2B5EF4-FFF2-40B4-BE49-F238E27FC236}">
                    <a16:creationId xmlns:a16="http://schemas.microsoft.com/office/drawing/2014/main" id="{D93F8E28-D12D-425E-95AC-B31839D1EAA2}"/>
                  </a:ext>
                </a:extLst>
              </p:cNvPr>
              <p:cNvSpPr/>
              <p:nvPr/>
            </p:nvSpPr>
            <p:spPr>
              <a:xfrm>
                <a:off x="7499021" y="5358752"/>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12" name="任意多边形: 形状 111">
                <a:extLst>
                  <a:ext uri="{FF2B5EF4-FFF2-40B4-BE49-F238E27FC236}">
                    <a16:creationId xmlns:a16="http://schemas.microsoft.com/office/drawing/2014/main" id="{48128A24-57C3-4771-9A88-BE705171FD13}"/>
                  </a:ext>
                </a:extLst>
              </p:cNvPr>
              <p:cNvSpPr/>
              <p:nvPr/>
            </p:nvSpPr>
            <p:spPr>
              <a:xfrm>
                <a:off x="7336854"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3" name="任意多边形: 形状 112">
                <a:extLst>
                  <a:ext uri="{FF2B5EF4-FFF2-40B4-BE49-F238E27FC236}">
                    <a16:creationId xmlns:a16="http://schemas.microsoft.com/office/drawing/2014/main" id="{0F161306-CBBC-4AA5-947A-A65DE73631D8}"/>
                  </a:ext>
                </a:extLst>
              </p:cNvPr>
              <p:cNvSpPr/>
              <p:nvPr/>
            </p:nvSpPr>
            <p:spPr>
              <a:xfrm>
                <a:off x="7336854"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4" name="任意多边形: 形状 113">
                <a:extLst>
                  <a:ext uri="{FF2B5EF4-FFF2-40B4-BE49-F238E27FC236}">
                    <a16:creationId xmlns:a16="http://schemas.microsoft.com/office/drawing/2014/main" id="{3EC67C11-88A2-4A9C-8815-755043B64088}"/>
                  </a:ext>
                </a:extLst>
              </p:cNvPr>
              <p:cNvSpPr/>
              <p:nvPr/>
            </p:nvSpPr>
            <p:spPr>
              <a:xfrm>
                <a:off x="7336854"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115" name="任意多边形: 形状 114">
                <a:extLst>
                  <a:ext uri="{FF2B5EF4-FFF2-40B4-BE49-F238E27FC236}">
                    <a16:creationId xmlns:a16="http://schemas.microsoft.com/office/drawing/2014/main" id="{3D3B58B9-5970-495E-943D-A78DF62EE402}"/>
                  </a:ext>
                </a:extLst>
              </p:cNvPr>
              <p:cNvSpPr/>
              <p:nvPr/>
            </p:nvSpPr>
            <p:spPr>
              <a:xfrm>
                <a:off x="7336854"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6" name="任意多边形: 形状 115">
                <a:extLst>
                  <a:ext uri="{FF2B5EF4-FFF2-40B4-BE49-F238E27FC236}">
                    <a16:creationId xmlns:a16="http://schemas.microsoft.com/office/drawing/2014/main" id="{812C334A-AFD1-4D4F-A960-917F7206F6C7}"/>
                  </a:ext>
                </a:extLst>
              </p:cNvPr>
              <p:cNvSpPr/>
              <p:nvPr/>
            </p:nvSpPr>
            <p:spPr>
              <a:xfrm>
                <a:off x="7336854" y="492090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7" name="任意多边形: 形状 116">
                <a:extLst>
                  <a:ext uri="{FF2B5EF4-FFF2-40B4-BE49-F238E27FC236}">
                    <a16:creationId xmlns:a16="http://schemas.microsoft.com/office/drawing/2014/main" id="{486DC30E-7658-4F97-B8D2-BEE0B3595CDC}"/>
                  </a:ext>
                </a:extLst>
              </p:cNvPr>
              <p:cNvSpPr/>
              <p:nvPr/>
            </p:nvSpPr>
            <p:spPr>
              <a:xfrm>
                <a:off x="7336854" y="521280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8" name="任意多边形: 形状 117">
                <a:extLst>
                  <a:ext uri="{FF2B5EF4-FFF2-40B4-BE49-F238E27FC236}">
                    <a16:creationId xmlns:a16="http://schemas.microsoft.com/office/drawing/2014/main" id="{A5EF97CA-EB15-4850-85B4-BF1590ECF6D0}"/>
                  </a:ext>
                </a:extLst>
              </p:cNvPr>
              <p:cNvSpPr/>
              <p:nvPr/>
            </p:nvSpPr>
            <p:spPr>
              <a:xfrm>
                <a:off x="7336854" y="5504703"/>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19" name="任意多边形: 形状 118">
                <a:extLst>
                  <a:ext uri="{FF2B5EF4-FFF2-40B4-BE49-F238E27FC236}">
                    <a16:creationId xmlns:a16="http://schemas.microsoft.com/office/drawing/2014/main" id="{DA9CBA56-4CDC-4B7E-9033-9618FE97C35B}"/>
                  </a:ext>
                </a:extLst>
              </p:cNvPr>
              <p:cNvSpPr/>
              <p:nvPr/>
            </p:nvSpPr>
            <p:spPr>
              <a:xfrm>
                <a:off x="11423465" y="4774951"/>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20" name="任意多边形: 形状 119">
                <a:extLst>
                  <a:ext uri="{FF2B5EF4-FFF2-40B4-BE49-F238E27FC236}">
                    <a16:creationId xmlns:a16="http://schemas.microsoft.com/office/drawing/2014/main" id="{F6DF81EA-EF4C-4C47-AF59-7FC12EB23536}"/>
                  </a:ext>
                </a:extLst>
              </p:cNvPr>
              <p:cNvSpPr/>
              <p:nvPr/>
            </p:nvSpPr>
            <p:spPr>
              <a:xfrm>
                <a:off x="11423465" y="4872251"/>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21" name="任意多边形: 形状 120">
                <a:extLst>
                  <a:ext uri="{FF2B5EF4-FFF2-40B4-BE49-F238E27FC236}">
                    <a16:creationId xmlns:a16="http://schemas.microsoft.com/office/drawing/2014/main" id="{34A980C9-9714-47D2-B0CD-0EE2D7F2BAA8}"/>
                  </a:ext>
                </a:extLst>
              </p:cNvPr>
              <p:cNvSpPr/>
              <p:nvPr/>
            </p:nvSpPr>
            <p:spPr>
              <a:xfrm>
                <a:off x="11423465" y="4985768"/>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22" name="任意多边形: 形状 121">
                <a:extLst>
                  <a:ext uri="{FF2B5EF4-FFF2-40B4-BE49-F238E27FC236}">
                    <a16:creationId xmlns:a16="http://schemas.microsoft.com/office/drawing/2014/main" id="{D15B7712-84AD-464D-9A03-45338DFE40B2}"/>
                  </a:ext>
                </a:extLst>
              </p:cNvPr>
              <p:cNvSpPr/>
              <p:nvPr/>
            </p:nvSpPr>
            <p:spPr>
              <a:xfrm>
                <a:off x="11423465" y="5083068"/>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23" name="任意多边形: 形状 122">
                <a:extLst>
                  <a:ext uri="{FF2B5EF4-FFF2-40B4-BE49-F238E27FC236}">
                    <a16:creationId xmlns:a16="http://schemas.microsoft.com/office/drawing/2014/main" id="{8CD651AC-1A71-4CC7-B7AE-3FACC1E780E9}"/>
                  </a:ext>
                </a:extLst>
              </p:cNvPr>
              <p:cNvSpPr/>
              <p:nvPr/>
            </p:nvSpPr>
            <p:spPr>
              <a:xfrm>
                <a:off x="11423465" y="5180369"/>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24" name="任意多边形: 形状 123">
                <a:extLst>
                  <a:ext uri="{FF2B5EF4-FFF2-40B4-BE49-F238E27FC236}">
                    <a16:creationId xmlns:a16="http://schemas.microsoft.com/office/drawing/2014/main" id="{DFA68013-B645-4A64-B159-A335D920239B}"/>
                  </a:ext>
                </a:extLst>
              </p:cNvPr>
              <p:cNvSpPr/>
              <p:nvPr/>
            </p:nvSpPr>
            <p:spPr>
              <a:xfrm>
                <a:off x="11423465" y="5293886"/>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25" name="任意多边形: 形状 124">
                <a:extLst>
                  <a:ext uri="{FF2B5EF4-FFF2-40B4-BE49-F238E27FC236}">
                    <a16:creationId xmlns:a16="http://schemas.microsoft.com/office/drawing/2014/main" id="{2FA37D60-ABAD-46A0-B401-9E7DB67584B7}"/>
                  </a:ext>
                </a:extLst>
              </p:cNvPr>
              <p:cNvSpPr/>
              <p:nvPr/>
            </p:nvSpPr>
            <p:spPr>
              <a:xfrm>
                <a:off x="11423465" y="5391186"/>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26" name="任意多边形: 形状 125">
                <a:extLst>
                  <a:ext uri="{FF2B5EF4-FFF2-40B4-BE49-F238E27FC236}">
                    <a16:creationId xmlns:a16="http://schemas.microsoft.com/office/drawing/2014/main" id="{2A922A90-EAC2-4188-8C5A-197D44B42D39}"/>
                  </a:ext>
                </a:extLst>
              </p:cNvPr>
              <p:cNvSpPr/>
              <p:nvPr/>
            </p:nvSpPr>
            <p:spPr>
              <a:xfrm>
                <a:off x="11423465" y="5504703"/>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27" name="任意多边形: 形状 126">
                <a:extLst>
                  <a:ext uri="{FF2B5EF4-FFF2-40B4-BE49-F238E27FC236}">
                    <a16:creationId xmlns:a16="http://schemas.microsoft.com/office/drawing/2014/main" id="{7C6C965C-4018-4128-979C-41A65E63FF89}"/>
                  </a:ext>
                </a:extLst>
              </p:cNvPr>
              <p:cNvSpPr/>
              <p:nvPr/>
            </p:nvSpPr>
            <p:spPr>
              <a:xfrm>
                <a:off x="11309948" y="4774951"/>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28" name="任意多边形: 形状 127">
                <a:extLst>
                  <a:ext uri="{FF2B5EF4-FFF2-40B4-BE49-F238E27FC236}">
                    <a16:creationId xmlns:a16="http://schemas.microsoft.com/office/drawing/2014/main" id="{EB1DB3CF-B035-44BC-B571-8709D9901ECD}"/>
                  </a:ext>
                </a:extLst>
              </p:cNvPr>
              <p:cNvSpPr/>
              <p:nvPr/>
            </p:nvSpPr>
            <p:spPr>
              <a:xfrm>
                <a:off x="11309948" y="4872251"/>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29" name="任意多边形: 形状 128">
                <a:extLst>
                  <a:ext uri="{FF2B5EF4-FFF2-40B4-BE49-F238E27FC236}">
                    <a16:creationId xmlns:a16="http://schemas.microsoft.com/office/drawing/2014/main" id="{A221D5D6-1B83-4CB4-B372-EF6C055A8BBC}"/>
                  </a:ext>
                </a:extLst>
              </p:cNvPr>
              <p:cNvSpPr/>
              <p:nvPr/>
            </p:nvSpPr>
            <p:spPr>
              <a:xfrm>
                <a:off x="11309948" y="4985768"/>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30" name="任意多边形: 形状 129">
                <a:extLst>
                  <a:ext uri="{FF2B5EF4-FFF2-40B4-BE49-F238E27FC236}">
                    <a16:creationId xmlns:a16="http://schemas.microsoft.com/office/drawing/2014/main" id="{DB2B55B4-B32E-46CD-A2EC-BB8260A53761}"/>
                  </a:ext>
                </a:extLst>
              </p:cNvPr>
              <p:cNvSpPr/>
              <p:nvPr/>
            </p:nvSpPr>
            <p:spPr>
              <a:xfrm>
                <a:off x="11309948" y="5083068"/>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31" name="任意多边形: 形状 130">
                <a:extLst>
                  <a:ext uri="{FF2B5EF4-FFF2-40B4-BE49-F238E27FC236}">
                    <a16:creationId xmlns:a16="http://schemas.microsoft.com/office/drawing/2014/main" id="{F94CA9CB-D786-4673-B7FA-43B24AC05BB3}"/>
                  </a:ext>
                </a:extLst>
              </p:cNvPr>
              <p:cNvSpPr/>
              <p:nvPr/>
            </p:nvSpPr>
            <p:spPr>
              <a:xfrm>
                <a:off x="11309948" y="5180369"/>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32" name="任意多边形: 形状 131">
                <a:extLst>
                  <a:ext uri="{FF2B5EF4-FFF2-40B4-BE49-F238E27FC236}">
                    <a16:creationId xmlns:a16="http://schemas.microsoft.com/office/drawing/2014/main" id="{4A2139EE-ED62-47E9-9919-FB16B9FA70EC}"/>
                  </a:ext>
                </a:extLst>
              </p:cNvPr>
              <p:cNvSpPr/>
              <p:nvPr/>
            </p:nvSpPr>
            <p:spPr>
              <a:xfrm>
                <a:off x="11309948" y="5293886"/>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33" name="任意多边形: 形状 132">
                <a:extLst>
                  <a:ext uri="{FF2B5EF4-FFF2-40B4-BE49-F238E27FC236}">
                    <a16:creationId xmlns:a16="http://schemas.microsoft.com/office/drawing/2014/main" id="{9E4CE385-233F-47B0-BBE4-4CEE1441C8B2}"/>
                  </a:ext>
                </a:extLst>
              </p:cNvPr>
              <p:cNvSpPr/>
              <p:nvPr/>
            </p:nvSpPr>
            <p:spPr>
              <a:xfrm>
                <a:off x="11309948" y="5391186"/>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34" name="任意多边形: 形状 133">
                <a:extLst>
                  <a:ext uri="{FF2B5EF4-FFF2-40B4-BE49-F238E27FC236}">
                    <a16:creationId xmlns:a16="http://schemas.microsoft.com/office/drawing/2014/main" id="{C5A081F7-8419-483E-A294-6F70655B199F}"/>
                  </a:ext>
                </a:extLst>
              </p:cNvPr>
              <p:cNvSpPr/>
              <p:nvPr/>
            </p:nvSpPr>
            <p:spPr>
              <a:xfrm>
                <a:off x="11309948" y="5504703"/>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35" name="任意多边形: 形状 134">
                <a:extLst>
                  <a:ext uri="{FF2B5EF4-FFF2-40B4-BE49-F238E27FC236}">
                    <a16:creationId xmlns:a16="http://schemas.microsoft.com/office/drawing/2014/main" id="{9342E257-F022-445E-ABED-4644529B3BDA}"/>
                  </a:ext>
                </a:extLst>
              </p:cNvPr>
              <p:cNvSpPr/>
              <p:nvPr/>
            </p:nvSpPr>
            <p:spPr>
              <a:xfrm>
                <a:off x="12477551" y="4791168"/>
                <a:ext cx="97300" cy="145950"/>
              </a:xfrm>
              <a:custGeom>
                <a:avLst/>
                <a:gdLst/>
                <a:ahLst/>
                <a:cxnLst/>
                <a:rect l="0" t="0" r="0" b="0"/>
                <a:pathLst>
                  <a:path w="97300" h="145950">
                    <a:moveTo>
                      <a:pt x="12163" y="12163"/>
                    </a:moveTo>
                    <a:lnTo>
                      <a:pt x="93246" y="12163"/>
                    </a:lnTo>
                    <a:lnTo>
                      <a:pt x="93246"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36" name="任意多边形: 形状 135">
                <a:extLst>
                  <a:ext uri="{FF2B5EF4-FFF2-40B4-BE49-F238E27FC236}">
                    <a16:creationId xmlns:a16="http://schemas.microsoft.com/office/drawing/2014/main" id="{EEF40D3A-9379-4CE7-990B-8A4FBA5C0A22}"/>
                  </a:ext>
                </a:extLst>
              </p:cNvPr>
              <p:cNvSpPr/>
              <p:nvPr/>
            </p:nvSpPr>
            <p:spPr>
              <a:xfrm>
                <a:off x="12720802" y="4791168"/>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37" name="任意多边形: 形状 136">
                <a:extLst>
                  <a:ext uri="{FF2B5EF4-FFF2-40B4-BE49-F238E27FC236}">
                    <a16:creationId xmlns:a16="http://schemas.microsoft.com/office/drawing/2014/main" id="{703AB844-F67C-4DF3-986A-7E9DD437CD1F}"/>
                  </a:ext>
                </a:extLst>
              </p:cNvPr>
              <p:cNvSpPr/>
              <p:nvPr/>
            </p:nvSpPr>
            <p:spPr>
              <a:xfrm>
                <a:off x="12964052" y="4791168"/>
                <a:ext cx="64867" cy="145950"/>
              </a:xfrm>
              <a:custGeom>
                <a:avLst/>
                <a:gdLst/>
                <a:ahLst/>
                <a:cxnLst/>
                <a:rect l="0" t="0" r="0" b="0"/>
                <a:pathLst>
                  <a:path w="64866" h="145950">
                    <a:moveTo>
                      <a:pt x="12163" y="12163"/>
                    </a:moveTo>
                    <a:lnTo>
                      <a:pt x="60813" y="12163"/>
                    </a:lnTo>
                    <a:lnTo>
                      <a:pt x="60813"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38" name="任意多边形: 形状 137">
                <a:extLst>
                  <a:ext uri="{FF2B5EF4-FFF2-40B4-BE49-F238E27FC236}">
                    <a16:creationId xmlns:a16="http://schemas.microsoft.com/office/drawing/2014/main" id="{7335CC3A-CE84-48ED-9959-F4346B734C63}"/>
                  </a:ext>
                </a:extLst>
              </p:cNvPr>
              <p:cNvSpPr/>
              <p:nvPr/>
            </p:nvSpPr>
            <p:spPr>
              <a:xfrm>
                <a:off x="12477551" y="4953335"/>
                <a:ext cx="97300" cy="145950"/>
              </a:xfrm>
              <a:custGeom>
                <a:avLst/>
                <a:gdLst/>
                <a:ahLst/>
                <a:cxnLst/>
                <a:rect l="0" t="0" r="0" b="0"/>
                <a:pathLst>
                  <a:path w="97300" h="145950">
                    <a:moveTo>
                      <a:pt x="12163" y="12163"/>
                    </a:moveTo>
                    <a:lnTo>
                      <a:pt x="93246" y="12163"/>
                    </a:lnTo>
                    <a:lnTo>
                      <a:pt x="93246"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39" name="任意多边形: 形状 138">
                <a:extLst>
                  <a:ext uri="{FF2B5EF4-FFF2-40B4-BE49-F238E27FC236}">
                    <a16:creationId xmlns:a16="http://schemas.microsoft.com/office/drawing/2014/main" id="{8607E7FD-C1A4-4536-9CAC-807F53D784BF}"/>
                  </a:ext>
                </a:extLst>
              </p:cNvPr>
              <p:cNvSpPr/>
              <p:nvPr/>
            </p:nvSpPr>
            <p:spPr>
              <a:xfrm>
                <a:off x="12720802" y="49533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40" name="任意多边形: 形状 139">
                <a:extLst>
                  <a:ext uri="{FF2B5EF4-FFF2-40B4-BE49-F238E27FC236}">
                    <a16:creationId xmlns:a16="http://schemas.microsoft.com/office/drawing/2014/main" id="{68BAAA1A-CFF8-4416-A16A-2EDB7A991B7A}"/>
                  </a:ext>
                </a:extLst>
              </p:cNvPr>
              <p:cNvSpPr/>
              <p:nvPr/>
            </p:nvSpPr>
            <p:spPr>
              <a:xfrm>
                <a:off x="12834319" y="49533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41" name="任意多边形: 形状 140">
                <a:extLst>
                  <a:ext uri="{FF2B5EF4-FFF2-40B4-BE49-F238E27FC236}">
                    <a16:creationId xmlns:a16="http://schemas.microsoft.com/office/drawing/2014/main" id="{5FB77AD8-4717-44AF-86F5-4957138CA4F4}"/>
                  </a:ext>
                </a:extLst>
              </p:cNvPr>
              <p:cNvSpPr/>
              <p:nvPr/>
            </p:nvSpPr>
            <p:spPr>
              <a:xfrm>
                <a:off x="12964052" y="4953335"/>
                <a:ext cx="64867" cy="145950"/>
              </a:xfrm>
              <a:custGeom>
                <a:avLst/>
                <a:gdLst/>
                <a:ahLst/>
                <a:cxnLst/>
                <a:rect l="0" t="0" r="0" b="0"/>
                <a:pathLst>
                  <a:path w="64866" h="145950">
                    <a:moveTo>
                      <a:pt x="12163" y="12163"/>
                    </a:moveTo>
                    <a:lnTo>
                      <a:pt x="60813" y="12163"/>
                    </a:lnTo>
                    <a:lnTo>
                      <a:pt x="60813"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42" name="任意多边形: 形状 141">
                <a:extLst>
                  <a:ext uri="{FF2B5EF4-FFF2-40B4-BE49-F238E27FC236}">
                    <a16:creationId xmlns:a16="http://schemas.microsoft.com/office/drawing/2014/main" id="{8DB5AE6A-D96D-4219-B2CE-B8A7980C9D0E}"/>
                  </a:ext>
                </a:extLst>
              </p:cNvPr>
              <p:cNvSpPr/>
              <p:nvPr/>
            </p:nvSpPr>
            <p:spPr>
              <a:xfrm>
                <a:off x="12477551" y="5099285"/>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43" name="任意多边形: 形状 142">
                <a:extLst>
                  <a:ext uri="{FF2B5EF4-FFF2-40B4-BE49-F238E27FC236}">
                    <a16:creationId xmlns:a16="http://schemas.microsoft.com/office/drawing/2014/main" id="{90E2E83B-60E5-4B58-A3FC-410E87BB891B}"/>
                  </a:ext>
                </a:extLst>
              </p:cNvPr>
              <p:cNvSpPr/>
              <p:nvPr/>
            </p:nvSpPr>
            <p:spPr>
              <a:xfrm>
                <a:off x="12607285" y="5099285"/>
                <a:ext cx="81084" cy="129734"/>
              </a:xfrm>
              <a:custGeom>
                <a:avLst/>
                <a:gdLst/>
                <a:ahLst/>
                <a:cxnLst/>
                <a:rect l="0" t="0" r="0" b="0"/>
                <a:pathLst>
                  <a:path w="81083" h="129733">
                    <a:moveTo>
                      <a:pt x="12163" y="12163"/>
                    </a:moveTo>
                    <a:lnTo>
                      <a:pt x="77029" y="12163"/>
                    </a:lnTo>
                    <a:lnTo>
                      <a:pt x="77029"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44" name="任意多边形: 形状 143">
                <a:extLst>
                  <a:ext uri="{FF2B5EF4-FFF2-40B4-BE49-F238E27FC236}">
                    <a16:creationId xmlns:a16="http://schemas.microsoft.com/office/drawing/2014/main" id="{9DB31EB3-4002-4A5E-8338-B78EDF077F61}"/>
                  </a:ext>
                </a:extLst>
              </p:cNvPr>
              <p:cNvSpPr/>
              <p:nvPr/>
            </p:nvSpPr>
            <p:spPr>
              <a:xfrm>
                <a:off x="12720802" y="5099285"/>
                <a:ext cx="81084" cy="129734"/>
              </a:xfrm>
              <a:custGeom>
                <a:avLst/>
                <a:gdLst/>
                <a:ahLst/>
                <a:cxnLst/>
                <a:rect l="0" t="0" r="0" b="0"/>
                <a:pathLst>
                  <a:path w="81083" h="129733">
                    <a:moveTo>
                      <a:pt x="12163" y="12163"/>
                    </a:moveTo>
                    <a:lnTo>
                      <a:pt x="77029" y="12163"/>
                    </a:lnTo>
                    <a:lnTo>
                      <a:pt x="77029"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45" name="任意多边形: 形状 144">
                <a:extLst>
                  <a:ext uri="{FF2B5EF4-FFF2-40B4-BE49-F238E27FC236}">
                    <a16:creationId xmlns:a16="http://schemas.microsoft.com/office/drawing/2014/main" id="{515729DB-1D3F-49B0-9713-A60E056C28C6}"/>
                  </a:ext>
                </a:extLst>
              </p:cNvPr>
              <p:cNvSpPr/>
              <p:nvPr/>
            </p:nvSpPr>
            <p:spPr>
              <a:xfrm>
                <a:off x="12964052" y="5099285"/>
                <a:ext cx="64867" cy="129734"/>
              </a:xfrm>
              <a:custGeom>
                <a:avLst/>
                <a:gdLst/>
                <a:ahLst/>
                <a:cxnLst/>
                <a:rect l="0" t="0" r="0" b="0"/>
                <a:pathLst>
                  <a:path w="64866" h="129733">
                    <a:moveTo>
                      <a:pt x="12163" y="12163"/>
                    </a:moveTo>
                    <a:lnTo>
                      <a:pt x="60813" y="12163"/>
                    </a:lnTo>
                    <a:lnTo>
                      <a:pt x="60813"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46" name="任意多边形: 形状 145">
                <a:extLst>
                  <a:ext uri="{FF2B5EF4-FFF2-40B4-BE49-F238E27FC236}">
                    <a16:creationId xmlns:a16="http://schemas.microsoft.com/office/drawing/2014/main" id="{3D8A8E79-CE83-4387-B42A-0028A15CB02D}"/>
                  </a:ext>
                </a:extLst>
              </p:cNvPr>
              <p:cNvSpPr/>
              <p:nvPr/>
            </p:nvSpPr>
            <p:spPr>
              <a:xfrm>
                <a:off x="12720802" y="52452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47" name="任意多边形: 形状 146">
                <a:extLst>
                  <a:ext uri="{FF2B5EF4-FFF2-40B4-BE49-F238E27FC236}">
                    <a16:creationId xmlns:a16="http://schemas.microsoft.com/office/drawing/2014/main" id="{D7391F02-164E-476C-A002-F02B2774BDF1}"/>
                  </a:ext>
                </a:extLst>
              </p:cNvPr>
              <p:cNvSpPr/>
              <p:nvPr/>
            </p:nvSpPr>
            <p:spPr>
              <a:xfrm>
                <a:off x="12834319" y="52452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48" name="任意多边形: 形状 147">
                <a:extLst>
                  <a:ext uri="{FF2B5EF4-FFF2-40B4-BE49-F238E27FC236}">
                    <a16:creationId xmlns:a16="http://schemas.microsoft.com/office/drawing/2014/main" id="{D59F3003-3E7D-485D-89E0-B7FD35FE5D6E}"/>
                  </a:ext>
                </a:extLst>
              </p:cNvPr>
              <p:cNvSpPr/>
              <p:nvPr/>
            </p:nvSpPr>
            <p:spPr>
              <a:xfrm>
                <a:off x="12477551" y="5391186"/>
                <a:ext cx="97300" cy="162167"/>
              </a:xfrm>
              <a:custGeom>
                <a:avLst/>
                <a:gdLst/>
                <a:ahLst/>
                <a:cxnLst/>
                <a:rect l="0" t="0" r="0" b="0"/>
                <a:pathLst>
                  <a:path w="97300" h="162167">
                    <a:moveTo>
                      <a:pt x="12163" y="12163"/>
                    </a:moveTo>
                    <a:lnTo>
                      <a:pt x="93246" y="12163"/>
                    </a:lnTo>
                    <a:lnTo>
                      <a:pt x="93246"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149" name="任意多边形: 形状 148">
                <a:extLst>
                  <a:ext uri="{FF2B5EF4-FFF2-40B4-BE49-F238E27FC236}">
                    <a16:creationId xmlns:a16="http://schemas.microsoft.com/office/drawing/2014/main" id="{4013EF08-E310-4A57-9007-2A930253AED4}"/>
                  </a:ext>
                </a:extLst>
              </p:cNvPr>
              <p:cNvSpPr/>
              <p:nvPr/>
            </p:nvSpPr>
            <p:spPr>
              <a:xfrm>
                <a:off x="12607285" y="5391186"/>
                <a:ext cx="81084" cy="162167"/>
              </a:xfrm>
              <a:custGeom>
                <a:avLst/>
                <a:gdLst/>
                <a:ahLst/>
                <a:cxnLst/>
                <a:rect l="0" t="0" r="0" b="0"/>
                <a:pathLst>
                  <a:path w="81083" h="162167">
                    <a:moveTo>
                      <a:pt x="12163" y="12163"/>
                    </a:moveTo>
                    <a:lnTo>
                      <a:pt x="77029" y="12163"/>
                    </a:lnTo>
                    <a:lnTo>
                      <a:pt x="77029"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150" name="任意多边形: 形状 149">
                <a:extLst>
                  <a:ext uri="{FF2B5EF4-FFF2-40B4-BE49-F238E27FC236}">
                    <a16:creationId xmlns:a16="http://schemas.microsoft.com/office/drawing/2014/main" id="{8A5E9D2C-484E-40D2-BD36-FE76D2E80663}"/>
                  </a:ext>
                </a:extLst>
              </p:cNvPr>
              <p:cNvSpPr/>
              <p:nvPr/>
            </p:nvSpPr>
            <p:spPr>
              <a:xfrm>
                <a:off x="12720802" y="5391186"/>
                <a:ext cx="81084" cy="162167"/>
              </a:xfrm>
              <a:custGeom>
                <a:avLst/>
                <a:gdLst/>
                <a:ahLst/>
                <a:cxnLst/>
                <a:rect l="0" t="0" r="0" b="0"/>
                <a:pathLst>
                  <a:path w="81083" h="162167">
                    <a:moveTo>
                      <a:pt x="12163" y="12163"/>
                    </a:moveTo>
                    <a:lnTo>
                      <a:pt x="77029" y="12163"/>
                    </a:lnTo>
                    <a:lnTo>
                      <a:pt x="77029"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151" name="任意多边形: 形状 150">
                <a:extLst>
                  <a:ext uri="{FF2B5EF4-FFF2-40B4-BE49-F238E27FC236}">
                    <a16:creationId xmlns:a16="http://schemas.microsoft.com/office/drawing/2014/main" id="{A48E7652-DF34-4DAC-877D-B7E672B7B819}"/>
                  </a:ext>
                </a:extLst>
              </p:cNvPr>
              <p:cNvSpPr/>
              <p:nvPr/>
            </p:nvSpPr>
            <p:spPr>
              <a:xfrm>
                <a:off x="12834319" y="5391186"/>
                <a:ext cx="81084" cy="162167"/>
              </a:xfrm>
              <a:custGeom>
                <a:avLst/>
                <a:gdLst/>
                <a:ahLst/>
                <a:cxnLst/>
                <a:rect l="0" t="0" r="0" b="0"/>
                <a:pathLst>
                  <a:path w="81083" h="162167">
                    <a:moveTo>
                      <a:pt x="12163" y="12163"/>
                    </a:moveTo>
                    <a:lnTo>
                      <a:pt x="77029" y="12163"/>
                    </a:lnTo>
                    <a:lnTo>
                      <a:pt x="77029"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152" name="任意多边形: 形状 151">
                <a:extLst>
                  <a:ext uri="{FF2B5EF4-FFF2-40B4-BE49-F238E27FC236}">
                    <a16:creationId xmlns:a16="http://schemas.microsoft.com/office/drawing/2014/main" id="{C73DC6D3-80B3-4670-9DB5-2204231AF9E6}"/>
                  </a:ext>
                </a:extLst>
              </p:cNvPr>
              <p:cNvSpPr/>
              <p:nvPr/>
            </p:nvSpPr>
            <p:spPr>
              <a:xfrm>
                <a:off x="12964052" y="5391186"/>
                <a:ext cx="64867" cy="162167"/>
              </a:xfrm>
              <a:custGeom>
                <a:avLst/>
                <a:gdLst/>
                <a:ahLst/>
                <a:cxnLst/>
                <a:rect l="0" t="0" r="0" b="0"/>
                <a:pathLst>
                  <a:path w="64866" h="162167">
                    <a:moveTo>
                      <a:pt x="12163" y="12163"/>
                    </a:moveTo>
                    <a:lnTo>
                      <a:pt x="60813" y="12163"/>
                    </a:lnTo>
                    <a:lnTo>
                      <a:pt x="60813"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153" name="任意多边形: 形状 152">
                <a:extLst>
                  <a:ext uri="{FF2B5EF4-FFF2-40B4-BE49-F238E27FC236}">
                    <a16:creationId xmlns:a16="http://schemas.microsoft.com/office/drawing/2014/main" id="{63837463-3E87-4576-84D6-85346F819654}"/>
                  </a:ext>
                </a:extLst>
              </p:cNvPr>
              <p:cNvSpPr/>
              <p:nvPr/>
            </p:nvSpPr>
            <p:spPr>
              <a:xfrm>
                <a:off x="12477551" y="5553353"/>
                <a:ext cx="97300" cy="145950"/>
              </a:xfrm>
              <a:custGeom>
                <a:avLst/>
                <a:gdLst/>
                <a:ahLst/>
                <a:cxnLst/>
                <a:rect l="0" t="0" r="0" b="0"/>
                <a:pathLst>
                  <a:path w="97300" h="145950">
                    <a:moveTo>
                      <a:pt x="12163" y="12163"/>
                    </a:moveTo>
                    <a:lnTo>
                      <a:pt x="93246" y="12163"/>
                    </a:lnTo>
                    <a:lnTo>
                      <a:pt x="93246"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54" name="任意多边形: 形状 153">
                <a:extLst>
                  <a:ext uri="{FF2B5EF4-FFF2-40B4-BE49-F238E27FC236}">
                    <a16:creationId xmlns:a16="http://schemas.microsoft.com/office/drawing/2014/main" id="{ED86674A-EE99-44A7-BE94-B116CC46A4BD}"/>
                  </a:ext>
                </a:extLst>
              </p:cNvPr>
              <p:cNvSpPr/>
              <p:nvPr/>
            </p:nvSpPr>
            <p:spPr>
              <a:xfrm>
                <a:off x="12720802" y="5553353"/>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55" name="任意多边形: 形状 154">
                <a:extLst>
                  <a:ext uri="{FF2B5EF4-FFF2-40B4-BE49-F238E27FC236}">
                    <a16:creationId xmlns:a16="http://schemas.microsoft.com/office/drawing/2014/main" id="{DC13BC8A-2DFA-496E-A9A8-7FC669AB0CC6}"/>
                  </a:ext>
                </a:extLst>
              </p:cNvPr>
              <p:cNvSpPr/>
              <p:nvPr/>
            </p:nvSpPr>
            <p:spPr>
              <a:xfrm>
                <a:off x="12964052" y="5553353"/>
                <a:ext cx="64867" cy="145950"/>
              </a:xfrm>
              <a:custGeom>
                <a:avLst/>
                <a:gdLst/>
                <a:ahLst/>
                <a:cxnLst/>
                <a:rect l="0" t="0" r="0" b="0"/>
                <a:pathLst>
                  <a:path w="64866" h="145950">
                    <a:moveTo>
                      <a:pt x="12163" y="12163"/>
                    </a:moveTo>
                    <a:lnTo>
                      <a:pt x="60813" y="12163"/>
                    </a:lnTo>
                    <a:lnTo>
                      <a:pt x="60813"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56" name="任意多边形: 形状 155">
                <a:extLst>
                  <a:ext uri="{FF2B5EF4-FFF2-40B4-BE49-F238E27FC236}">
                    <a16:creationId xmlns:a16="http://schemas.microsoft.com/office/drawing/2014/main" id="{F64984EE-0BA6-4F63-AEA3-411821602AB9}"/>
                  </a:ext>
                </a:extLst>
              </p:cNvPr>
              <p:cNvSpPr/>
              <p:nvPr/>
            </p:nvSpPr>
            <p:spPr>
              <a:xfrm>
                <a:off x="10523438" y="4556025"/>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57" name="任意多边形: 形状 156">
                <a:extLst>
                  <a:ext uri="{FF2B5EF4-FFF2-40B4-BE49-F238E27FC236}">
                    <a16:creationId xmlns:a16="http://schemas.microsoft.com/office/drawing/2014/main" id="{CB7BCE3F-8EFA-4233-80C8-5838132D552C}"/>
                  </a:ext>
                </a:extLst>
              </p:cNvPr>
              <p:cNvSpPr/>
              <p:nvPr/>
            </p:nvSpPr>
            <p:spPr>
              <a:xfrm>
                <a:off x="10795878" y="4556025"/>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158" name="任意多边形: 形状 157">
                <a:extLst>
                  <a:ext uri="{FF2B5EF4-FFF2-40B4-BE49-F238E27FC236}">
                    <a16:creationId xmlns:a16="http://schemas.microsoft.com/office/drawing/2014/main" id="{DBFCB312-87FA-408B-ABE8-1F1FA3D88DF0}"/>
                  </a:ext>
                </a:extLst>
              </p:cNvPr>
              <p:cNvSpPr/>
              <p:nvPr/>
            </p:nvSpPr>
            <p:spPr>
              <a:xfrm>
                <a:off x="10523438" y="4685759"/>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59" name="任意多边形: 形状 158">
                <a:extLst>
                  <a:ext uri="{FF2B5EF4-FFF2-40B4-BE49-F238E27FC236}">
                    <a16:creationId xmlns:a16="http://schemas.microsoft.com/office/drawing/2014/main" id="{28AB74CD-DCF7-4B16-82EF-EE3D22ED5303}"/>
                  </a:ext>
                </a:extLst>
              </p:cNvPr>
              <p:cNvSpPr/>
              <p:nvPr/>
            </p:nvSpPr>
            <p:spPr>
              <a:xfrm>
                <a:off x="10523438" y="4815493"/>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0" name="任意多边形: 形状 159">
                <a:extLst>
                  <a:ext uri="{FF2B5EF4-FFF2-40B4-BE49-F238E27FC236}">
                    <a16:creationId xmlns:a16="http://schemas.microsoft.com/office/drawing/2014/main" id="{1B0A309A-F12E-49A3-B0F5-6A346F7E069F}"/>
                  </a:ext>
                </a:extLst>
              </p:cNvPr>
              <p:cNvSpPr/>
              <p:nvPr/>
            </p:nvSpPr>
            <p:spPr>
              <a:xfrm>
                <a:off x="10795878" y="4815493"/>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161" name="任意多边形: 形状 160">
                <a:extLst>
                  <a:ext uri="{FF2B5EF4-FFF2-40B4-BE49-F238E27FC236}">
                    <a16:creationId xmlns:a16="http://schemas.microsoft.com/office/drawing/2014/main" id="{29F996A1-2914-4350-ABBE-3D87759426CE}"/>
                  </a:ext>
                </a:extLst>
              </p:cNvPr>
              <p:cNvSpPr/>
              <p:nvPr/>
            </p:nvSpPr>
            <p:spPr>
              <a:xfrm>
                <a:off x="10795878" y="4945226"/>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162" name="任意多边形: 形状 161">
                <a:extLst>
                  <a:ext uri="{FF2B5EF4-FFF2-40B4-BE49-F238E27FC236}">
                    <a16:creationId xmlns:a16="http://schemas.microsoft.com/office/drawing/2014/main" id="{DC8DC6A9-6130-47C9-A4E7-9D894F09AB70}"/>
                  </a:ext>
                </a:extLst>
              </p:cNvPr>
              <p:cNvSpPr/>
              <p:nvPr/>
            </p:nvSpPr>
            <p:spPr>
              <a:xfrm>
                <a:off x="10795878" y="5074960"/>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163" name="任意多边形: 形状 162">
                <a:extLst>
                  <a:ext uri="{FF2B5EF4-FFF2-40B4-BE49-F238E27FC236}">
                    <a16:creationId xmlns:a16="http://schemas.microsoft.com/office/drawing/2014/main" id="{6B2FBD30-594D-4CE6-A5AF-372FCB4953BD}"/>
                  </a:ext>
                </a:extLst>
              </p:cNvPr>
              <p:cNvSpPr/>
              <p:nvPr/>
            </p:nvSpPr>
            <p:spPr>
              <a:xfrm>
                <a:off x="10523438" y="5074960"/>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4" name="任意多边形: 形状 163">
                <a:extLst>
                  <a:ext uri="{FF2B5EF4-FFF2-40B4-BE49-F238E27FC236}">
                    <a16:creationId xmlns:a16="http://schemas.microsoft.com/office/drawing/2014/main" id="{4448C02E-6315-43C2-998B-DFAE8FD2F344}"/>
                  </a:ext>
                </a:extLst>
              </p:cNvPr>
              <p:cNvSpPr/>
              <p:nvPr/>
            </p:nvSpPr>
            <p:spPr>
              <a:xfrm>
                <a:off x="10523438" y="5204694"/>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5" name="任意多边形: 形状 164">
                <a:extLst>
                  <a:ext uri="{FF2B5EF4-FFF2-40B4-BE49-F238E27FC236}">
                    <a16:creationId xmlns:a16="http://schemas.microsoft.com/office/drawing/2014/main" id="{A41F2E3C-A50E-4F0E-8AF6-D8F5FFCF683A}"/>
                  </a:ext>
                </a:extLst>
              </p:cNvPr>
              <p:cNvSpPr/>
              <p:nvPr/>
            </p:nvSpPr>
            <p:spPr>
              <a:xfrm>
                <a:off x="10523438" y="5334427"/>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6" name="任意多边形: 形状 165">
                <a:extLst>
                  <a:ext uri="{FF2B5EF4-FFF2-40B4-BE49-F238E27FC236}">
                    <a16:creationId xmlns:a16="http://schemas.microsoft.com/office/drawing/2014/main" id="{A800D693-EF05-4311-884C-91D4995286FE}"/>
                  </a:ext>
                </a:extLst>
              </p:cNvPr>
              <p:cNvSpPr/>
              <p:nvPr/>
            </p:nvSpPr>
            <p:spPr>
              <a:xfrm>
                <a:off x="10795878" y="5334427"/>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167" name="任意多边形: 形状 166">
                <a:extLst>
                  <a:ext uri="{FF2B5EF4-FFF2-40B4-BE49-F238E27FC236}">
                    <a16:creationId xmlns:a16="http://schemas.microsoft.com/office/drawing/2014/main" id="{FDC292EB-46E9-4EA2-8880-F4FB4A44C4F1}"/>
                  </a:ext>
                </a:extLst>
              </p:cNvPr>
              <p:cNvSpPr/>
              <p:nvPr/>
            </p:nvSpPr>
            <p:spPr>
              <a:xfrm>
                <a:off x="9179072" y="4791168"/>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8" name="任意多边形: 形状 167">
                <a:extLst>
                  <a:ext uri="{FF2B5EF4-FFF2-40B4-BE49-F238E27FC236}">
                    <a16:creationId xmlns:a16="http://schemas.microsoft.com/office/drawing/2014/main" id="{D0764D4B-65EF-47E1-9633-8778BC33BA47}"/>
                  </a:ext>
                </a:extLst>
              </p:cNvPr>
              <p:cNvSpPr/>
              <p:nvPr/>
            </p:nvSpPr>
            <p:spPr>
              <a:xfrm>
                <a:off x="9023392" y="4920901"/>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9" name="任意多边形: 形状 168">
                <a:extLst>
                  <a:ext uri="{FF2B5EF4-FFF2-40B4-BE49-F238E27FC236}">
                    <a16:creationId xmlns:a16="http://schemas.microsoft.com/office/drawing/2014/main" id="{1F95CA0F-367E-488A-9CC7-7B5CFEA81033}"/>
                  </a:ext>
                </a:extLst>
              </p:cNvPr>
              <p:cNvSpPr/>
              <p:nvPr/>
            </p:nvSpPr>
            <p:spPr>
              <a:xfrm>
                <a:off x="9179072" y="5050635"/>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0" name="任意多边形: 形状 169">
                <a:extLst>
                  <a:ext uri="{FF2B5EF4-FFF2-40B4-BE49-F238E27FC236}">
                    <a16:creationId xmlns:a16="http://schemas.microsoft.com/office/drawing/2014/main" id="{170FC00F-DC89-481B-BE9B-F47B744F4178}"/>
                  </a:ext>
                </a:extLst>
              </p:cNvPr>
              <p:cNvSpPr/>
              <p:nvPr/>
            </p:nvSpPr>
            <p:spPr>
              <a:xfrm>
                <a:off x="9023392" y="5050635"/>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1" name="任意多边形: 形状 170">
                <a:extLst>
                  <a:ext uri="{FF2B5EF4-FFF2-40B4-BE49-F238E27FC236}">
                    <a16:creationId xmlns:a16="http://schemas.microsoft.com/office/drawing/2014/main" id="{1CB872BD-6E94-465E-B378-6FE4EA410186}"/>
                  </a:ext>
                </a:extLst>
              </p:cNvPr>
              <p:cNvSpPr/>
              <p:nvPr/>
            </p:nvSpPr>
            <p:spPr>
              <a:xfrm>
                <a:off x="9179072" y="5180369"/>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2" name="任意多边形: 形状 171">
                <a:extLst>
                  <a:ext uri="{FF2B5EF4-FFF2-40B4-BE49-F238E27FC236}">
                    <a16:creationId xmlns:a16="http://schemas.microsoft.com/office/drawing/2014/main" id="{0D8EB418-791B-4CEB-A1E9-9FFEF258E46C}"/>
                  </a:ext>
                </a:extLst>
              </p:cNvPr>
              <p:cNvSpPr/>
              <p:nvPr/>
            </p:nvSpPr>
            <p:spPr>
              <a:xfrm>
                <a:off x="9023392" y="5180369"/>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3" name="任意多边形: 形状 172">
                <a:extLst>
                  <a:ext uri="{FF2B5EF4-FFF2-40B4-BE49-F238E27FC236}">
                    <a16:creationId xmlns:a16="http://schemas.microsoft.com/office/drawing/2014/main" id="{6B6BFB66-B517-46EC-B376-DB727C712E6A}"/>
                  </a:ext>
                </a:extLst>
              </p:cNvPr>
              <p:cNvSpPr/>
              <p:nvPr/>
            </p:nvSpPr>
            <p:spPr>
              <a:xfrm>
                <a:off x="9023392" y="5310102"/>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4" name="任意多边形: 形状 173">
                <a:extLst>
                  <a:ext uri="{FF2B5EF4-FFF2-40B4-BE49-F238E27FC236}">
                    <a16:creationId xmlns:a16="http://schemas.microsoft.com/office/drawing/2014/main" id="{839E437A-169F-4C72-B9AB-2ADF6FBB4F9B}"/>
                  </a:ext>
                </a:extLst>
              </p:cNvPr>
              <p:cNvSpPr/>
              <p:nvPr/>
            </p:nvSpPr>
            <p:spPr>
              <a:xfrm>
                <a:off x="9179072" y="5439836"/>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5" name="任意多边形: 形状 174">
                <a:extLst>
                  <a:ext uri="{FF2B5EF4-FFF2-40B4-BE49-F238E27FC236}">
                    <a16:creationId xmlns:a16="http://schemas.microsoft.com/office/drawing/2014/main" id="{04B746FD-7039-4804-9710-C95AB79A5311}"/>
                  </a:ext>
                </a:extLst>
              </p:cNvPr>
              <p:cNvSpPr/>
              <p:nvPr/>
            </p:nvSpPr>
            <p:spPr>
              <a:xfrm>
                <a:off x="9023392" y="5439836"/>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6" name="任意多边形: 形状 175">
                <a:extLst>
                  <a:ext uri="{FF2B5EF4-FFF2-40B4-BE49-F238E27FC236}">
                    <a16:creationId xmlns:a16="http://schemas.microsoft.com/office/drawing/2014/main" id="{BEDC882D-6E9E-4ECE-A25B-D8EA4B992224}"/>
                  </a:ext>
                </a:extLst>
              </p:cNvPr>
              <p:cNvSpPr/>
              <p:nvPr/>
            </p:nvSpPr>
            <p:spPr>
              <a:xfrm>
                <a:off x="8870955" y="4791168"/>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7" name="任意多边形: 形状 176">
                <a:extLst>
                  <a:ext uri="{FF2B5EF4-FFF2-40B4-BE49-F238E27FC236}">
                    <a16:creationId xmlns:a16="http://schemas.microsoft.com/office/drawing/2014/main" id="{F6F3230E-3C68-4A13-B626-D42E8AB04797}"/>
                  </a:ext>
                </a:extLst>
              </p:cNvPr>
              <p:cNvSpPr/>
              <p:nvPr/>
            </p:nvSpPr>
            <p:spPr>
              <a:xfrm>
                <a:off x="8870955" y="4920901"/>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8" name="任意多边形: 形状 177">
                <a:extLst>
                  <a:ext uri="{FF2B5EF4-FFF2-40B4-BE49-F238E27FC236}">
                    <a16:creationId xmlns:a16="http://schemas.microsoft.com/office/drawing/2014/main" id="{E9C45960-88D2-43DF-9245-E868E2659C3D}"/>
                  </a:ext>
                </a:extLst>
              </p:cNvPr>
              <p:cNvSpPr/>
              <p:nvPr/>
            </p:nvSpPr>
            <p:spPr>
              <a:xfrm>
                <a:off x="8870955" y="5180369"/>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9" name="任意多边形: 形状 178">
                <a:extLst>
                  <a:ext uri="{FF2B5EF4-FFF2-40B4-BE49-F238E27FC236}">
                    <a16:creationId xmlns:a16="http://schemas.microsoft.com/office/drawing/2014/main" id="{DCA02427-89E8-4EE5-B238-0214F7D12DE9}"/>
                  </a:ext>
                </a:extLst>
              </p:cNvPr>
              <p:cNvSpPr/>
              <p:nvPr/>
            </p:nvSpPr>
            <p:spPr>
              <a:xfrm>
                <a:off x="8870955" y="5310102"/>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80" name="任意多边形: 形状 179">
                <a:extLst>
                  <a:ext uri="{FF2B5EF4-FFF2-40B4-BE49-F238E27FC236}">
                    <a16:creationId xmlns:a16="http://schemas.microsoft.com/office/drawing/2014/main" id="{585FB309-35F3-46EA-9218-F1CC8E05A94A}"/>
                  </a:ext>
                </a:extLst>
              </p:cNvPr>
              <p:cNvSpPr/>
              <p:nvPr/>
            </p:nvSpPr>
            <p:spPr>
              <a:xfrm>
                <a:off x="8870955" y="5439836"/>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81" name="任意多边形: 形状 180">
                <a:extLst>
                  <a:ext uri="{FF2B5EF4-FFF2-40B4-BE49-F238E27FC236}">
                    <a16:creationId xmlns:a16="http://schemas.microsoft.com/office/drawing/2014/main" id="{6C60F69E-30BB-4413-872E-A0A81A78DCC6}"/>
                  </a:ext>
                </a:extLst>
              </p:cNvPr>
              <p:cNvSpPr/>
              <p:nvPr/>
            </p:nvSpPr>
            <p:spPr>
              <a:xfrm>
                <a:off x="9023392" y="5569570"/>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82" name="任意多边形: 形状 181">
                <a:extLst>
                  <a:ext uri="{FF2B5EF4-FFF2-40B4-BE49-F238E27FC236}">
                    <a16:creationId xmlns:a16="http://schemas.microsoft.com/office/drawing/2014/main" id="{081B19E8-E8D6-4552-93CC-7B821A282E36}"/>
                  </a:ext>
                </a:extLst>
              </p:cNvPr>
              <p:cNvSpPr/>
              <p:nvPr/>
            </p:nvSpPr>
            <p:spPr>
              <a:xfrm>
                <a:off x="5455716" y="4693867"/>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83" name="任意多边形: 形状 182">
                <a:extLst>
                  <a:ext uri="{FF2B5EF4-FFF2-40B4-BE49-F238E27FC236}">
                    <a16:creationId xmlns:a16="http://schemas.microsoft.com/office/drawing/2014/main" id="{534B3DA5-F509-44F4-BCED-36524E7B3FC0}"/>
                  </a:ext>
                </a:extLst>
              </p:cNvPr>
              <p:cNvSpPr/>
              <p:nvPr/>
            </p:nvSpPr>
            <p:spPr>
              <a:xfrm>
                <a:off x="5682750" y="4693867"/>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84" name="任意多边形: 形状 183">
                <a:extLst>
                  <a:ext uri="{FF2B5EF4-FFF2-40B4-BE49-F238E27FC236}">
                    <a16:creationId xmlns:a16="http://schemas.microsoft.com/office/drawing/2014/main" id="{1D3FB14F-2679-4588-B67F-D139BA8ED1C6}"/>
                  </a:ext>
                </a:extLst>
              </p:cNvPr>
              <p:cNvSpPr/>
              <p:nvPr/>
            </p:nvSpPr>
            <p:spPr>
              <a:xfrm>
                <a:off x="5796267" y="4693867"/>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85" name="任意多边形: 形状 184">
                <a:extLst>
                  <a:ext uri="{FF2B5EF4-FFF2-40B4-BE49-F238E27FC236}">
                    <a16:creationId xmlns:a16="http://schemas.microsoft.com/office/drawing/2014/main" id="{7256907B-2BE5-4249-B0E6-367C9BA0756D}"/>
                  </a:ext>
                </a:extLst>
              </p:cNvPr>
              <p:cNvSpPr/>
              <p:nvPr/>
            </p:nvSpPr>
            <p:spPr>
              <a:xfrm>
                <a:off x="5455716" y="4969551"/>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86" name="任意多边形: 形状 185">
                <a:extLst>
                  <a:ext uri="{FF2B5EF4-FFF2-40B4-BE49-F238E27FC236}">
                    <a16:creationId xmlns:a16="http://schemas.microsoft.com/office/drawing/2014/main" id="{09A9D4A2-CA56-4918-AF86-06777E0719D3}"/>
                  </a:ext>
                </a:extLst>
              </p:cNvPr>
              <p:cNvSpPr/>
              <p:nvPr/>
            </p:nvSpPr>
            <p:spPr>
              <a:xfrm>
                <a:off x="5569233" y="4969551"/>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87" name="任意多边形: 形状 186">
                <a:extLst>
                  <a:ext uri="{FF2B5EF4-FFF2-40B4-BE49-F238E27FC236}">
                    <a16:creationId xmlns:a16="http://schemas.microsoft.com/office/drawing/2014/main" id="{90630B84-8E0A-42B8-8AE7-1D726846043A}"/>
                  </a:ext>
                </a:extLst>
              </p:cNvPr>
              <p:cNvSpPr/>
              <p:nvPr/>
            </p:nvSpPr>
            <p:spPr>
              <a:xfrm>
                <a:off x="5796267" y="4969551"/>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88" name="任意多边形: 形状 187">
                <a:extLst>
                  <a:ext uri="{FF2B5EF4-FFF2-40B4-BE49-F238E27FC236}">
                    <a16:creationId xmlns:a16="http://schemas.microsoft.com/office/drawing/2014/main" id="{DD7B3296-81BA-4294-BE8C-23769B335212}"/>
                  </a:ext>
                </a:extLst>
              </p:cNvPr>
              <p:cNvSpPr/>
              <p:nvPr/>
            </p:nvSpPr>
            <p:spPr>
              <a:xfrm>
                <a:off x="5455716" y="5245235"/>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89" name="任意多边形: 形状 188">
                <a:extLst>
                  <a:ext uri="{FF2B5EF4-FFF2-40B4-BE49-F238E27FC236}">
                    <a16:creationId xmlns:a16="http://schemas.microsoft.com/office/drawing/2014/main" id="{8534A598-226B-4DD0-911A-64780D9B5EBB}"/>
                  </a:ext>
                </a:extLst>
              </p:cNvPr>
              <p:cNvSpPr/>
              <p:nvPr/>
            </p:nvSpPr>
            <p:spPr>
              <a:xfrm>
                <a:off x="5682750" y="5245235"/>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90" name="任意多边形: 形状 189">
                <a:extLst>
                  <a:ext uri="{FF2B5EF4-FFF2-40B4-BE49-F238E27FC236}">
                    <a16:creationId xmlns:a16="http://schemas.microsoft.com/office/drawing/2014/main" id="{29048021-EEB4-4C7A-B287-94396466DE6A}"/>
                  </a:ext>
                </a:extLst>
              </p:cNvPr>
              <p:cNvSpPr/>
              <p:nvPr/>
            </p:nvSpPr>
            <p:spPr>
              <a:xfrm>
                <a:off x="5796267" y="5245235"/>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91" name="任意多边形: 形状 190">
                <a:extLst>
                  <a:ext uri="{FF2B5EF4-FFF2-40B4-BE49-F238E27FC236}">
                    <a16:creationId xmlns:a16="http://schemas.microsoft.com/office/drawing/2014/main" id="{15354B64-604C-46BE-AF42-96552898CC63}"/>
                  </a:ext>
                </a:extLst>
              </p:cNvPr>
              <p:cNvSpPr/>
              <p:nvPr/>
            </p:nvSpPr>
            <p:spPr>
              <a:xfrm>
                <a:off x="9740171" y="4774951"/>
                <a:ext cx="356768" cy="308117"/>
              </a:xfrm>
              <a:custGeom>
                <a:avLst/>
                <a:gdLst/>
                <a:ahLst/>
                <a:cxnLst/>
                <a:rect l="0" t="0" r="0" b="0"/>
                <a:pathLst>
                  <a:path w="356767" h="308117">
                    <a:moveTo>
                      <a:pt x="291090" y="12163"/>
                    </a:moveTo>
                    <a:lnTo>
                      <a:pt x="72164" y="12163"/>
                    </a:lnTo>
                    <a:lnTo>
                      <a:pt x="12163" y="304063"/>
                    </a:lnTo>
                    <a:lnTo>
                      <a:pt x="354335" y="304063"/>
                    </a:lnTo>
                    <a:close/>
                  </a:path>
                </a:pathLst>
              </a:custGeom>
              <a:solidFill>
                <a:srgbClr val="1B1E2D"/>
              </a:solidFill>
              <a:ln w="9525" cap="flat">
                <a:noFill/>
                <a:prstDash val="solid"/>
                <a:miter/>
              </a:ln>
            </p:spPr>
            <p:txBody>
              <a:bodyPr anchor="ctr"/>
              <a:lstStyle/>
              <a:p>
                <a:pPr algn="ctr"/>
                <a:endParaRPr/>
              </a:p>
            </p:txBody>
          </p:sp>
          <p:sp>
            <p:nvSpPr>
              <p:cNvPr id="192" name="任意多边形: 形状 191">
                <a:extLst>
                  <a:ext uri="{FF2B5EF4-FFF2-40B4-BE49-F238E27FC236}">
                    <a16:creationId xmlns:a16="http://schemas.microsoft.com/office/drawing/2014/main" id="{DDC55840-3859-43B6-AD79-6B613FA0139B}"/>
                  </a:ext>
                </a:extLst>
              </p:cNvPr>
              <p:cNvSpPr/>
              <p:nvPr/>
            </p:nvSpPr>
            <p:spPr>
              <a:xfrm>
                <a:off x="9813146" y="4353316"/>
                <a:ext cx="210817" cy="372984"/>
              </a:xfrm>
              <a:custGeom>
                <a:avLst/>
                <a:gdLst/>
                <a:ahLst/>
                <a:cxnLst/>
                <a:rect l="0" t="0" r="0" b="0"/>
                <a:pathLst>
                  <a:path w="210817" h="372984">
                    <a:moveTo>
                      <a:pt x="203520" y="368930"/>
                    </a:moveTo>
                    <a:lnTo>
                      <a:pt x="127301" y="12163"/>
                    </a:lnTo>
                    <a:lnTo>
                      <a:pt x="86759" y="12163"/>
                    </a:lnTo>
                    <a:lnTo>
                      <a:pt x="12163" y="368930"/>
                    </a:lnTo>
                    <a:close/>
                  </a:path>
                </a:pathLst>
              </a:custGeom>
              <a:solidFill>
                <a:srgbClr val="1B1E2D"/>
              </a:solidFill>
              <a:ln w="9525" cap="flat">
                <a:noFill/>
                <a:prstDash val="solid"/>
                <a:miter/>
              </a:ln>
            </p:spPr>
            <p:txBody>
              <a:bodyPr anchor="ctr"/>
              <a:lstStyle/>
              <a:p>
                <a:pPr algn="ctr"/>
                <a:endParaRPr/>
              </a:p>
            </p:txBody>
          </p:sp>
        </p:gr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transition spd="med">
    <p:pull/>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t>2025/10/31</a:t>
            </a:fld>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OfficePLUS</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transition spd="med">
    <p:pull/>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transition spd="med">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96" name="矩形 195">
            <a:extLst>
              <a:ext uri="{FF2B5EF4-FFF2-40B4-BE49-F238E27FC236}">
                <a16:creationId xmlns:a16="http://schemas.microsoft.com/office/drawing/2014/main" id="{D3000A05-4C4E-44D7-89A4-C4E750CFB335}"/>
              </a:ext>
            </a:extLst>
          </p:cNvPr>
          <p:cNvSpPr/>
          <p:nvPr userDrawn="1"/>
        </p:nvSpPr>
        <p:spPr>
          <a:xfrm>
            <a:off x="0" y="0"/>
            <a:ext cx="12192000" cy="6858000"/>
          </a:xfrm>
          <a:prstGeom prst="rect">
            <a:avLst/>
          </a:prstGeom>
          <a:solidFill>
            <a:srgbClr val="1B1E2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7" name="组合 19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F0111C6-6115-4706-A52C-D0056A24FC0B}"/>
              </a:ext>
            </a:extLst>
          </p:cNvPr>
          <p:cNvGrpSpPr>
            <a:grpSpLocks noChangeAspect="1"/>
          </p:cNvGrpSpPr>
          <p:nvPr userDrawn="1">
            <p:custDataLst>
              <p:tags r:id="rId1"/>
            </p:custDataLst>
          </p:nvPr>
        </p:nvGrpSpPr>
        <p:grpSpPr>
          <a:xfrm>
            <a:off x="744008" y="964939"/>
            <a:ext cx="10223944" cy="4922092"/>
            <a:chOff x="1071716" y="1247323"/>
            <a:chExt cx="10048568" cy="4837661"/>
          </a:xfrm>
          <a:solidFill>
            <a:schemeClr val="tx1">
              <a:lumMod val="50000"/>
              <a:lumOff val="50000"/>
              <a:alpha val="6000"/>
            </a:schemeClr>
          </a:solidFill>
        </p:grpSpPr>
        <p:sp>
          <p:nvSpPr>
            <p:cNvPr id="198" name="任意多边形: 形状 197">
              <a:extLst>
                <a:ext uri="{FF2B5EF4-FFF2-40B4-BE49-F238E27FC236}">
                  <a16:creationId xmlns:a16="http://schemas.microsoft.com/office/drawing/2014/main" id="{8F5FCF7B-AB7D-4F32-B24F-149AD7FE3873}"/>
                </a:ext>
              </a:extLst>
            </p:cNvPr>
            <p:cNvSpPr/>
            <p:nvPr/>
          </p:nvSpPr>
          <p:spPr>
            <a:xfrm>
              <a:off x="1071716" y="1560254"/>
              <a:ext cx="2892665" cy="2241492"/>
            </a:xfrm>
            <a:custGeom>
              <a:avLst/>
              <a:gdLst/>
              <a:ahLst/>
              <a:cxnLst>
                <a:cxn ang="0">
                  <a:pos x="wd2" y="hd2"/>
                </a:cxn>
                <a:cxn ang="5400000">
                  <a:pos x="wd2" y="hd2"/>
                </a:cxn>
                <a:cxn ang="10800000">
                  <a:pos x="wd2" y="hd2"/>
                </a:cxn>
                <a:cxn ang="16200000">
                  <a:pos x="wd2" y="hd2"/>
                </a:cxn>
              </a:cxnLst>
              <a:rect l="0" t="0" r="r" b="b"/>
              <a:pathLst>
                <a:path w="21600" h="21600" extrusionOk="0">
                  <a:moveTo>
                    <a:pt x="3471" y="862"/>
                  </a:moveTo>
                  <a:lnTo>
                    <a:pt x="3355" y="857"/>
                  </a:lnTo>
                  <a:lnTo>
                    <a:pt x="3271" y="882"/>
                  </a:lnTo>
                  <a:lnTo>
                    <a:pt x="3183" y="953"/>
                  </a:lnTo>
                  <a:lnTo>
                    <a:pt x="3184" y="1042"/>
                  </a:lnTo>
                  <a:lnTo>
                    <a:pt x="3333" y="1224"/>
                  </a:lnTo>
                  <a:lnTo>
                    <a:pt x="3405" y="1341"/>
                  </a:lnTo>
                  <a:lnTo>
                    <a:pt x="3390" y="1464"/>
                  </a:lnTo>
                  <a:lnTo>
                    <a:pt x="3242" y="1537"/>
                  </a:lnTo>
                  <a:lnTo>
                    <a:pt x="3142" y="1593"/>
                  </a:lnTo>
                  <a:lnTo>
                    <a:pt x="3051" y="1629"/>
                  </a:lnTo>
                  <a:lnTo>
                    <a:pt x="2932" y="1629"/>
                  </a:lnTo>
                  <a:lnTo>
                    <a:pt x="2859" y="1585"/>
                  </a:lnTo>
                  <a:lnTo>
                    <a:pt x="2789" y="1563"/>
                  </a:lnTo>
                  <a:lnTo>
                    <a:pt x="2709" y="1563"/>
                  </a:lnTo>
                  <a:lnTo>
                    <a:pt x="2538" y="1534"/>
                  </a:lnTo>
                  <a:lnTo>
                    <a:pt x="2466" y="1563"/>
                  </a:lnTo>
                  <a:lnTo>
                    <a:pt x="2365" y="1607"/>
                  </a:lnTo>
                  <a:lnTo>
                    <a:pt x="2298" y="1641"/>
                  </a:lnTo>
                  <a:lnTo>
                    <a:pt x="2170" y="1699"/>
                  </a:lnTo>
                  <a:lnTo>
                    <a:pt x="2067" y="1750"/>
                  </a:lnTo>
                  <a:lnTo>
                    <a:pt x="1990" y="1821"/>
                  </a:lnTo>
                  <a:lnTo>
                    <a:pt x="1951" y="1874"/>
                  </a:lnTo>
                  <a:lnTo>
                    <a:pt x="1983" y="1939"/>
                  </a:lnTo>
                  <a:lnTo>
                    <a:pt x="2111" y="2002"/>
                  </a:lnTo>
                  <a:lnTo>
                    <a:pt x="2233" y="2014"/>
                  </a:lnTo>
                  <a:lnTo>
                    <a:pt x="2276" y="2084"/>
                  </a:lnTo>
                  <a:lnTo>
                    <a:pt x="2346" y="2091"/>
                  </a:lnTo>
                  <a:lnTo>
                    <a:pt x="2437" y="2062"/>
                  </a:lnTo>
                  <a:lnTo>
                    <a:pt x="2540" y="1999"/>
                  </a:lnTo>
                  <a:lnTo>
                    <a:pt x="2612" y="1957"/>
                  </a:lnTo>
                  <a:lnTo>
                    <a:pt x="2743" y="1921"/>
                  </a:lnTo>
                  <a:lnTo>
                    <a:pt x="2857" y="1964"/>
                  </a:lnTo>
                  <a:lnTo>
                    <a:pt x="2857" y="2077"/>
                  </a:lnTo>
                  <a:lnTo>
                    <a:pt x="2787" y="2146"/>
                  </a:lnTo>
                  <a:lnTo>
                    <a:pt x="2684" y="2233"/>
                  </a:lnTo>
                  <a:lnTo>
                    <a:pt x="2588" y="2379"/>
                  </a:lnTo>
                  <a:lnTo>
                    <a:pt x="2406" y="2517"/>
                  </a:lnTo>
                  <a:lnTo>
                    <a:pt x="2207" y="2539"/>
                  </a:lnTo>
                  <a:lnTo>
                    <a:pt x="1909" y="2568"/>
                  </a:lnTo>
                  <a:lnTo>
                    <a:pt x="1651" y="2627"/>
                  </a:lnTo>
                  <a:lnTo>
                    <a:pt x="1469" y="2721"/>
                  </a:lnTo>
                  <a:lnTo>
                    <a:pt x="1322" y="2843"/>
                  </a:lnTo>
                  <a:lnTo>
                    <a:pt x="1251" y="2882"/>
                  </a:lnTo>
                  <a:lnTo>
                    <a:pt x="1186" y="3000"/>
                  </a:lnTo>
                  <a:lnTo>
                    <a:pt x="1231" y="3090"/>
                  </a:lnTo>
                  <a:lnTo>
                    <a:pt x="1253" y="3243"/>
                  </a:lnTo>
                  <a:lnTo>
                    <a:pt x="1206" y="3386"/>
                  </a:lnTo>
                  <a:lnTo>
                    <a:pt x="1138" y="3503"/>
                  </a:lnTo>
                  <a:lnTo>
                    <a:pt x="1047" y="3568"/>
                  </a:lnTo>
                  <a:lnTo>
                    <a:pt x="990" y="3598"/>
                  </a:lnTo>
                  <a:lnTo>
                    <a:pt x="895" y="3671"/>
                  </a:lnTo>
                  <a:lnTo>
                    <a:pt x="846" y="3748"/>
                  </a:lnTo>
                  <a:lnTo>
                    <a:pt x="900" y="3817"/>
                  </a:lnTo>
                  <a:lnTo>
                    <a:pt x="1049" y="3874"/>
                  </a:lnTo>
                  <a:lnTo>
                    <a:pt x="1159" y="3952"/>
                  </a:lnTo>
                  <a:lnTo>
                    <a:pt x="1272" y="3905"/>
                  </a:lnTo>
                  <a:lnTo>
                    <a:pt x="1375" y="3811"/>
                  </a:lnTo>
                  <a:lnTo>
                    <a:pt x="1500" y="3789"/>
                  </a:lnTo>
                  <a:lnTo>
                    <a:pt x="1562" y="3898"/>
                  </a:lnTo>
                  <a:lnTo>
                    <a:pt x="1479" y="4034"/>
                  </a:lnTo>
                  <a:lnTo>
                    <a:pt x="1276" y="4180"/>
                  </a:lnTo>
                  <a:lnTo>
                    <a:pt x="967" y="4357"/>
                  </a:lnTo>
                  <a:lnTo>
                    <a:pt x="603" y="4579"/>
                  </a:lnTo>
                  <a:lnTo>
                    <a:pt x="227" y="4739"/>
                  </a:lnTo>
                  <a:lnTo>
                    <a:pt x="77" y="4776"/>
                  </a:lnTo>
                  <a:lnTo>
                    <a:pt x="0" y="4852"/>
                  </a:lnTo>
                  <a:lnTo>
                    <a:pt x="90" y="4896"/>
                  </a:lnTo>
                  <a:lnTo>
                    <a:pt x="253" y="4896"/>
                  </a:lnTo>
                  <a:lnTo>
                    <a:pt x="574" y="4762"/>
                  </a:lnTo>
                  <a:lnTo>
                    <a:pt x="1090" y="4512"/>
                  </a:lnTo>
                  <a:lnTo>
                    <a:pt x="1721" y="4146"/>
                  </a:lnTo>
                  <a:lnTo>
                    <a:pt x="1947" y="4061"/>
                  </a:lnTo>
                  <a:lnTo>
                    <a:pt x="2151" y="4010"/>
                  </a:lnTo>
                  <a:lnTo>
                    <a:pt x="2424" y="3876"/>
                  </a:lnTo>
                  <a:lnTo>
                    <a:pt x="2669" y="3694"/>
                  </a:lnTo>
                  <a:lnTo>
                    <a:pt x="2845" y="3589"/>
                  </a:lnTo>
                  <a:lnTo>
                    <a:pt x="3007" y="3485"/>
                  </a:lnTo>
                  <a:lnTo>
                    <a:pt x="3144" y="3448"/>
                  </a:lnTo>
                  <a:lnTo>
                    <a:pt x="3223" y="3477"/>
                  </a:lnTo>
                  <a:lnTo>
                    <a:pt x="3316" y="3526"/>
                  </a:lnTo>
                  <a:lnTo>
                    <a:pt x="3468" y="3467"/>
                  </a:lnTo>
                  <a:lnTo>
                    <a:pt x="3802" y="3365"/>
                  </a:lnTo>
                  <a:lnTo>
                    <a:pt x="3944" y="3233"/>
                  </a:lnTo>
                  <a:lnTo>
                    <a:pt x="4086" y="3138"/>
                  </a:lnTo>
                  <a:lnTo>
                    <a:pt x="4204" y="3181"/>
                  </a:lnTo>
                  <a:lnTo>
                    <a:pt x="4397" y="3244"/>
                  </a:lnTo>
                  <a:lnTo>
                    <a:pt x="4521" y="3281"/>
                  </a:lnTo>
                  <a:lnTo>
                    <a:pt x="4639" y="3339"/>
                  </a:lnTo>
                  <a:lnTo>
                    <a:pt x="4775" y="3368"/>
                  </a:lnTo>
                  <a:lnTo>
                    <a:pt x="4854" y="3425"/>
                  </a:lnTo>
                  <a:lnTo>
                    <a:pt x="5019" y="3462"/>
                  </a:lnTo>
                  <a:lnTo>
                    <a:pt x="5175" y="3517"/>
                  </a:lnTo>
                  <a:lnTo>
                    <a:pt x="5355" y="3539"/>
                  </a:lnTo>
                  <a:lnTo>
                    <a:pt x="5417" y="3626"/>
                  </a:lnTo>
                  <a:lnTo>
                    <a:pt x="5565" y="3719"/>
                  </a:lnTo>
                  <a:lnTo>
                    <a:pt x="5597" y="3852"/>
                  </a:lnTo>
                  <a:lnTo>
                    <a:pt x="5745" y="3981"/>
                  </a:lnTo>
                  <a:lnTo>
                    <a:pt x="5908" y="3981"/>
                  </a:lnTo>
                  <a:lnTo>
                    <a:pt x="6085" y="4147"/>
                  </a:lnTo>
                  <a:lnTo>
                    <a:pt x="6174" y="4375"/>
                  </a:lnTo>
                  <a:lnTo>
                    <a:pt x="6176" y="4532"/>
                  </a:lnTo>
                  <a:lnTo>
                    <a:pt x="6104" y="4646"/>
                  </a:lnTo>
                  <a:lnTo>
                    <a:pt x="6105" y="4760"/>
                  </a:lnTo>
                  <a:lnTo>
                    <a:pt x="6133" y="4859"/>
                  </a:lnTo>
                  <a:lnTo>
                    <a:pt x="6182" y="4992"/>
                  </a:lnTo>
                  <a:lnTo>
                    <a:pt x="6142" y="5132"/>
                  </a:lnTo>
                  <a:lnTo>
                    <a:pt x="6087" y="5256"/>
                  </a:lnTo>
                  <a:lnTo>
                    <a:pt x="6047" y="5423"/>
                  </a:lnTo>
                  <a:lnTo>
                    <a:pt x="5980" y="5547"/>
                  </a:lnTo>
                  <a:lnTo>
                    <a:pt x="5974" y="5648"/>
                  </a:lnTo>
                  <a:lnTo>
                    <a:pt x="5991" y="5729"/>
                  </a:lnTo>
                  <a:lnTo>
                    <a:pt x="6063" y="5807"/>
                  </a:lnTo>
                  <a:lnTo>
                    <a:pt x="6052" y="5953"/>
                  </a:lnTo>
                  <a:lnTo>
                    <a:pt x="5940" y="6067"/>
                  </a:lnTo>
                  <a:lnTo>
                    <a:pt x="5904" y="6154"/>
                  </a:lnTo>
                  <a:lnTo>
                    <a:pt x="5939" y="6241"/>
                  </a:lnTo>
                  <a:lnTo>
                    <a:pt x="6058" y="6365"/>
                  </a:lnTo>
                  <a:lnTo>
                    <a:pt x="6223" y="6556"/>
                  </a:lnTo>
                  <a:lnTo>
                    <a:pt x="6343" y="6699"/>
                  </a:lnTo>
                  <a:lnTo>
                    <a:pt x="6434" y="6845"/>
                  </a:lnTo>
                  <a:lnTo>
                    <a:pt x="6500" y="7107"/>
                  </a:lnTo>
                  <a:lnTo>
                    <a:pt x="6489" y="7297"/>
                  </a:lnTo>
                  <a:lnTo>
                    <a:pt x="6460" y="7435"/>
                  </a:lnTo>
                  <a:lnTo>
                    <a:pt x="6404" y="7536"/>
                  </a:lnTo>
                  <a:lnTo>
                    <a:pt x="6347" y="7646"/>
                  </a:lnTo>
                  <a:lnTo>
                    <a:pt x="6233" y="7774"/>
                  </a:lnTo>
                  <a:lnTo>
                    <a:pt x="6155" y="7825"/>
                  </a:lnTo>
                  <a:lnTo>
                    <a:pt x="6116" y="7774"/>
                  </a:lnTo>
                  <a:lnTo>
                    <a:pt x="6099" y="7686"/>
                  </a:lnTo>
                  <a:lnTo>
                    <a:pt x="6184" y="7556"/>
                  </a:lnTo>
                  <a:lnTo>
                    <a:pt x="6118" y="7534"/>
                  </a:lnTo>
                  <a:lnTo>
                    <a:pt x="5937" y="7519"/>
                  </a:lnTo>
                  <a:lnTo>
                    <a:pt x="5869" y="7534"/>
                  </a:lnTo>
                  <a:lnTo>
                    <a:pt x="5847" y="7626"/>
                  </a:lnTo>
                  <a:lnTo>
                    <a:pt x="5773" y="7891"/>
                  </a:lnTo>
                  <a:lnTo>
                    <a:pt x="5640" y="8226"/>
                  </a:lnTo>
                  <a:lnTo>
                    <a:pt x="5551" y="8409"/>
                  </a:lnTo>
                  <a:lnTo>
                    <a:pt x="5477" y="8496"/>
                  </a:lnTo>
                  <a:lnTo>
                    <a:pt x="5437" y="8605"/>
                  </a:lnTo>
                  <a:lnTo>
                    <a:pt x="5358" y="8684"/>
                  </a:lnTo>
                  <a:lnTo>
                    <a:pt x="5286" y="8789"/>
                  </a:lnTo>
                  <a:lnTo>
                    <a:pt x="5207" y="8896"/>
                  </a:lnTo>
                  <a:lnTo>
                    <a:pt x="5129" y="8983"/>
                  </a:lnTo>
                  <a:lnTo>
                    <a:pt x="5067" y="9121"/>
                  </a:lnTo>
                  <a:lnTo>
                    <a:pt x="4998" y="9301"/>
                  </a:lnTo>
                  <a:lnTo>
                    <a:pt x="4938" y="9544"/>
                  </a:lnTo>
                  <a:lnTo>
                    <a:pt x="4887" y="9705"/>
                  </a:lnTo>
                  <a:lnTo>
                    <a:pt x="4728" y="9947"/>
                  </a:lnTo>
                  <a:lnTo>
                    <a:pt x="4614" y="10032"/>
                  </a:lnTo>
                  <a:lnTo>
                    <a:pt x="4588" y="10124"/>
                  </a:lnTo>
                  <a:lnTo>
                    <a:pt x="4607" y="10221"/>
                  </a:lnTo>
                  <a:lnTo>
                    <a:pt x="4667" y="10298"/>
                  </a:lnTo>
                  <a:lnTo>
                    <a:pt x="4646" y="10400"/>
                  </a:lnTo>
                  <a:lnTo>
                    <a:pt x="4578" y="10466"/>
                  </a:lnTo>
                  <a:lnTo>
                    <a:pt x="4533" y="10596"/>
                  </a:lnTo>
                  <a:lnTo>
                    <a:pt x="4533" y="10730"/>
                  </a:lnTo>
                  <a:lnTo>
                    <a:pt x="4564" y="10866"/>
                  </a:lnTo>
                  <a:lnTo>
                    <a:pt x="4615" y="10975"/>
                  </a:lnTo>
                  <a:lnTo>
                    <a:pt x="4687" y="11050"/>
                  </a:lnTo>
                  <a:lnTo>
                    <a:pt x="4672" y="11124"/>
                  </a:lnTo>
                  <a:lnTo>
                    <a:pt x="4602" y="11167"/>
                  </a:lnTo>
                  <a:lnTo>
                    <a:pt x="4575" y="11232"/>
                  </a:lnTo>
                  <a:lnTo>
                    <a:pt x="4638" y="11310"/>
                  </a:lnTo>
                  <a:lnTo>
                    <a:pt x="4658" y="11489"/>
                  </a:lnTo>
                  <a:lnTo>
                    <a:pt x="4708" y="11732"/>
                  </a:lnTo>
                  <a:lnTo>
                    <a:pt x="4757" y="12031"/>
                  </a:lnTo>
                  <a:lnTo>
                    <a:pt x="4809" y="12198"/>
                  </a:lnTo>
                  <a:lnTo>
                    <a:pt x="4889" y="12242"/>
                  </a:lnTo>
                  <a:lnTo>
                    <a:pt x="4983" y="12307"/>
                  </a:lnTo>
                  <a:lnTo>
                    <a:pt x="5074" y="12365"/>
                  </a:lnTo>
                  <a:lnTo>
                    <a:pt x="5182" y="12551"/>
                  </a:lnTo>
                  <a:lnTo>
                    <a:pt x="5257" y="12784"/>
                  </a:lnTo>
                  <a:lnTo>
                    <a:pt x="5291" y="13051"/>
                  </a:lnTo>
                  <a:lnTo>
                    <a:pt x="5251" y="13252"/>
                  </a:lnTo>
                  <a:lnTo>
                    <a:pt x="5228" y="13427"/>
                  </a:lnTo>
                  <a:lnTo>
                    <a:pt x="5243" y="13556"/>
                  </a:lnTo>
                  <a:lnTo>
                    <a:pt x="5361" y="13731"/>
                  </a:lnTo>
                  <a:lnTo>
                    <a:pt x="5475" y="14018"/>
                  </a:lnTo>
                  <a:lnTo>
                    <a:pt x="5549" y="14237"/>
                  </a:lnTo>
                  <a:lnTo>
                    <a:pt x="5534" y="14380"/>
                  </a:lnTo>
                  <a:lnTo>
                    <a:pt x="5455" y="14489"/>
                  </a:lnTo>
                  <a:lnTo>
                    <a:pt x="5444" y="14620"/>
                  </a:lnTo>
                  <a:lnTo>
                    <a:pt x="5538" y="14705"/>
                  </a:lnTo>
                  <a:lnTo>
                    <a:pt x="5553" y="14790"/>
                  </a:lnTo>
                  <a:lnTo>
                    <a:pt x="5597" y="14873"/>
                  </a:lnTo>
                  <a:lnTo>
                    <a:pt x="5705" y="14957"/>
                  </a:lnTo>
                  <a:lnTo>
                    <a:pt x="5832" y="15137"/>
                  </a:lnTo>
                  <a:lnTo>
                    <a:pt x="5849" y="15280"/>
                  </a:lnTo>
                  <a:lnTo>
                    <a:pt x="5806" y="15409"/>
                  </a:lnTo>
                  <a:lnTo>
                    <a:pt x="5785" y="15479"/>
                  </a:lnTo>
                  <a:lnTo>
                    <a:pt x="5785" y="15568"/>
                  </a:lnTo>
                  <a:lnTo>
                    <a:pt x="5876" y="15690"/>
                  </a:lnTo>
                  <a:lnTo>
                    <a:pt x="5983" y="15842"/>
                  </a:lnTo>
                  <a:lnTo>
                    <a:pt x="6074" y="15973"/>
                  </a:lnTo>
                  <a:lnTo>
                    <a:pt x="6165" y="16095"/>
                  </a:lnTo>
                  <a:lnTo>
                    <a:pt x="6241" y="16141"/>
                  </a:lnTo>
                  <a:lnTo>
                    <a:pt x="6223" y="16045"/>
                  </a:lnTo>
                  <a:lnTo>
                    <a:pt x="6167" y="15916"/>
                  </a:lnTo>
                  <a:lnTo>
                    <a:pt x="6083" y="15746"/>
                  </a:lnTo>
                  <a:lnTo>
                    <a:pt x="6049" y="15645"/>
                  </a:lnTo>
                  <a:lnTo>
                    <a:pt x="6033" y="15535"/>
                  </a:lnTo>
                  <a:lnTo>
                    <a:pt x="6033" y="15389"/>
                  </a:lnTo>
                  <a:lnTo>
                    <a:pt x="6006" y="15260"/>
                  </a:lnTo>
                  <a:lnTo>
                    <a:pt x="5944" y="15173"/>
                  </a:lnTo>
                  <a:lnTo>
                    <a:pt x="5928" y="15052"/>
                  </a:lnTo>
                  <a:lnTo>
                    <a:pt x="5923" y="14877"/>
                  </a:lnTo>
                  <a:lnTo>
                    <a:pt x="5917" y="14782"/>
                  </a:lnTo>
                  <a:lnTo>
                    <a:pt x="5826" y="14534"/>
                  </a:lnTo>
                  <a:lnTo>
                    <a:pt x="5720" y="14254"/>
                  </a:lnTo>
                  <a:lnTo>
                    <a:pt x="5646" y="13909"/>
                  </a:lnTo>
                  <a:lnTo>
                    <a:pt x="5549" y="13654"/>
                  </a:lnTo>
                  <a:lnTo>
                    <a:pt x="5538" y="13489"/>
                  </a:lnTo>
                  <a:lnTo>
                    <a:pt x="5583" y="13314"/>
                  </a:lnTo>
                  <a:lnTo>
                    <a:pt x="5657" y="13214"/>
                  </a:lnTo>
                  <a:lnTo>
                    <a:pt x="5739" y="13178"/>
                  </a:lnTo>
                  <a:lnTo>
                    <a:pt x="5837" y="13204"/>
                  </a:lnTo>
                  <a:lnTo>
                    <a:pt x="6002" y="13298"/>
                  </a:lnTo>
                  <a:lnTo>
                    <a:pt x="6041" y="13466"/>
                  </a:lnTo>
                  <a:lnTo>
                    <a:pt x="6021" y="13669"/>
                  </a:lnTo>
                  <a:lnTo>
                    <a:pt x="6083" y="13842"/>
                  </a:lnTo>
                  <a:lnTo>
                    <a:pt x="6123" y="14044"/>
                  </a:lnTo>
                  <a:lnTo>
                    <a:pt x="6214" y="14248"/>
                  </a:lnTo>
                  <a:lnTo>
                    <a:pt x="6284" y="14430"/>
                  </a:lnTo>
                  <a:lnTo>
                    <a:pt x="6364" y="14595"/>
                  </a:lnTo>
                  <a:lnTo>
                    <a:pt x="6436" y="14724"/>
                  </a:lnTo>
                  <a:lnTo>
                    <a:pt x="6560" y="14862"/>
                  </a:lnTo>
                  <a:lnTo>
                    <a:pt x="6578" y="15043"/>
                  </a:lnTo>
                  <a:lnTo>
                    <a:pt x="6534" y="15102"/>
                  </a:lnTo>
                  <a:lnTo>
                    <a:pt x="6506" y="15225"/>
                  </a:lnTo>
                  <a:lnTo>
                    <a:pt x="6626" y="15313"/>
                  </a:lnTo>
                  <a:lnTo>
                    <a:pt x="6758" y="15490"/>
                  </a:lnTo>
                  <a:lnTo>
                    <a:pt x="6832" y="15660"/>
                  </a:lnTo>
                  <a:lnTo>
                    <a:pt x="6946" y="15755"/>
                  </a:lnTo>
                  <a:lnTo>
                    <a:pt x="7001" y="15932"/>
                  </a:lnTo>
                  <a:lnTo>
                    <a:pt x="7069" y="16078"/>
                  </a:lnTo>
                  <a:lnTo>
                    <a:pt x="7141" y="16216"/>
                  </a:lnTo>
                  <a:lnTo>
                    <a:pt x="7193" y="16447"/>
                  </a:lnTo>
                  <a:lnTo>
                    <a:pt x="7230" y="16668"/>
                  </a:lnTo>
                  <a:lnTo>
                    <a:pt x="7224" y="16870"/>
                  </a:lnTo>
                  <a:lnTo>
                    <a:pt x="7174" y="17029"/>
                  </a:lnTo>
                  <a:lnTo>
                    <a:pt x="7125" y="17173"/>
                  </a:lnTo>
                  <a:lnTo>
                    <a:pt x="7142" y="17291"/>
                  </a:lnTo>
                  <a:lnTo>
                    <a:pt x="7204" y="17363"/>
                  </a:lnTo>
                  <a:lnTo>
                    <a:pt x="7292" y="17443"/>
                  </a:lnTo>
                  <a:lnTo>
                    <a:pt x="7417" y="17611"/>
                  </a:lnTo>
                  <a:lnTo>
                    <a:pt x="7500" y="17756"/>
                  </a:lnTo>
                  <a:lnTo>
                    <a:pt x="7591" y="17820"/>
                  </a:lnTo>
                  <a:lnTo>
                    <a:pt x="7800" y="17893"/>
                  </a:lnTo>
                  <a:lnTo>
                    <a:pt x="7925" y="18009"/>
                  </a:lnTo>
                  <a:lnTo>
                    <a:pt x="8090" y="18111"/>
                  </a:lnTo>
                  <a:lnTo>
                    <a:pt x="8241" y="18220"/>
                  </a:lnTo>
                  <a:lnTo>
                    <a:pt x="8372" y="18315"/>
                  </a:lnTo>
                  <a:lnTo>
                    <a:pt x="8507" y="18400"/>
                  </a:lnTo>
                  <a:lnTo>
                    <a:pt x="8706" y="18516"/>
                  </a:lnTo>
                  <a:lnTo>
                    <a:pt x="8842" y="18596"/>
                  </a:lnTo>
                  <a:lnTo>
                    <a:pt x="8943" y="18660"/>
                  </a:lnTo>
                  <a:lnTo>
                    <a:pt x="9047" y="18713"/>
                  </a:lnTo>
                  <a:lnTo>
                    <a:pt x="9142" y="18769"/>
                  </a:lnTo>
                  <a:lnTo>
                    <a:pt x="9212" y="18725"/>
                  </a:lnTo>
                  <a:lnTo>
                    <a:pt x="9284" y="18698"/>
                  </a:lnTo>
                  <a:lnTo>
                    <a:pt x="9443" y="18618"/>
                  </a:lnTo>
                  <a:lnTo>
                    <a:pt x="9551" y="18567"/>
                  </a:lnTo>
                  <a:lnTo>
                    <a:pt x="9694" y="18567"/>
                  </a:lnTo>
                  <a:lnTo>
                    <a:pt x="9830" y="18670"/>
                  </a:lnTo>
                  <a:lnTo>
                    <a:pt x="10001" y="18799"/>
                  </a:lnTo>
                  <a:lnTo>
                    <a:pt x="10103" y="18897"/>
                  </a:lnTo>
                  <a:lnTo>
                    <a:pt x="10183" y="19065"/>
                  </a:lnTo>
                  <a:lnTo>
                    <a:pt x="10280" y="19194"/>
                  </a:lnTo>
                  <a:lnTo>
                    <a:pt x="10399" y="19279"/>
                  </a:lnTo>
                  <a:lnTo>
                    <a:pt x="10524" y="19345"/>
                  </a:lnTo>
                  <a:lnTo>
                    <a:pt x="10621" y="19420"/>
                  </a:lnTo>
                  <a:lnTo>
                    <a:pt x="10755" y="19493"/>
                  </a:lnTo>
                  <a:lnTo>
                    <a:pt x="10877" y="19578"/>
                  </a:lnTo>
                  <a:lnTo>
                    <a:pt x="11002" y="19607"/>
                  </a:lnTo>
                  <a:lnTo>
                    <a:pt x="11156" y="19612"/>
                  </a:lnTo>
                  <a:lnTo>
                    <a:pt x="11241" y="19532"/>
                  </a:lnTo>
                  <a:lnTo>
                    <a:pt x="11335" y="19547"/>
                  </a:lnTo>
                  <a:lnTo>
                    <a:pt x="11364" y="19707"/>
                  </a:lnTo>
                  <a:lnTo>
                    <a:pt x="11392" y="19855"/>
                  </a:lnTo>
                  <a:lnTo>
                    <a:pt x="11426" y="19991"/>
                  </a:lnTo>
                  <a:lnTo>
                    <a:pt x="11500" y="20114"/>
                  </a:lnTo>
                  <a:lnTo>
                    <a:pt x="11589" y="20243"/>
                  </a:lnTo>
                  <a:lnTo>
                    <a:pt x="11653" y="20382"/>
                  </a:lnTo>
                  <a:lnTo>
                    <a:pt x="11664" y="20506"/>
                  </a:lnTo>
                  <a:lnTo>
                    <a:pt x="11682" y="20676"/>
                  </a:lnTo>
                  <a:lnTo>
                    <a:pt x="11772" y="20819"/>
                  </a:lnTo>
                  <a:lnTo>
                    <a:pt x="11902" y="20848"/>
                  </a:lnTo>
                  <a:lnTo>
                    <a:pt x="12025" y="20953"/>
                  </a:lnTo>
                  <a:lnTo>
                    <a:pt x="12094" y="21084"/>
                  </a:lnTo>
                  <a:lnTo>
                    <a:pt x="12179" y="21177"/>
                  </a:lnTo>
                  <a:lnTo>
                    <a:pt x="12295" y="21296"/>
                  </a:lnTo>
                  <a:lnTo>
                    <a:pt x="12435" y="21310"/>
                  </a:lnTo>
                  <a:lnTo>
                    <a:pt x="12549" y="21391"/>
                  </a:lnTo>
                  <a:lnTo>
                    <a:pt x="12667" y="21461"/>
                  </a:lnTo>
                  <a:lnTo>
                    <a:pt x="12729" y="21510"/>
                  </a:lnTo>
                  <a:lnTo>
                    <a:pt x="12864" y="21571"/>
                  </a:lnTo>
                  <a:lnTo>
                    <a:pt x="12989" y="21600"/>
                  </a:lnTo>
                  <a:lnTo>
                    <a:pt x="13033" y="21529"/>
                  </a:lnTo>
                  <a:lnTo>
                    <a:pt x="12995" y="21406"/>
                  </a:lnTo>
                  <a:lnTo>
                    <a:pt x="13103" y="21304"/>
                  </a:lnTo>
                  <a:lnTo>
                    <a:pt x="13183" y="21223"/>
                  </a:lnTo>
                  <a:lnTo>
                    <a:pt x="13268" y="21158"/>
                  </a:lnTo>
                  <a:lnTo>
                    <a:pt x="13213" y="21056"/>
                  </a:lnTo>
                  <a:lnTo>
                    <a:pt x="13081" y="21093"/>
                  </a:lnTo>
                  <a:lnTo>
                    <a:pt x="12971" y="21149"/>
                  </a:lnTo>
                  <a:lnTo>
                    <a:pt x="12887" y="21241"/>
                  </a:lnTo>
                  <a:lnTo>
                    <a:pt x="12803" y="21285"/>
                  </a:lnTo>
                  <a:lnTo>
                    <a:pt x="12762" y="21202"/>
                  </a:lnTo>
                  <a:lnTo>
                    <a:pt x="12656" y="21154"/>
                  </a:lnTo>
                  <a:lnTo>
                    <a:pt x="12537" y="21095"/>
                  </a:lnTo>
                  <a:lnTo>
                    <a:pt x="12412" y="20986"/>
                  </a:lnTo>
                  <a:lnTo>
                    <a:pt x="12350" y="20797"/>
                  </a:lnTo>
                  <a:lnTo>
                    <a:pt x="12262" y="20656"/>
                  </a:lnTo>
                  <a:lnTo>
                    <a:pt x="12209" y="20570"/>
                  </a:lnTo>
                  <a:lnTo>
                    <a:pt x="12187" y="20410"/>
                  </a:lnTo>
                  <a:lnTo>
                    <a:pt x="12198" y="20249"/>
                  </a:lnTo>
                  <a:lnTo>
                    <a:pt x="12225" y="20028"/>
                  </a:lnTo>
                  <a:lnTo>
                    <a:pt x="12236" y="19853"/>
                  </a:lnTo>
                  <a:lnTo>
                    <a:pt x="12264" y="19692"/>
                  </a:lnTo>
                  <a:lnTo>
                    <a:pt x="12287" y="19534"/>
                  </a:lnTo>
                  <a:lnTo>
                    <a:pt x="12302" y="19376"/>
                  </a:lnTo>
                  <a:lnTo>
                    <a:pt x="12330" y="19230"/>
                  </a:lnTo>
                  <a:lnTo>
                    <a:pt x="12364" y="19073"/>
                  </a:lnTo>
                  <a:lnTo>
                    <a:pt x="12324" y="18924"/>
                  </a:lnTo>
                  <a:lnTo>
                    <a:pt x="12279" y="18783"/>
                  </a:lnTo>
                  <a:lnTo>
                    <a:pt x="12107" y="18728"/>
                  </a:lnTo>
                  <a:lnTo>
                    <a:pt x="11924" y="18714"/>
                  </a:lnTo>
                  <a:lnTo>
                    <a:pt x="11751" y="18714"/>
                  </a:lnTo>
                  <a:lnTo>
                    <a:pt x="11628" y="18765"/>
                  </a:lnTo>
                  <a:lnTo>
                    <a:pt x="11406" y="18816"/>
                  </a:lnTo>
                  <a:lnTo>
                    <a:pt x="11165" y="18816"/>
                  </a:lnTo>
                  <a:lnTo>
                    <a:pt x="11133" y="18658"/>
                  </a:lnTo>
                  <a:lnTo>
                    <a:pt x="11154" y="18467"/>
                  </a:lnTo>
                  <a:lnTo>
                    <a:pt x="11237" y="18145"/>
                  </a:lnTo>
                  <a:lnTo>
                    <a:pt x="11347" y="17912"/>
                  </a:lnTo>
                  <a:lnTo>
                    <a:pt x="11460" y="17663"/>
                  </a:lnTo>
                  <a:lnTo>
                    <a:pt x="11505" y="17483"/>
                  </a:lnTo>
                  <a:lnTo>
                    <a:pt x="11604" y="17196"/>
                  </a:lnTo>
                  <a:lnTo>
                    <a:pt x="11683" y="17024"/>
                  </a:lnTo>
                  <a:lnTo>
                    <a:pt x="11689" y="16887"/>
                  </a:lnTo>
                  <a:lnTo>
                    <a:pt x="11632" y="16817"/>
                  </a:lnTo>
                  <a:lnTo>
                    <a:pt x="11551" y="16802"/>
                  </a:lnTo>
                  <a:lnTo>
                    <a:pt x="11477" y="16780"/>
                  </a:lnTo>
                  <a:lnTo>
                    <a:pt x="11365" y="16780"/>
                  </a:lnTo>
                  <a:lnTo>
                    <a:pt x="11234" y="16802"/>
                  </a:lnTo>
                  <a:lnTo>
                    <a:pt x="11104" y="16839"/>
                  </a:lnTo>
                  <a:lnTo>
                    <a:pt x="11028" y="16887"/>
                  </a:lnTo>
                  <a:lnTo>
                    <a:pt x="10924" y="16956"/>
                  </a:lnTo>
                  <a:lnTo>
                    <a:pt x="10890" y="17029"/>
                  </a:lnTo>
                  <a:lnTo>
                    <a:pt x="10884" y="17157"/>
                  </a:lnTo>
                  <a:lnTo>
                    <a:pt x="10833" y="17347"/>
                  </a:lnTo>
                  <a:lnTo>
                    <a:pt x="10751" y="17509"/>
                  </a:lnTo>
                  <a:lnTo>
                    <a:pt x="10649" y="17596"/>
                  </a:lnTo>
                  <a:lnTo>
                    <a:pt x="10454" y="17759"/>
                  </a:lnTo>
                  <a:lnTo>
                    <a:pt x="10312" y="17818"/>
                  </a:lnTo>
                  <a:lnTo>
                    <a:pt x="10135" y="17898"/>
                  </a:lnTo>
                  <a:lnTo>
                    <a:pt x="9999" y="17898"/>
                  </a:lnTo>
                  <a:lnTo>
                    <a:pt x="9792" y="17879"/>
                  </a:lnTo>
                  <a:lnTo>
                    <a:pt x="9606" y="17831"/>
                  </a:lnTo>
                  <a:lnTo>
                    <a:pt x="9447" y="17654"/>
                  </a:lnTo>
                  <a:lnTo>
                    <a:pt x="9334" y="17487"/>
                  </a:lnTo>
                  <a:lnTo>
                    <a:pt x="9279" y="17285"/>
                  </a:lnTo>
                  <a:lnTo>
                    <a:pt x="9196" y="16914"/>
                  </a:lnTo>
                  <a:lnTo>
                    <a:pt x="9146" y="16624"/>
                  </a:lnTo>
                  <a:lnTo>
                    <a:pt x="9129" y="16345"/>
                  </a:lnTo>
                  <a:lnTo>
                    <a:pt x="9167" y="16032"/>
                  </a:lnTo>
                  <a:lnTo>
                    <a:pt x="9286" y="15655"/>
                  </a:lnTo>
                  <a:lnTo>
                    <a:pt x="9383" y="15401"/>
                  </a:lnTo>
                  <a:lnTo>
                    <a:pt x="9400" y="15183"/>
                  </a:lnTo>
                  <a:lnTo>
                    <a:pt x="9406" y="14977"/>
                  </a:lnTo>
                  <a:lnTo>
                    <a:pt x="9444" y="14790"/>
                  </a:lnTo>
                  <a:lnTo>
                    <a:pt x="9506" y="14595"/>
                  </a:lnTo>
                  <a:lnTo>
                    <a:pt x="9635" y="14457"/>
                  </a:lnTo>
                  <a:lnTo>
                    <a:pt x="9806" y="14284"/>
                  </a:lnTo>
                  <a:lnTo>
                    <a:pt x="10189" y="14050"/>
                  </a:lnTo>
                  <a:lnTo>
                    <a:pt x="10354" y="13911"/>
                  </a:lnTo>
                  <a:lnTo>
                    <a:pt x="10480" y="13836"/>
                  </a:lnTo>
                  <a:lnTo>
                    <a:pt x="10603" y="13720"/>
                  </a:lnTo>
                  <a:lnTo>
                    <a:pt x="10739" y="13684"/>
                  </a:lnTo>
                  <a:lnTo>
                    <a:pt x="10870" y="13684"/>
                  </a:lnTo>
                  <a:lnTo>
                    <a:pt x="10993" y="13742"/>
                  </a:lnTo>
                  <a:lnTo>
                    <a:pt x="11150" y="13886"/>
                  </a:lnTo>
                  <a:lnTo>
                    <a:pt x="11296" y="13993"/>
                  </a:lnTo>
                  <a:lnTo>
                    <a:pt x="11413" y="14043"/>
                  </a:lnTo>
                  <a:lnTo>
                    <a:pt x="11504" y="14043"/>
                  </a:lnTo>
                  <a:lnTo>
                    <a:pt x="11606" y="13970"/>
                  </a:lnTo>
                  <a:lnTo>
                    <a:pt x="11711" y="13735"/>
                  </a:lnTo>
                  <a:lnTo>
                    <a:pt x="11875" y="13611"/>
                  </a:lnTo>
                  <a:lnTo>
                    <a:pt x="12014" y="13548"/>
                  </a:lnTo>
                  <a:lnTo>
                    <a:pt x="12178" y="13504"/>
                  </a:lnTo>
                  <a:lnTo>
                    <a:pt x="12297" y="13548"/>
                  </a:lnTo>
                  <a:lnTo>
                    <a:pt x="12373" y="13646"/>
                  </a:lnTo>
                  <a:lnTo>
                    <a:pt x="12497" y="13704"/>
                  </a:lnTo>
                  <a:lnTo>
                    <a:pt x="12604" y="13781"/>
                  </a:lnTo>
                  <a:lnTo>
                    <a:pt x="12701" y="13812"/>
                  </a:lnTo>
                  <a:lnTo>
                    <a:pt x="12778" y="13740"/>
                  </a:lnTo>
                  <a:lnTo>
                    <a:pt x="12875" y="13710"/>
                  </a:lnTo>
                  <a:lnTo>
                    <a:pt x="12998" y="13746"/>
                  </a:lnTo>
                  <a:lnTo>
                    <a:pt x="13081" y="13890"/>
                  </a:lnTo>
                  <a:lnTo>
                    <a:pt x="13168" y="13996"/>
                  </a:lnTo>
                  <a:lnTo>
                    <a:pt x="13228" y="14124"/>
                  </a:lnTo>
                  <a:lnTo>
                    <a:pt x="13245" y="14260"/>
                  </a:lnTo>
                  <a:lnTo>
                    <a:pt x="13188" y="14382"/>
                  </a:lnTo>
                  <a:lnTo>
                    <a:pt x="13150" y="14515"/>
                  </a:lnTo>
                  <a:lnTo>
                    <a:pt x="13150" y="14661"/>
                  </a:lnTo>
                  <a:lnTo>
                    <a:pt x="13213" y="14744"/>
                  </a:lnTo>
                  <a:lnTo>
                    <a:pt x="13265" y="14853"/>
                  </a:lnTo>
                  <a:lnTo>
                    <a:pt x="13283" y="15108"/>
                  </a:lnTo>
                  <a:lnTo>
                    <a:pt x="13334" y="15290"/>
                  </a:lnTo>
                  <a:lnTo>
                    <a:pt x="13452" y="15424"/>
                  </a:lnTo>
                  <a:lnTo>
                    <a:pt x="13548" y="15365"/>
                  </a:lnTo>
                  <a:lnTo>
                    <a:pt x="13603" y="15222"/>
                  </a:lnTo>
                  <a:lnTo>
                    <a:pt x="13654" y="15037"/>
                  </a:lnTo>
                  <a:lnTo>
                    <a:pt x="13654" y="14814"/>
                  </a:lnTo>
                  <a:lnTo>
                    <a:pt x="13681" y="14602"/>
                  </a:lnTo>
                  <a:lnTo>
                    <a:pt x="13650" y="14293"/>
                  </a:lnTo>
                  <a:lnTo>
                    <a:pt x="13616" y="14170"/>
                  </a:lnTo>
                  <a:lnTo>
                    <a:pt x="13599" y="13973"/>
                  </a:lnTo>
                  <a:lnTo>
                    <a:pt x="13582" y="13688"/>
                  </a:lnTo>
                  <a:lnTo>
                    <a:pt x="13593" y="13506"/>
                  </a:lnTo>
                  <a:lnTo>
                    <a:pt x="13658" y="13353"/>
                  </a:lnTo>
                  <a:lnTo>
                    <a:pt x="13728" y="13200"/>
                  </a:lnTo>
                  <a:lnTo>
                    <a:pt x="13825" y="13091"/>
                  </a:lnTo>
                  <a:lnTo>
                    <a:pt x="13927" y="12967"/>
                  </a:lnTo>
                  <a:lnTo>
                    <a:pt x="14218" y="12701"/>
                  </a:lnTo>
                  <a:lnTo>
                    <a:pt x="14326" y="12563"/>
                  </a:lnTo>
                  <a:lnTo>
                    <a:pt x="14453" y="12468"/>
                  </a:lnTo>
                  <a:lnTo>
                    <a:pt x="14577" y="12404"/>
                  </a:lnTo>
                  <a:lnTo>
                    <a:pt x="14723" y="12341"/>
                  </a:lnTo>
                  <a:lnTo>
                    <a:pt x="14852" y="12246"/>
                  </a:lnTo>
                  <a:lnTo>
                    <a:pt x="14935" y="12127"/>
                  </a:lnTo>
                  <a:lnTo>
                    <a:pt x="15055" y="12032"/>
                  </a:lnTo>
                  <a:lnTo>
                    <a:pt x="15152" y="11945"/>
                  </a:lnTo>
                  <a:lnTo>
                    <a:pt x="15263" y="11753"/>
                  </a:lnTo>
                  <a:lnTo>
                    <a:pt x="15280" y="11595"/>
                  </a:lnTo>
                  <a:lnTo>
                    <a:pt x="15303" y="11434"/>
                  </a:lnTo>
                  <a:lnTo>
                    <a:pt x="15281" y="11276"/>
                  </a:lnTo>
                  <a:lnTo>
                    <a:pt x="15281" y="11116"/>
                  </a:lnTo>
                  <a:lnTo>
                    <a:pt x="15303" y="10934"/>
                  </a:lnTo>
                  <a:lnTo>
                    <a:pt x="15389" y="10761"/>
                  </a:lnTo>
                  <a:lnTo>
                    <a:pt x="15482" y="10761"/>
                  </a:lnTo>
                  <a:lnTo>
                    <a:pt x="15499" y="10880"/>
                  </a:lnTo>
                  <a:lnTo>
                    <a:pt x="15546" y="11021"/>
                  </a:lnTo>
                  <a:lnTo>
                    <a:pt x="15614" y="10967"/>
                  </a:lnTo>
                  <a:lnTo>
                    <a:pt x="15535" y="10727"/>
                  </a:lnTo>
                  <a:lnTo>
                    <a:pt x="15650" y="10569"/>
                  </a:lnTo>
                  <a:lnTo>
                    <a:pt x="15762" y="10432"/>
                  </a:lnTo>
                  <a:lnTo>
                    <a:pt x="16024" y="10381"/>
                  </a:lnTo>
                  <a:lnTo>
                    <a:pt x="16117" y="10289"/>
                  </a:lnTo>
                  <a:lnTo>
                    <a:pt x="16183" y="10120"/>
                  </a:lnTo>
                  <a:lnTo>
                    <a:pt x="16253" y="10035"/>
                  </a:lnTo>
                  <a:lnTo>
                    <a:pt x="16440" y="9841"/>
                  </a:lnTo>
                  <a:lnTo>
                    <a:pt x="16600" y="9797"/>
                  </a:lnTo>
                  <a:lnTo>
                    <a:pt x="16827" y="9761"/>
                  </a:lnTo>
                  <a:lnTo>
                    <a:pt x="16975" y="9680"/>
                  </a:lnTo>
                  <a:lnTo>
                    <a:pt x="17100" y="9613"/>
                  </a:lnTo>
                  <a:lnTo>
                    <a:pt x="17191" y="9547"/>
                  </a:lnTo>
                  <a:lnTo>
                    <a:pt x="17242" y="9250"/>
                  </a:lnTo>
                  <a:lnTo>
                    <a:pt x="17356" y="9134"/>
                  </a:lnTo>
                  <a:lnTo>
                    <a:pt x="17482" y="9045"/>
                  </a:lnTo>
                  <a:lnTo>
                    <a:pt x="17579" y="8965"/>
                  </a:lnTo>
                  <a:lnTo>
                    <a:pt x="17788" y="8827"/>
                  </a:lnTo>
                  <a:lnTo>
                    <a:pt x="17966" y="8684"/>
                  </a:lnTo>
                  <a:lnTo>
                    <a:pt x="18192" y="8613"/>
                  </a:lnTo>
                  <a:lnTo>
                    <a:pt x="18339" y="8516"/>
                  </a:lnTo>
                  <a:lnTo>
                    <a:pt x="18489" y="8428"/>
                  </a:lnTo>
                  <a:lnTo>
                    <a:pt x="18633" y="8365"/>
                  </a:lnTo>
                  <a:lnTo>
                    <a:pt x="18762" y="8309"/>
                  </a:lnTo>
                  <a:lnTo>
                    <a:pt x="18913" y="8309"/>
                  </a:lnTo>
                  <a:lnTo>
                    <a:pt x="19010" y="8350"/>
                  </a:lnTo>
                  <a:lnTo>
                    <a:pt x="19016" y="8472"/>
                  </a:lnTo>
                  <a:lnTo>
                    <a:pt x="18873" y="8513"/>
                  </a:lnTo>
                  <a:lnTo>
                    <a:pt x="18706" y="8635"/>
                  </a:lnTo>
                  <a:lnTo>
                    <a:pt x="18595" y="8691"/>
                  </a:lnTo>
                  <a:lnTo>
                    <a:pt x="18495" y="8751"/>
                  </a:lnTo>
                  <a:lnTo>
                    <a:pt x="18450" y="8839"/>
                  </a:lnTo>
                  <a:lnTo>
                    <a:pt x="18511" y="8931"/>
                  </a:lnTo>
                  <a:lnTo>
                    <a:pt x="18611" y="8931"/>
                  </a:lnTo>
                  <a:lnTo>
                    <a:pt x="18791" y="8827"/>
                  </a:lnTo>
                  <a:lnTo>
                    <a:pt x="18930" y="8727"/>
                  </a:lnTo>
                  <a:lnTo>
                    <a:pt x="19074" y="8650"/>
                  </a:lnTo>
                  <a:lnTo>
                    <a:pt x="19244" y="8635"/>
                  </a:lnTo>
                  <a:cubicBezTo>
                    <a:pt x="19290" y="8619"/>
                    <a:pt x="19335" y="8600"/>
                    <a:pt x="19379" y="8579"/>
                  </a:cubicBezTo>
                  <a:cubicBezTo>
                    <a:pt x="19434" y="8553"/>
                    <a:pt x="19488" y="8523"/>
                    <a:pt x="19541" y="8489"/>
                  </a:cubicBezTo>
                  <a:lnTo>
                    <a:pt x="19653" y="8409"/>
                  </a:lnTo>
                  <a:lnTo>
                    <a:pt x="19869" y="8294"/>
                  </a:lnTo>
                  <a:lnTo>
                    <a:pt x="19833" y="8195"/>
                  </a:lnTo>
                  <a:lnTo>
                    <a:pt x="19698" y="8202"/>
                  </a:lnTo>
                  <a:lnTo>
                    <a:pt x="19554" y="8292"/>
                  </a:lnTo>
                  <a:lnTo>
                    <a:pt x="19488" y="8314"/>
                  </a:lnTo>
                  <a:lnTo>
                    <a:pt x="19341" y="8314"/>
                  </a:lnTo>
                  <a:lnTo>
                    <a:pt x="19174" y="8207"/>
                  </a:lnTo>
                  <a:lnTo>
                    <a:pt x="18993" y="8112"/>
                  </a:lnTo>
                  <a:lnTo>
                    <a:pt x="18933" y="7978"/>
                  </a:lnTo>
                  <a:lnTo>
                    <a:pt x="18938" y="7840"/>
                  </a:lnTo>
                  <a:lnTo>
                    <a:pt x="18944" y="7690"/>
                  </a:lnTo>
                  <a:lnTo>
                    <a:pt x="19006" y="7610"/>
                  </a:lnTo>
                  <a:lnTo>
                    <a:pt x="19140" y="7428"/>
                  </a:lnTo>
                  <a:lnTo>
                    <a:pt x="19187" y="7345"/>
                  </a:lnTo>
                  <a:lnTo>
                    <a:pt x="19237" y="7180"/>
                  </a:lnTo>
                  <a:lnTo>
                    <a:pt x="19106" y="7144"/>
                  </a:lnTo>
                  <a:lnTo>
                    <a:pt x="18892" y="7163"/>
                  </a:lnTo>
                  <a:lnTo>
                    <a:pt x="18659" y="7228"/>
                  </a:lnTo>
                  <a:lnTo>
                    <a:pt x="18407" y="7344"/>
                  </a:lnTo>
                  <a:lnTo>
                    <a:pt x="18286" y="7459"/>
                  </a:lnTo>
                  <a:lnTo>
                    <a:pt x="18115" y="7495"/>
                  </a:lnTo>
                  <a:lnTo>
                    <a:pt x="18053" y="7522"/>
                  </a:lnTo>
                  <a:lnTo>
                    <a:pt x="17997" y="7406"/>
                  </a:lnTo>
                  <a:lnTo>
                    <a:pt x="18048" y="7304"/>
                  </a:lnTo>
                  <a:lnTo>
                    <a:pt x="18150" y="7238"/>
                  </a:lnTo>
                  <a:lnTo>
                    <a:pt x="18577" y="7007"/>
                  </a:lnTo>
                  <a:lnTo>
                    <a:pt x="18765" y="6862"/>
                  </a:lnTo>
                  <a:cubicBezTo>
                    <a:pt x="18809" y="6831"/>
                    <a:pt x="18854" y="6805"/>
                    <a:pt x="18901" y="6781"/>
                  </a:cubicBezTo>
                  <a:cubicBezTo>
                    <a:pt x="18965" y="6749"/>
                    <a:pt x="19031" y="6724"/>
                    <a:pt x="19098" y="6706"/>
                  </a:cubicBezTo>
                  <a:lnTo>
                    <a:pt x="19233" y="6665"/>
                  </a:lnTo>
                  <a:lnTo>
                    <a:pt x="19413" y="6636"/>
                  </a:lnTo>
                  <a:lnTo>
                    <a:pt x="19652" y="6658"/>
                  </a:lnTo>
                  <a:lnTo>
                    <a:pt x="19921" y="6687"/>
                  </a:lnTo>
                  <a:lnTo>
                    <a:pt x="20075" y="6660"/>
                  </a:lnTo>
                  <a:lnTo>
                    <a:pt x="20242" y="6618"/>
                  </a:lnTo>
                  <a:lnTo>
                    <a:pt x="20490" y="6615"/>
                  </a:lnTo>
                  <a:lnTo>
                    <a:pt x="20803" y="6477"/>
                  </a:lnTo>
                  <a:lnTo>
                    <a:pt x="20930" y="6409"/>
                  </a:lnTo>
                  <a:cubicBezTo>
                    <a:pt x="20988" y="6390"/>
                    <a:pt x="21045" y="6366"/>
                    <a:pt x="21099" y="6336"/>
                  </a:cubicBezTo>
                  <a:cubicBezTo>
                    <a:pt x="21140" y="6313"/>
                    <a:pt x="21179" y="6288"/>
                    <a:pt x="21217" y="6260"/>
                  </a:cubicBezTo>
                  <a:lnTo>
                    <a:pt x="21276" y="6209"/>
                  </a:lnTo>
                  <a:lnTo>
                    <a:pt x="21373" y="6131"/>
                  </a:lnTo>
                  <a:cubicBezTo>
                    <a:pt x="21397" y="6115"/>
                    <a:pt x="21420" y="6096"/>
                    <a:pt x="21441" y="6073"/>
                  </a:cubicBezTo>
                  <a:cubicBezTo>
                    <a:pt x="21471" y="6042"/>
                    <a:pt x="21497" y="6005"/>
                    <a:pt x="21518" y="5964"/>
                  </a:cubicBezTo>
                  <a:lnTo>
                    <a:pt x="21583" y="5842"/>
                  </a:lnTo>
                  <a:lnTo>
                    <a:pt x="21600" y="5716"/>
                  </a:lnTo>
                  <a:lnTo>
                    <a:pt x="21594" y="5645"/>
                  </a:lnTo>
                  <a:lnTo>
                    <a:pt x="21471" y="5526"/>
                  </a:lnTo>
                  <a:lnTo>
                    <a:pt x="21403" y="5467"/>
                  </a:lnTo>
                  <a:lnTo>
                    <a:pt x="21327" y="5446"/>
                  </a:lnTo>
                  <a:lnTo>
                    <a:pt x="21196" y="5446"/>
                  </a:lnTo>
                  <a:lnTo>
                    <a:pt x="21091" y="5453"/>
                  </a:lnTo>
                  <a:lnTo>
                    <a:pt x="20995" y="5547"/>
                  </a:lnTo>
                  <a:lnTo>
                    <a:pt x="20900" y="5567"/>
                  </a:lnTo>
                  <a:lnTo>
                    <a:pt x="20828" y="5523"/>
                  </a:lnTo>
                  <a:lnTo>
                    <a:pt x="20828" y="5416"/>
                  </a:lnTo>
                  <a:cubicBezTo>
                    <a:pt x="20860" y="5376"/>
                    <a:pt x="20896" y="5339"/>
                    <a:pt x="20934" y="5307"/>
                  </a:cubicBezTo>
                  <a:cubicBezTo>
                    <a:pt x="20959" y="5286"/>
                    <a:pt x="20985" y="5266"/>
                    <a:pt x="21011" y="5249"/>
                  </a:cubicBezTo>
                  <a:lnTo>
                    <a:pt x="20920" y="5120"/>
                  </a:lnTo>
                  <a:lnTo>
                    <a:pt x="20871" y="4942"/>
                  </a:lnTo>
                  <a:lnTo>
                    <a:pt x="20814" y="4814"/>
                  </a:lnTo>
                  <a:lnTo>
                    <a:pt x="20734" y="4712"/>
                  </a:lnTo>
                  <a:lnTo>
                    <a:pt x="20746" y="4563"/>
                  </a:lnTo>
                  <a:lnTo>
                    <a:pt x="20846" y="4476"/>
                  </a:lnTo>
                  <a:lnTo>
                    <a:pt x="20856" y="4345"/>
                  </a:lnTo>
                  <a:lnTo>
                    <a:pt x="20833" y="4183"/>
                  </a:lnTo>
                  <a:lnTo>
                    <a:pt x="20762" y="4113"/>
                  </a:lnTo>
                  <a:lnTo>
                    <a:pt x="20722" y="4001"/>
                  </a:lnTo>
                  <a:cubicBezTo>
                    <a:pt x="20752" y="3980"/>
                    <a:pt x="20776" y="3947"/>
                    <a:pt x="20790" y="3907"/>
                  </a:cubicBezTo>
                  <a:cubicBezTo>
                    <a:pt x="20808" y="3857"/>
                    <a:pt x="20810" y="3800"/>
                    <a:pt x="20796" y="3749"/>
                  </a:cubicBezTo>
                  <a:lnTo>
                    <a:pt x="20745" y="3647"/>
                  </a:lnTo>
                  <a:lnTo>
                    <a:pt x="20720" y="3537"/>
                  </a:lnTo>
                  <a:lnTo>
                    <a:pt x="20625" y="3493"/>
                  </a:lnTo>
                  <a:lnTo>
                    <a:pt x="20528" y="3632"/>
                  </a:lnTo>
                  <a:lnTo>
                    <a:pt x="20392" y="3756"/>
                  </a:lnTo>
                  <a:lnTo>
                    <a:pt x="20250" y="3892"/>
                  </a:lnTo>
                  <a:lnTo>
                    <a:pt x="20115" y="4018"/>
                  </a:lnTo>
                  <a:lnTo>
                    <a:pt x="19946" y="4098"/>
                  </a:lnTo>
                  <a:lnTo>
                    <a:pt x="19822" y="4091"/>
                  </a:lnTo>
                  <a:lnTo>
                    <a:pt x="19744" y="4074"/>
                  </a:lnTo>
                  <a:lnTo>
                    <a:pt x="19649" y="3952"/>
                  </a:lnTo>
                  <a:lnTo>
                    <a:pt x="19564" y="3858"/>
                  </a:lnTo>
                  <a:lnTo>
                    <a:pt x="19617" y="3705"/>
                  </a:lnTo>
                  <a:lnTo>
                    <a:pt x="19691" y="3562"/>
                  </a:lnTo>
                  <a:lnTo>
                    <a:pt x="19670" y="3362"/>
                  </a:lnTo>
                  <a:lnTo>
                    <a:pt x="19615" y="3265"/>
                  </a:lnTo>
                  <a:lnTo>
                    <a:pt x="19484" y="3118"/>
                  </a:lnTo>
                  <a:lnTo>
                    <a:pt x="19382" y="3053"/>
                  </a:lnTo>
                  <a:lnTo>
                    <a:pt x="19268" y="2958"/>
                  </a:lnTo>
                  <a:lnTo>
                    <a:pt x="19145" y="2912"/>
                  </a:lnTo>
                  <a:lnTo>
                    <a:pt x="19014" y="2919"/>
                  </a:lnTo>
                  <a:lnTo>
                    <a:pt x="18924" y="2834"/>
                  </a:lnTo>
                  <a:lnTo>
                    <a:pt x="18793" y="2819"/>
                  </a:lnTo>
                  <a:lnTo>
                    <a:pt x="18658" y="2819"/>
                  </a:lnTo>
                  <a:lnTo>
                    <a:pt x="18524" y="2863"/>
                  </a:lnTo>
                  <a:lnTo>
                    <a:pt x="18416" y="2934"/>
                  </a:lnTo>
                  <a:lnTo>
                    <a:pt x="18334" y="2997"/>
                  </a:lnTo>
                  <a:lnTo>
                    <a:pt x="18277" y="3133"/>
                  </a:lnTo>
                  <a:lnTo>
                    <a:pt x="18228" y="3344"/>
                  </a:lnTo>
                  <a:lnTo>
                    <a:pt x="18114" y="3556"/>
                  </a:lnTo>
                  <a:lnTo>
                    <a:pt x="18057" y="3665"/>
                  </a:lnTo>
                  <a:lnTo>
                    <a:pt x="17966" y="3765"/>
                  </a:lnTo>
                  <a:lnTo>
                    <a:pt x="17864" y="3806"/>
                  </a:lnTo>
                  <a:lnTo>
                    <a:pt x="17813" y="3908"/>
                  </a:lnTo>
                  <a:lnTo>
                    <a:pt x="17790" y="3988"/>
                  </a:lnTo>
                  <a:lnTo>
                    <a:pt x="17790" y="4105"/>
                  </a:lnTo>
                  <a:lnTo>
                    <a:pt x="17807" y="4220"/>
                  </a:lnTo>
                  <a:lnTo>
                    <a:pt x="17813" y="4330"/>
                  </a:lnTo>
                  <a:lnTo>
                    <a:pt x="17807" y="4419"/>
                  </a:lnTo>
                  <a:lnTo>
                    <a:pt x="17727" y="4570"/>
                  </a:lnTo>
                  <a:lnTo>
                    <a:pt x="17608" y="4723"/>
                  </a:lnTo>
                  <a:lnTo>
                    <a:pt x="17570" y="4807"/>
                  </a:lnTo>
                  <a:lnTo>
                    <a:pt x="17479" y="4941"/>
                  </a:lnTo>
                  <a:lnTo>
                    <a:pt x="17394" y="5028"/>
                  </a:lnTo>
                  <a:lnTo>
                    <a:pt x="17345" y="5072"/>
                  </a:lnTo>
                  <a:lnTo>
                    <a:pt x="17172" y="5175"/>
                  </a:lnTo>
                  <a:lnTo>
                    <a:pt x="17093" y="5197"/>
                  </a:lnTo>
                  <a:lnTo>
                    <a:pt x="16951" y="5269"/>
                  </a:lnTo>
                  <a:lnTo>
                    <a:pt x="16873" y="5378"/>
                  </a:lnTo>
                  <a:lnTo>
                    <a:pt x="16811" y="5487"/>
                  </a:lnTo>
                  <a:lnTo>
                    <a:pt x="16771" y="5592"/>
                  </a:lnTo>
                  <a:lnTo>
                    <a:pt x="16743" y="5750"/>
                  </a:lnTo>
                  <a:lnTo>
                    <a:pt x="16726" y="5871"/>
                  </a:lnTo>
                  <a:lnTo>
                    <a:pt x="16709" y="5944"/>
                  </a:lnTo>
                  <a:lnTo>
                    <a:pt x="16652" y="6076"/>
                  </a:lnTo>
                  <a:lnTo>
                    <a:pt x="16601" y="6191"/>
                  </a:lnTo>
                  <a:lnTo>
                    <a:pt x="16482" y="6279"/>
                  </a:lnTo>
                  <a:lnTo>
                    <a:pt x="16345" y="6351"/>
                  </a:lnTo>
                  <a:lnTo>
                    <a:pt x="16220" y="6410"/>
                  </a:lnTo>
                  <a:lnTo>
                    <a:pt x="16108" y="6417"/>
                  </a:lnTo>
                  <a:lnTo>
                    <a:pt x="16026" y="6249"/>
                  </a:lnTo>
                  <a:lnTo>
                    <a:pt x="15965" y="6129"/>
                  </a:lnTo>
                  <a:lnTo>
                    <a:pt x="15948" y="6014"/>
                  </a:lnTo>
                  <a:lnTo>
                    <a:pt x="15982" y="5833"/>
                  </a:lnTo>
                  <a:lnTo>
                    <a:pt x="16056" y="5667"/>
                  </a:lnTo>
                  <a:lnTo>
                    <a:pt x="16079" y="5551"/>
                  </a:lnTo>
                  <a:lnTo>
                    <a:pt x="16130" y="5398"/>
                  </a:lnTo>
                  <a:lnTo>
                    <a:pt x="16168" y="5299"/>
                  </a:lnTo>
                  <a:lnTo>
                    <a:pt x="16158" y="5212"/>
                  </a:lnTo>
                  <a:lnTo>
                    <a:pt x="16120" y="5149"/>
                  </a:lnTo>
                  <a:lnTo>
                    <a:pt x="16044" y="5134"/>
                  </a:lnTo>
                  <a:lnTo>
                    <a:pt x="15842" y="5066"/>
                  </a:lnTo>
                  <a:lnTo>
                    <a:pt x="15649" y="5016"/>
                  </a:lnTo>
                  <a:lnTo>
                    <a:pt x="15519" y="4899"/>
                  </a:lnTo>
                  <a:lnTo>
                    <a:pt x="15428" y="4807"/>
                  </a:lnTo>
                  <a:lnTo>
                    <a:pt x="15295" y="4703"/>
                  </a:lnTo>
                  <a:lnTo>
                    <a:pt x="15101" y="4615"/>
                  </a:lnTo>
                  <a:lnTo>
                    <a:pt x="15030" y="4608"/>
                  </a:lnTo>
                  <a:lnTo>
                    <a:pt x="14853" y="4596"/>
                  </a:lnTo>
                  <a:lnTo>
                    <a:pt x="14711" y="4533"/>
                  </a:lnTo>
                  <a:lnTo>
                    <a:pt x="14656" y="4441"/>
                  </a:lnTo>
                  <a:lnTo>
                    <a:pt x="14613" y="4335"/>
                  </a:lnTo>
                  <a:lnTo>
                    <a:pt x="14581" y="4174"/>
                  </a:lnTo>
                  <a:lnTo>
                    <a:pt x="14534" y="4070"/>
                  </a:lnTo>
                  <a:lnTo>
                    <a:pt x="14451" y="4048"/>
                  </a:lnTo>
                  <a:lnTo>
                    <a:pt x="14384" y="3982"/>
                  </a:lnTo>
                  <a:lnTo>
                    <a:pt x="14380" y="3875"/>
                  </a:lnTo>
                  <a:lnTo>
                    <a:pt x="14437" y="3743"/>
                  </a:lnTo>
                  <a:lnTo>
                    <a:pt x="14496" y="3639"/>
                  </a:lnTo>
                  <a:lnTo>
                    <a:pt x="14589" y="3529"/>
                  </a:lnTo>
                  <a:lnTo>
                    <a:pt x="14644" y="3420"/>
                  </a:lnTo>
                  <a:lnTo>
                    <a:pt x="14712" y="3355"/>
                  </a:lnTo>
                  <a:lnTo>
                    <a:pt x="14846" y="3290"/>
                  </a:lnTo>
                  <a:lnTo>
                    <a:pt x="14960" y="3224"/>
                  </a:lnTo>
                  <a:lnTo>
                    <a:pt x="15117" y="3068"/>
                  </a:lnTo>
                  <a:lnTo>
                    <a:pt x="15265" y="2971"/>
                  </a:lnTo>
                  <a:lnTo>
                    <a:pt x="15367" y="2891"/>
                  </a:lnTo>
                  <a:lnTo>
                    <a:pt x="15479" y="2833"/>
                  </a:lnTo>
                  <a:lnTo>
                    <a:pt x="15627" y="2760"/>
                  </a:lnTo>
                  <a:lnTo>
                    <a:pt x="15801" y="2672"/>
                  </a:lnTo>
                  <a:lnTo>
                    <a:pt x="15902" y="2616"/>
                  </a:lnTo>
                  <a:lnTo>
                    <a:pt x="15953" y="2544"/>
                  </a:lnTo>
                  <a:lnTo>
                    <a:pt x="15902" y="2480"/>
                  </a:lnTo>
                  <a:lnTo>
                    <a:pt x="15942" y="2320"/>
                  </a:lnTo>
                  <a:lnTo>
                    <a:pt x="16029" y="2276"/>
                  </a:lnTo>
                  <a:lnTo>
                    <a:pt x="16111" y="2336"/>
                  </a:lnTo>
                  <a:lnTo>
                    <a:pt x="16338" y="2329"/>
                  </a:lnTo>
                  <a:lnTo>
                    <a:pt x="16515" y="2242"/>
                  </a:lnTo>
                  <a:lnTo>
                    <a:pt x="16662" y="2213"/>
                  </a:lnTo>
                  <a:lnTo>
                    <a:pt x="16803" y="2154"/>
                  </a:lnTo>
                  <a:lnTo>
                    <a:pt x="16958" y="2088"/>
                  </a:lnTo>
                  <a:lnTo>
                    <a:pt x="16928" y="1994"/>
                  </a:lnTo>
                  <a:lnTo>
                    <a:pt x="16828" y="1852"/>
                  </a:lnTo>
                  <a:lnTo>
                    <a:pt x="16746" y="1775"/>
                  </a:lnTo>
                  <a:lnTo>
                    <a:pt x="16786" y="1685"/>
                  </a:lnTo>
                  <a:lnTo>
                    <a:pt x="16894" y="1649"/>
                  </a:lnTo>
                  <a:lnTo>
                    <a:pt x="17022" y="1728"/>
                  </a:lnTo>
                  <a:cubicBezTo>
                    <a:pt x="17065" y="1745"/>
                    <a:pt x="17109" y="1754"/>
                    <a:pt x="17154" y="1754"/>
                  </a:cubicBezTo>
                  <a:cubicBezTo>
                    <a:pt x="17193" y="1754"/>
                    <a:pt x="17232" y="1748"/>
                    <a:pt x="17270" y="1735"/>
                  </a:cubicBezTo>
                  <a:lnTo>
                    <a:pt x="17369" y="1675"/>
                  </a:lnTo>
                  <a:lnTo>
                    <a:pt x="17463" y="1580"/>
                  </a:lnTo>
                  <a:lnTo>
                    <a:pt x="17617" y="1551"/>
                  </a:lnTo>
                  <a:lnTo>
                    <a:pt x="17797" y="1546"/>
                  </a:lnTo>
                  <a:lnTo>
                    <a:pt x="17945" y="1517"/>
                  </a:lnTo>
                  <a:cubicBezTo>
                    <a:pt x="18025" y="1530"/>
                    <a:pt x="18106" y="1530"/>
                    <a:pt x="18186" y="1517"/>
                  </a:cubicBezTo>
                  <a:cubicBezTo>
                    <a:pt x="18230" y="1510"/>
                    <a:pt x="18274" y="1499"/>
                    <a:pt x="18316" y="1480"/>
                  </a:cubicBezTo>
                  <a:cubicBezTo>
                    <a:pt x="18379" y="1453"/>
                    <a:pt x="18437" y="1411"/>
                    <a:pt x="18487" y="1357"/>
                  </a:cubicBezTo>
                  <a:lnTo>
                    <a:pt x="18576" y="1269"/>
                  </a:lnTo>
                  <a:lnTo>
                    <a:pt x="18679" y="1133"/>
                  </a:lnTo>
                  <a:lnTo>
                    <a:pt x="18740" y="1033"/>
                  </a:lnTo>
                  <a:lnTo>
                    <a:pt x="18827" y="887"/>
                  </a:lnTo>
                  <a:lnTo>
                    <a:pt x="18865" y="773"/>
                  </a:lnTo>
                  <a:lnTo>
                    <a:pt x="18842" y="683"/>
                  </a:lnTo>
                  <a:lnTo>
                    <a:pt x="18706" y="662"/>
                  </a:lnTo>
                  <a:lnTo>
                    <a:pt x="18611" y="642"/>
                  </a:lnTo>
                  <a:lnTo>
                    <a:pt x="18371" y="642"/>
                  </a:lnTo>
                  <a:lnTo>
                    <a:pt x="18303" y="678"/>
                  </a:lnTo>
                  <a:lnTo>
                    <a:pt x="18196" y="812"/>
                  </a:lnTo>
                  <a:lnTo>
                    <a:pt x="18035" y="1029"/>
                  </a:lnTo>
                  <a:lnTo>
                    <a:pt x="17939" y="1072"/>
                  </a:lnTo>
                  <a:lnTo>
                    <a:pt x="17774" y="1203"/>
                  </a:lnTo>
                  <a:lnTo>
                    <a:pt x="17708" y="1283"/>
                  </a:lnTo>
                  <a:lnTo>
                    <a:pt x="17630" y="1324"/>
                  </a:lnTo>
                  <a:lnTo>
                    <a:pt x="17575" y="1297"/>
                  </a:lnTo>
                  <a:lnTo>
                    <a:pt x="17456" y="1210"/>
                  </a:lnTo>
                  <a:lnTo>
                    <a:pt x="17478" y="1123"/>
                  </a:lnTo>
                  <a:lnTo>
                    <a:pt x="17579" y="987"/>
                  </a:lnTo>
                  <a:lnTo>
                    <a:pt x="17620" y="848"/>
                  </a:lnTo>
                  <a:lnTo>
                    <a:pt x="17580" y="746"/>
                  </a:lnTo>
                  <a:lnTo>
                    <a:pt x="17480" y="713"/>
                  </a:lnTo>
                  <a:lnTo>
                    <a:pt x="17389" y="669"/>
                  </a:lnTo>
                  <a:lnTo>
                    <a:pt x="17377" y="770"/>
                  </a:lnTo>
                  <a:lnTo>
                    <a:pt x="17275" y="843"/>
                  </a:lnTo>
                  <a:lnTo>
                    <a:pt x="17223" y="719"/>
                  </a:lnTo>
                  <a:lnTo>
                    <a:pt x="17188" y="550"/>
                  </a:lnTo>
                  <a:lnTo>
                    <a:pt x="17158" y="474"/>
                  </a:lnTo>
                  <a:lnTo>
                    <a:pt x="17158" y="393"/>
                  </a:lnTo>
                  <a:lnTo>
                    <a:pt x="17262" y="250"/>
                  </a:lnTo>
                  <a:lnTo>
                    <a:pt x="17279" y="137"/>
                  </a:lnTo>
                  <a:lnTo>
                    <a:pt x="17211" y="42"/>
                  </a:lnTo>
                  <a:lnTo>
                    <a:pt x="17121" y="0"/>
                  </a:lnTo>
                  <a:lnTo>
                    <a:pt x="16997" y="69"/>
                  </a:lnTo>
                  <a:lnTo>
                    <a:pt x="16878" y="193"/>
                  </a:lnTo>
                  <a:lnTo>
                    <a:pt x="16739" y="264"/>
                  </a:lnTo>
                  <a:lnTo>
                    <a:pt x="16601" y="308"/>
                  </a:lnTo>
                  <a:lnTo>
                    <a:pt x="16495" y="385"/>
                  </a:lnTo>
                  <a:lnTo>
                    <a:pt x="16478" y="478"/>
                  </a:lnTo>
                  <a:lnTo>
                    <a:pt x="16580" y="499"/>
                  </a:lnTo>
                  <a:lnTo>
                    <a:pt x="16696" y="652"/>
                  </a:lnTo>
                  <a:lnTo>
                    <a:pt x="16774" y="698"/>
                  </a:lnTo>
                  <a:lnTo>
                    <a:pt x="16711" y="834"/>
                  </a:lnTo>
                  <a:lnTo>
                    <a:pt x="16611" y="914"/>
                  </a:lnTo>
                  <a:lnTo>
                    <a:pt x="16484" y="970"/>
                  </a:lnTo>
                  <a:lnTo>
                    <a:pt x="16336" y="992"/>
                  </a:lnTo>
                  <a:lnTo>
                    <a:pt x="16211" y="1072"/>
                  </a:lnTo>
                  <a:lnTo>
                    <a:pt x="16065" y="1208"/>
                  </a:lnTo>
                  <a:lnTo>
                    <a:pt x="15938" y="1300"/>
                  </a:lnTo>
                  <a:lnTo>
                    <a:pt x="15900" y="1403"/>
                  </a:lnTo>
                  <a:lnTo>
                    <a:pt x="15840" y="1405"/>
                  </a:lnTo>
                  <a:lnTo>
                    <a:pt x="15806" y="1296"/>
                  </a:lnTo>
                  <a:lnTo>
                    <a:pt x="15726" y="1252"/>
                  </a:lnTo>
                  <a:lnTo>
                    <a:pt x="15631" y="1267"/>
                  </a:lnTo>
                  <a:lnTo>
                    <a:pt x="15605" y="1192"/>
                  </a:lnTo>
                  <a:cubicBezTo>
                    <a:pt x="15584" y="1165"/>
                    <a:pt x="15559" y="1144"/>
                    <a:pt x="15531" y="1131"/>
                  </a:cubicBezTo>
                  <a:cubicBezTo>
                    <a:pt x="15512" y="1122"/>
                    <a:pt x="15491" y="1117"/>
                    <a:pt x="15471" y="1117"/>
                  </a:cubicBezTo>
                  <a:lnTo>
                    <a:pt x="15344" y="1117"/>
                  </a:lnTo>
                  <a:lnTo>
                    <a:pt x="15199" y="1177"/>
                  </a:lnTo>
                  <a:lnTo>
                    <a:pt x="15108" y="1170"/>
                  </a:lnTo>
                  <a:lnTo>
                    <a:pt x="14956" y="1162"/>
                  </a:lnTo>
                  <a:lnTo>
                    <a:pt x="14865" y="1119"/>
                  </a:lnTo>
                  <a:cubicBezTo>
                    <a:pt x="14833" y="1105"/>
                    <a:pt x="14801" y="1091"/>
                    <a:pt x="14769" y="1075"/>
                  </a:cubicBezTo>
                  <a:cubicBezTo>
                    <a:pt x="14722" y="1053"/>
                    <a:pt x="14676" y="1028"/>
                    <a:pt x="14628" y="1010"/>
                  </a:cubicBezTo>
                  <a:cubicBezTo>
                    <a:pt x="14586" y="993"/>
                    <a:pt x="14542" y="981"/>
                    <a:pt x="14498" y="973"/>
                  </a:cubicBezTo>
                  <a:lnTo>
                    <a:pt x="14362" y="995"/>
                  </a:lnTo>
                  <a:lnTo>
                    <a:pt x="14227" y="1051"/>
                  </a:lnTo>
                  <a:lnTo>
                    <a:pt x="14126" y="1073"/>
                  </a:lnTo>
                  <a:lnTo>
                    <a:pt x="14007" y="1095"/>
                  </a:lnTo>
                  <a:lnTo>
                    <a:pt x="13915" y="1160"/>
                  </a:lnTo>
                  <a:lnTo>
                    <a:pt x="13864" y="1223"/>
                  </a:lnTo>
                  <a:lnTo>
                    <a:pt x="13791" y="1318"/>
                  </a:lnTo>
                  <a:cubicBezTo>
                    <a:pt x="13779" y="1341"/>
                    <a:pt x="13766" y="1364"/>
                    <a:pt x="13753" y="1386"/>
                  </a:cubicBezTo>
                  <a:cubicBezTo>
                    <a:pt x="13728" y="1427"/>
                    <a:pt x="13701" y="1467"/>
                    <a:pt x="13670" y="1500"/>
                  </a:cubicBezTo>
                  <a:cubicBezTo>
                    <a:pt x="13638" y="1533"/>
                    <a:pt x="13603" y="1560"/>
                    <a:pt x="13565" y="1580"/>
                  </a:cubicBezTo>
                  <a:lnTo>
                    <a:pt x="13469" y="1480"/>
                  </a:lnTo>
                  <a:lnTo>
                    <a:pt x="13459" y="1310"/>
                  </a:lnTo>
                  <a:lnTo>
                    <a:pt x="13425" y="1176"/>
                  </a:lnTo>
                  <a:lnTo>
                    <a:pt x="13378" y="1120"/>
                  </a:lnTo>
                  <a:lnTo>
                    <a:pt x="13268" y="1101"/>
                  </a:lnTo>
                  <a:lnTo>
                    <a:pt x="13148" y="1115"/>
                  </a:lnTo>
                  <a:lnTo>
                    <a:pt x="13089" y="1183"/>
                  </a:lnTo>
                  <a:lnTo>
                    <a:pt x="13018" y="1183"/>
                  </a:lnTo>
                  <a:lnTo>
                    <a:pt x="12818" y="1192"/>
                  </a:lnTo>
                  <a:lnTo>
                    <a:pt x="12642" y="1192"/>
                  </a:lnTo>
                  <a:lnTo>
                    <a:pt x="12500" y="1104"/>
                  </a:lnTo>
                  <a:lnTo>
                    <a:pt x="12494" y="1027"/>
                  </a:lnTo>
                  <a:lnTo>
                    <a:pt x="12560" y="956"/>
                  </a:lnTo>
                  <a:lnTo>
                    <a:pt x="12650" y="915"/>
                  </a:lnTo>
                  <a:lnTo>
                    <a:pt x="12674" y="840"/>
                  </a:lnTo>
                  <a:lnTo>
                    <a:pt x="12555" y="840"/>
                  </a:lnTo>
                  <a:lnTo>
                    <a:pt x="12364" y="876"/>
                  </a:lnTo>
                  <a:lnTo>
                    <a:pt x="12266" y="825"/>
                  </a:lnTo>
                  <a:lnTo>
                    <a:pt x="12129" y="723"/>
                  </a:lnTo>
                  <a:lnTo>
                    <a:pt x="11999" y="650"/>
                  </a:lnTo>
                  <a:lnTo>
                    <a:pt x="11913" y="614"/>
                  </a:lnTo>
                  <a:lnTo>
                    <a:pt x="11760" y="572"/>
                  </a:lnTo>
                  <a:lnTo>
                    <a:pt x="11642" y="550"/>
                  </a:lnTo>
                  <a:lnTo>
                    <a:pt x="11514" y="550"/>
                  </a:lnTo>
                  <a:lnTo>
                    <a:pt x="11415" y="558"/>
                  </a:lnTo>
                  <a:lnTo>
                    <a:pt x="11319" y="601"/>
                  </a:lnTo>
                  <a:lnTo>
                    <a:pt x="11143" y="637"/>
                  </a:lnTo>
                  <a:lnTo>
                    <a:pt x="11018" y="616"/>
                  </a:lnTo>
                  <a:lnTo>
                    <a:pt x="10847" y="514"/>
                  </a:lnTo>
                  <a:lnTo>
                    <a:pt x="10762" y="449"/>
                  </a:lnTo>
                  <a:lnTo>
                    <a:pt x="10681" y="458"/>
                  </a:lnTo>
                  <a:lnTo>
                    <a:pt x="10573" y="509"/>
                  </a:lnTo>
                  <a:lnTo>
                    <a:pt x="10499" y="546"/>
                  </a:lnTo>
                  <a:lnTo>
                    <a:pt x="10376" y="524"/>
                  </a:lnTo>
                  <a:lnTo>
                    <a:pt x="10291" y="502"/>
                  </a:lnTo>
                  <a:lnTo>
                    <a:pt x="10121" y="517"/>
                  </a:lnTo>
                  <a:lnTo>
                    <a:pt x="9918" y="575"/>
                  </a:lnTo>
                  <a:lnTo>
                    <a:pt x="9714" y="655"/>
                  </a:lnTo>
                  <a:lnTo>
                    <a:pt x="9448" y="747"/>
                  </a:lnTo>
                  <a:lnTo>
                    <a:pt x="9329" y="769"/>
                  </a:lnTo>
                  <a:lnTo>
                    <a:pt x="8951" y="819"/>
                  </a:lnTo>
                  <a:lnTo>
                    <a:pt x="8616" y="776"/>
                  </a:lnTo>
                  <a:lnTo>
                    <a:pt x="8127" y="613"/>
                  </a:lnTo>
                  <a:lnTo>
                    <a:pt x="7941" y="509"/>
                  </a:lnTo>
                  <a:lnTo>
                    <a:pt x="7648" y="483"/>
                  </a:lnTo>
                  <a:lnTo>
                    <a:pt x="7075" y="407"/>
                  </a:lnTo>
                  <a:lnTo>
                    <a:pt x="6936" y="356"/>
                  </a:lnTo>
                  <a:lnTo>
                    <a:pt x="6817" y="290"/>
                  </a:lnTo>
                  <a:lnTo>
                    <a:pt x="6682" y="254"/>
                  </a:lnTo>
                  <a:lnTo>
                    <a:pt x="6466" y="217"/>
                  </a:lnTo>
                  <a:lnTo>
                    <a:pt x="6284" y="195"/>
                  </a:lnTo>
                  <a:lnTo>
                    <a:pt x="6126" y="188"/>
                  </a:lnTo>
                  <a:lnTo>
                    <a:pt x="5969" y="188"/>
                  </a:lnTo>
                  <a:lnTo>
                    <a:pt x="5690" y="225"/>
                  </a:lnTo>
                  <a:lnTo>
                    <a:pt x="5320" y="268"/>
                  </a:lnTo>
                  <a:lnTo>
                    <a:pt x="5074" y="361"/>
                  </a:lnTo>
                  <a:lnTo>
                    <a:pt x="4688" y="433"/>
                  </a:lnTo>
                  <a:lnTo>
                    <a:pt x="4586" y="477"/>
                  </a:lnTo>
                  <a:lnTo>
                    <a:pt x="4348" y="572"/>
                  </a:lnTo>
                  <a:lnTo>
                    <a:pt x="4054" y="701"/>
                  </a:lnTo>
                  <a:lnTo>
                    <a:pt x="3823" y="793"/>
                  </a:lnTo>
                  <a:lnTo>
                    <a:pt x="3588" y="866"/>
                  </a:lnTo>
                  <a:lnTo>
                    <a:pt x="3471" y="862"/>
                  </a:lnTo>
                  <a:close/>
                </a:path>
              </a:pathLst>
            </a:custGeom>
            <a:grpFill/>
            <a:ln w="25400" cap="flat">
              <a:noFill/>
              <a:prstDash val="solid"/>
              <a:miter lim="400000"/>
            </a:ln>
            <a:effectLst/>
          </p:spPr>
          <p:txBody>
            <a:bodyPr anchor="ctr"/>
            <a:lstStyle/>
            <a:p>
              <a:pPr algn="ctr"/>
              <a:endParaRPr/>
            </a:p>
          </p:txBody>
        </p:sp>
        <p:sp>
          <p:nvSpPr>
            <p:cNvPr id="199" name="任意多边形: 形状 198">
              <a:extLst>
                <a:ext uri="{FF2B5EF4-FFF2-40B4-BE49-F238E27FC236}">
                  <a16:creationId xmlns:a16="http://schemas.microsoft.com/office/drawing/2014/main" id="{0BCA6047-E3E8-4A40-A48C-83F47C11BAD8}"/>
                </a:ext>
              </a:extLst>
            </p:cNvPr>
            <p:cNvSpPr/>
            <p:nvPr/>
          </p:nvSpPr>
          <p:spPr>
            <a:xfrm>
              <a:off x="2659645" y="1473576"/>
              <a:ext cx="486286" cy="175323"/>
            </a:xfrm>
            <a:custGeom>
              <a:avLst/>
              <a:gdLst/>
              <a:ahLst/>
              <a:cxnLst>
                <a:cxn ang="0">
                  <a:pos x="wd2" y="hd2"/>
                </a:cxn>
                <a:cxn ang="5400000">
                  <a:pos x="wd2" y="hd2"/>
                </a:cxn>
                <a:cxn ang="10800000">
                  <a:pos x="wd2" y="hd2"/>
                </a:cxn>
                <a:cxn ang="16200000">
                  <a:pos x="wd2" y="hd2"/>
                </a:cxn>
              </a:cxnLst>
              <a:rect l="0" t="0" r="r" b="b"/>
              <a:pathLst>
                <a:path w="21600" h="21600" extrusionOk="0">
                  <a:moveTo>
                    <a:pt x="5634" y="1167"/>
                  </a:moveTo>
                  <a:lnTo>
                    <a:pt x="4811" y="2252"/>
                  </a:lnTo>
                  <a:lnTo>
                    <a:pt x="2967" y="4498"/>
                  </a:lnTo>
                  <a:lnTo>
                    <a:pt x="1963" y="5618"/>
                  </a:lnTo>
                  <a:lnTo>
                    <a:pt x="576" y="7014"/>
                  </a:lnTo>
                  <a:lnTo>
                    <a:pt x="80" y="8227"/>
                  </a:lnTo>
                  <a:lnTo>
                    <a:pt x="0" y="9312"/>
                  </a:lnTo>
                  <a:lnTo>
                    <a:pt x="451" y="10588"/>
                  </a:lnTo>
                  <a:lnTo>
                    <a:pt x="1016" y="11735"/>
                  </a:lnTo>
                  <a:cubicBezTo>
                    <a:pt x="1189" y="11851"/>
                    <a:pt x="1367" y="11914"/>
                    <a:pt x="1545" y="11921"/>
                  </a:cubicBezTo>
                  <a:cubicBezTo>
                    <a:pt x="2101" y="11944"/>
                    <a:pt x="2642" y="11441"/>
                    <a:pt x="3079" y="10495"/>
                  </a:cubicBezTo>
                  <a:lnTo>
                    <a:pt x="3970" y="9406"/>
                  </a:lnTo>
                  <a:lnTo>
                    <a:pt x="5427" y="8286"/>
                  </a:lnTo>
                  <a:lnTo>
                    <a:pt x="6330" y="8286"/>
                  </a:lnTo>
                  <a:lnTo>
                    <a:pt x="7392" y="10183"/>
                  </a:lnTo>
                  <a:lnTo>
                    <a:pt x="7965" y="10836"/>
                  </a:lnTo>
                  <a:lnTo>
                    <a:pt x="7774" y="11797"/>
                  </a:lnTo>
                  <a:lnTo>
                    <a:pt x="7111" y="12073"/>
                  </a:lnTo>
                  <a:cubicBezTo>
                    <a:pt x="6813" y="12042"/>
                    <a:pt x="6516" y="12011"/>
                    <a:pt x="6219" y="11980"/>
                  </a:cubicBezTo>
                  <a:cubicBezTo>
                    <a:pt x="5914" y="11948"/>
                    <a:pt x="5609" y="11917"/>
                    <a:pt x="5304" y="11886"/>
                  </a:cubicBezTo>
                  <a:lnTo>
                    <a:pt x="5201" y="13473"/>
                  </a:lnTo>
                  <a:lnTo>
                    <a:pt x="6409" y="14126"/>
                  </a:lnTo>
                  <a:cubicBezTo>
                    <a:pt x="6963" y="14051"/>
                    <a:pt x="7516" y="13958"/>
                    <a:pt x="8069" y="13846"/>
                  </a:cubicBezTo>
                  <a:cubicBezTo>
                    <a:pt x="8714" y="13716"/>
                    <a:pt x="9358" y="13560"/>
                    <a:pt x="10001" y="13380"/>
                  </a:cubicBezTo>
                  <a:lnTo>
                    <a:pt x="10642" y="15239"/>
                  </a:lnTo>
                  <a:lnTo>
                    <a:pt x="9896" y="15981"/>
                  </a:lnTo>
                  <a:cubicBezTo>
                    <a:pt x="9546" y="16191"/>
                    <a:pt x="9192" y="16347"/>
                    <a:pt x="8836" y="16448"/>
                  </a:cubicBezTo>
                  <a:cubicBezTo>
                    <a:pt x="7951" y="16697"/>
                    <a:pt x="7059" y="16604"/>
                    <a:pt x="6183" y="16172"/>
                  </a:cubicBezTo>
                  <a:lnTo>
                    <a:pt x="4831" y="16172"/>
                  </a:lnTo>
                  <a:lnTo>
                    <a:pt x="4764" y="17467"/>
                  </a:lnTo>
                  <a:lnTo>
                    <a:pt x="5860" y="18555"/>
                  </a:lnTo>
                  <a:lnTo>
                    <a:pt x="7450" y="19951"/>
                  </a:lnTo>
                  <a:lnTo>
                    <a:pt x="9207" y="21320"/>
                  </a:lnTo>
                  <a:lnTo>
                    <a:pt x="10369" y="21600"/>
                  </a:lnTo>
                  <a:lnTo>
                    <a:pt x="11950" y="21507"/>
                  </a:lnTo>
                  <a:lnTo>
                    <a:pt x="13656" y="20231"/>
                  </a:lnTo>
                  <a:cubicBezTo>
                    <a:pt x="13887" y="19682"/>
                    <a:pt x="14168" y="19316"/>
                    <a:pt x="14469" y="19174"/>
                  </a:cubicBezTo>
                  <a:cubicBezTo>
                    <a:pt x="14818" y="19009"/>
                    <a:pt x="15172" y="19150"/>
                    <a:pt x="15519" y="19329"/>
                  </a:cubicBezTo>
                  <a:cubicBezTo>
                    <a:pt x="15975" y="19564"/>
                    <a:pt x="16427" y="19863"/>
                    <a:pt x="16872" y="20224"/>
                  </a:cubicBezTo>
                  <a:lnTo>
                    <a:pt x="18689" y="19850"/>
                  </a:lnTo>
                  <a:lnTo>
                    <a:pt x="20146" y="18544"/>
                  </a:lnTo>
                  <a:lnTo>
                    <a:pt x="21195" y="17237"/>
                  </a:lnTo>
                  <a:lnTo>
                    <a:pt x="21600" y="15873"/>
                  </a:lnTo>
                  <a:lnTo>
                    <a:pt x="21374" y="15130"/>
                  </a:lnTo>
                  <a:cubicBezTo>
                    <a:pt x="21049" y="15131"/>
                    <a:pt x="20734" y="14814"/>
                    <a:pt x="20486" y="14235"/>
                  </a:cubicBezTo>
                  <a:cubicBezTo>
                    <a:pt x="20325" y="13859"/>
                    <a:pt x="20198" y="13383"/>
                    <a:pt x="20115" y="12847"/>
                  </a:cubicBezTo>
                  <a:cubicBezTo>
                    <a:pt x="20094" y="12509"/>
                    <a:pt x="20094" y="12163"/>
                    <a:pt x="20115" y="11824"/>
                  </a:cubicBezTo>
                  <a:cubicBezTo>
                    <a:pt x="20168" y="10953"/>
                    <a:pt x="20353" y="10185"/>
                    <a:pt x="20623" y="9709"/>
                  </a:cubicBezTo>
                  <a:lnTo>
                    <a:pt x="21199" y="6443"/>
                  </a:lnTo>
                  <a:lnTo>
                    <a:pt x="21301" y="5513"/>
                  </a:lnTo>
                  <a:cubicBezTo>
                    <a:pt x="21336" y="5080"/>
                    <a:pt x="21268" y="4633"/>
                    <a:pt x="21131" y="4397"/>
                  </a:cubicBezTo>
                  <a:cubicBezTo>
                    <a:pt x="20903" y="4004"/>
                    <a:pt x="20627" y="4349"/>
                    <a:pt x="20376" y="4646"/>
                  </a:cubicBezTo>
                  <a:cubicBezTo>
                    <a:pt x="20058" y="5024"/>
                    <a:pt x="19716" y="5284"/>
                    <a:pt x="19439" y="5860"/>
                  </a:cubicBezTo>
                  <a:cubicBezTo>
                    <a:pt x="19169" y="6418"/>
                    <a:pt x="18986" y="7219"/>
                    <a:pt x="18761" y="7909"/>
                  </a:cubicBezTo>
                  <a:cubicBezTo>
                    <a:pt x="18530" y="8617"/>
                    <a:pt x="18255" y="9207"/>
                    <a:pt x="17949" y="9651"/>
                  </a:cubicBezTo>
                  <a:lnTo>
                    <a:pt x="17192" y="8997"/>
                  </a:lnTo>
                  <a:cubicBezTo>
                    <a:pt x="17245" y="8451"/>
                    <a:pt x="17264" y="7885"/>
                    <a:pt x="17249" y="7321"/>
                  </a:cubicBezTo>
                  <a:cubicBezTo>
                    <a:pt x="17234" y="6788"/>
                    <a:pt x="17188" y="6264"/>
                    <a:pt x="17113" y="5770"/>
                  </a:cubicBezTo>
                  <a:lnTo>
                    <a:pt x="16235" y="5863"/>
                  </a:lnTo>
                  <a:lnTo>
                    <a:pt x="15637" y="7539"/>
                  </a:lnTo>
                  <a:lnTo>
                    <a:pt x="14936" y="7349"/>
                  </a:lnTo>
                  <a:lnTo>
                    <a:pt x="14394" y="6820"/>
                  </a:lnTo>
                  <a:lnTo>
                    <a:pt x="13160" y="5925"/>
                  </a:lnTo>
                  <a:lnTo>
                    <a:pt x="12891" y="4996"/>
                  </a:lnTo>
                  <a:lnTo>
                    <a:pt x="12371" y="3658"/>
                  </a:lnTo>
                  <a:lnTo>
                    <a:pt x="11460" y="2356"/>
                  </a:lnTo>
                  <a:lnTo>
                    <a:pt x="10150" y="1298"/>
                  </a:lnTo>
                  <a:lnTo>
                    <a:pt x="9103" y="649"/>
                  </a:lnTo>
                  <a:lnTo>
                    <a:pt x="8371" y="2"/>
                  </a:lnTo>
                  <a:lnTo>
                    <a:pt x="7461" y="0"/>
                  </a:lnTo>
                  <a:lnTo>
                    <a:pt x="6933" y="376"/>
                  </a:lnTo>
                  <a:lnTo>
                    <a:pt x="5634" y="1167"/>
                  </a:lnTo>
                  <a:close/>
                </a:path>
              </a:pathLst>
            </a:custGeom>
            <a:grpFill/>
            <a:ln w="25400" cap="flat">
              <a:noFill/>
              <a:prstDash val="solid"/>
              <a:miter lim="400000"/>
            </a:ln>
            <a:effectLst/>
          </p:spPr>
          <p:txBody>
            <a:bodyPr anchor="ctr"/>
            <a:lstStyle/>
            <a:p>
              <a:pPr algn="ctr"/>
              <a:endParaRPr/>
            </a:p>
          </p:txBody>
        </p:sp>
        <p:sp>
          <p:nvSpPr>
            <p:cNvPr id="200" name="任意多边形: 形状 199">
              <a:extLst>
                <a:ext uri="{FF2B5EF4-FFF2-40B4-BE49-F238E27FC236}">
                  <a16:creationId xmlns:a16="http://schemas.microsoft.com/office/drawing/2014/main" id="{64FF79F7-EA14-458C-B78F-FBE236EDE27D}"/>
                </a:ext>
              </a:extLst>
            </p:cNvPr>
            <p:cNvSpPr/>
            <p:nvPr/>
          </p:nvSpPr>
          <p:spPr>
            <a:xfrm>
              <a:off x="3184375" y="1615331"/>
              <a:ext cx="84303" cy="41888"/>
            </a:xfrm>
            <a:custGeom>
              <a:avLst/>
              <a:gdLst/>
              <a:ahLst/>
              <a:cxnLst>
                <a:cxn ang="0">
                  <a:pos x="wd2" y="hd2"/>
                </a:cxn>
                <a:cxn ang="5400000">
                  <a:pos x="wd2" y="hd2"/>
                </a:cxn>
                <a:cxn ang="10800000">
                  <a:pos x="wd2" y="hd2"/>
                </a:cxn>
                <a:cxn ang="16200000">
                  <a:pos x="wd2" y="hd2"/>
                </a:cxn>
              </a:cxnLst>
              <a:rect l="0" t="0" r="r" b="b"/>
              <a:pathLst>
                <a:path w="21600" h="21600" extrusionOk="0">
                  <a:moveTo>
                    <a:pt x="10670" y="2473"/>
                  </a:moveTo>
                  <a:lnTo>
                    <a:pt x="5361" y="4164"/>
                  </a:lnTo>
                  <a:lnTo>
                    <a:pt x="2017" y="7047"/>
                  </a:lnTo>
                  <a:lnTo>
                    <a:pt x="0" y="10954"/>
                  </a:lnTo>
                  <a:lnTo>
                    <a:pt x="2552" y="17693"/>
                  </a:lnTo>
                  <a:lnTo>
                    <a:pt x="5850" y="21600"/>
                  </a:lnTo>
                  <a:cubicBezTo>
                    <a:pt x="7389" y="21202"/>
                    <a:pt x="8897" y="20415"/>
                    <a:pt x="10337" y="19256"/>
                  </a:cubicBezTo>
                  <a:cubicBezTo>
                    <a:pt x="12339" y="17645"/>
                    <a:pt x="14178" y="15341"/>
                    <a:pt x="16135" y="13527"/>
                  </a:cubicBezTo>
                  <a:cubicBezTo>
                    <a:pt x="17883" y="11907"/>
                    <a:pt x="19716" y="10684"/>
                    <a:pt x="21600" y="9880"/>
                  </a:cubicBezTo>
                  <a:lnTo>
                    <a:pt x="21014" y="4151"/>
                  </a:lnTo>
                  <a:lnTo>
                    <a:pt x="17112" y="2719"/>
                  </a:lnTo>
                  <a:lnTo>
                    <a:pt x="14661" y="0"/>
                  </a:lnTo>
                  <a:lnTo>
                    <a:pt x="10670" y="2473"/>
                  </a:lnTo>
                  <a:close/>
                </a:path>
              </a:pathLst>
            </a:custGeom>
            <a:grpFill/>
            <a:ln w="25400" cap="flat">
              <a:noFill/>
              <a:prstDash val="solid"/>
              <a:miter lim="400000"/>
            </a:ln>
            <a:effectLst/>
          </p:spPr>
          <p:txBody>
            <a:bodyPr anchor="ctr"/>
            <a:lstStyle/>
            <a:p>
              <a:pPr algn="ctr"/>
              <a:endParaRPr/>
            </a:p>
          </p:txBody>
        </p:sp>
        <p:sp>
          <p:nvSpPr>
            <p:cNvPr id="201" name="任意多边形: 形状 200">
              <a:extLst>
                <a:ext uri="{FF2B5EF4-FFF2-40B4-BE49-F238E27FC236}">
                  <a16:creationId xmlns:a16="http://schemas.microsoft.com/office/drawing/2014/main" id="{D003DBB9-766C-4EBF-BC92-36353FC20058}"/>
                </a:ext>
              </a:extLst>
            </p:cNvPr>
            <p:cNvSpPr/>
            <p:nvPr/>
          </p:nvSpPr>
          <p:spPr>
            <a:xfrm>
              <a:off x="3215588" y="1484505"/>
              <a:ext cx="150776" cy="76940"/>
            </a:xfrm>
            <a:custGeom>
              <a:avLst/>
              <a:gdLst/>
              <a:ahLst/>
              <a:cxnLst>
                <a:cxn ang="0">
                  <a:pos x="wd2" y="hd2"/>
                </a:cxn>
                <a:cxn ang="5400000">
                  <a:pos x="wd2" y="hd2"/>
                </a:cxn>
                <a:cxn ang="10800000">
                  <a:pos x="wd2" y="hd2"/>
                </a:cxn>
                <a:cxn ang="16200000">
                  <a:pos x="wd2" y="hd2"/>
                </a:cxn>
              </a:cxnLst>
              <a:rect l="0" t="0" r="r" b="b"/>
              <a:pathLst>
                <a:path w="21600" h="21600" extrusionOk="0">
                  <a:moveTo>
                    <a:pt x="9855" y="8070"/>
                  </a:moveTo>
                  <a:lnTo>
                    <a:pt x="7801" y="11552"/>
                  </a:lnTo>
                  <a:lnTo>
                    <a:pt x="5516" y="10656"/>
                  </a:lnTo>
                  <a:lnTo>
                    <a:pt x="2915" y="8883"/>
                  </a:lnTo>
                  <a:lnTo>
                    <a:pt x="484" y="9938"/>
                  </a:lnTo>
                  <a:lnTo>
                    <a:pt x="0" y="12339"/>
                  </a:lnTo>
                  <a:lnTo>
                    <a:pt x="2322" y="13819"/>
                  </a:lnTo>
                  <a:lnTo>
                    <a:pt x="4989" y="16372"/>
                  </a:lnTo>
                  <a:lnTo>
                    <a:pt x="6259" y="21600"/>
                  </a:lnTo>
                  <a:lnTo>
                    <a:pt x="8764" y="21166"/>
                  </a:lnTo>
                  <a:lnTo>
                    <a:pt x="11419" y="18835"/>
                  </a:lnTo>
                  <a:lnTo>
                    <a:pt x="13595" y="17559"/>
                  </a:lnTo>
                  <a:lnTo>
                    <a:pt x="16209" y="16717"/>
                  </a:lnTo>
                  <a:lnTo>
                    <a:pt x="18103" y="12039"/>
                  </a:lnTo>
                  <a:lnTo>
                    <a:pt x="18868" y="8289"/>
                  </a:lnTo>
                  <a:lnTo>
                    <a:pt x="21600" y="2573"/>
                  </a:lnTo>
                  <a:lnTo>
                    <a:pt x="21345" y="797"/>
                  </a:lnTo>
                  <a:lnTo>
                    <a:pt x="19965" y="0"/>
                  </a:lnTo>
                  <a:lnTo>
                    <a:pt x="18121" y="1761"/>
                  </a:lnTo>
                  <a:lnTo>
                    <a:pt x="15430" y="3083"/>
                  </a:lnTo>
                  <a:cubicBezTo>
                    <a:pt x="14909" y="2790"/>
                    <a:pt x="14357" y="2790"/>
                    <a:pt x="13836" y="3083"/>
                  </a:cubicBezTo>
                  <a:cubicBezTo>
                    <a:pt x="13246" y="3416"/>
                    <a:pt x="12725" y="4109"/>
                    <a:pt x="12352" y="5060"/>
                  </a:cubicBezTo>
                  <a:lnTo>
                    <a:pt x="9855" y="8070"/>
                  </a:lnTo>
                  <a:close/>
                </a:path>
              </a:pathLst>
            </a:custGeom>
            <a:grpFill/>
            <a:ln w="25400" cap="flat">
              <a:noFill/>
              <a:prstDash val="solid"/>
              <a:miter lim="400000"/>
            </a:ln>
            <a:effectLst/>
          </p:spPr>
          <p:txBody>
            <a:bodyPr anchor="ctr"/>
            <a:lstStyle/>
            <a:p>
              <a:pPr algn="ctr"/>
              <a:endParaRPr/>
            </a:p>
          </p:txBody>
        </p:sp>
        <p:sp>
          <p:nvSpPr>
            <p:cNvPr id="202" name="任意多边形: 形状 201">
              <a:extLst>
                <a:ext uri="{FF2B5EF4-FFF2-40B4-BE49-F238E27FC236}">
                  <a16:creationId xmlns:a16="http://schemas.microsoft.com/office/drawing/2014/main" id="{C7966640-119C-4725-BC6C-243993592B3D}"/>
                </a:ext>
              </a:extLst>
            </p:cNvPr>
            <p:cNvSpPr/>
            <p:nvPr/>
          </p:nvSpPr>
          <p:spPr>
            <a:xfrm>
              <a:off x="3377772" y="1484037"/>
              <a:ext cx="117289" cy="51262"/>
            </a:xfrm>
            <a:custGeom>
              <a:avLst/>
              <a:gdLst/>
              <a:ahLst/>
              <a:cxnLst>
                <a:cxn ang="0">
                  <a:pos x="wd2" y="hd2"/>
                </a:cxn>
                <a:cxn ang="5400000">
                  <a:pos x="wd2" y="hd2"/>
                </a:cxn>
                <a:cxn ang="10800000">
                  <a:pos x="wd2" y="hd2"/>
                </a:cxn>
                <a:cxn ang="16200000">
                  <a:pos x="wd2" y="hd2"/>
                </a:cxn>
              </a:cxnLst>
              <a:rect l="0" t="0" r="r" b="b"/>
              <a:pathLst>
                <a:path w="21600" h="21600" extrusionOk="0">
                  <a:moveTo>
                    <a:pt x="16283" y="0"/>
                  </a:moveTo>
                  <a:lnTo>
                    <a:pt x="11928" y="3126"/>
                  </a:lnTo>
                  <a:lnTo>
                    <a:pt x="8108" y="3244"/>
                  </a:lnTo>
                  <a:lnTo>
                    <a:pt x="5428" y="5147"/>
                  </a:lnTo>
                  <a:lnTo>
                    <a:pt x="1745" y="9615"/>
                  </a:lnTo>
                  <a:lnTo>
                    <a:pt x="0" y="15547"/>
                  </a:lnTo>
                  <a:lnTo>
                    <a:pt x="588" y="20642"/>
                  </a:lnTo>
                  <a:lnTo>
                    <a:pt x="3255" y="21600"/>
                  </a:lnTo>
                  <a:lnTo>
                    <a:pt x="5550" y="17130"/>
                  </a:lnTo>
                  <a:lnTo>
                    <a:pt x="11731" y="15960"/>
                  </a:lnTo>
                  <a:lnTo>
                    <a:pt x="16226" y="17237"/>
                  </a:lnTo>
                  <a:lnTo>
                    <a:pt x="19914" y="14058"/>
                  </a:lnTo>
                  <a:lnTo>
                    <a:pt x="21459" y="10547"/>
                  </a:lnTo>
                  <a:lnTo>
                    <a:pt x="21600" y="3750"/>
                  </a:lnTo>
                  <a:lnTo>
                    <a:pt x="20248" y="1848"/>
                  </a:lnTo>
                  <a:lnTo>
                    <a:pt x="16283" y="0"/>
                  </a:lnTo>
                  <a:close/>
                </a:path>
              </a:pathLst>
            </a:custGeom>
            <a:grpFill/>
            <a:ln w="25400" cap="flat">
              <a:noFill/>
              <a:prstDash val="solid"/>
              <a:miter lim="400000"/>
            </a:ln>
            <a:effectLst/>
          </p:spPr>
          <p:txBody>
            <a:bodyPr anchor="ctr"/>
            <a:lstStyle/>
            <a:p>
              <a:pPr algn="ctr"/>
              <a:endParaRPr/>
            </a:p>
          </p:txBody>
        </p:sp>
        <p:sp>
          <p:nvSpPr>
            <p:cNvPr id="203" name="任意多边形: 形状 202">
              <a:extLst>
                <a:ext uri="{FF2B5EF4-FFF2-40B4-BE49-F238E27FC236}">
                  <a16:creationId xmlns:a16="http://schemas.microsoft.com/office/drawing/2014/main" id="{369E25BA-7A06-48BC-A8F1-3300B5E74ABA}"/>
                </a:ext>
              </a:extLst>
            </p:cNvPr>
            <p:cNvSpPr/>
            <p:nvPr/>
          </p:nvSpPr>
          <p:spPr>
            <a:xfrm>
              <a:off x="3537340" y="1418200"/>
              <a:ext cx="289161" cy="66258"/>
            </a:xfrm>
            <a:custGeom>
              <a:avLst/>
              <a:gdLst/>
              <a:ahLst/>
              <a:cxnLst>
                <a:cxn ang="0">
                  <a:pos x="wd2" y="hd2"/>
                </a:cxn>
                <a:cxn ang="5400000">
                  <a:pos x="wd2" y="hd2"/>
                </a:cxn>
                <a:cxn ang="10800000">
                  <a:pos x="wd2" y="hd2"/>
                </a:cxn>
                <a:cxn ang="16200000">
                  <a:pos x="wd2" y="hd2"/>
                </a:cxn>
              </a:cxnLst>
              <a:rect l="0" t="0" r="r" b="b"/>
              <a:pathLst>
                <a:path w="21600" h="21600" extrusionOk="0">
                  <a:moveTo>
                    <a:pt x="3838" y="93"/>
                  </a:moveTo>
                  <a:lnTo>
                    <a:pt x="2736" y="1503"/>
                  </a:lnTo>
                  <a:lnTo>
                    <a:pt x="1623" y="3591"/>
                  </a:lnTo>
                  <a:lnTo>
                    <a:pt x="622" y="6051"/>
                  </a:lnTo>
                  <a:lnTo>
                    <a:pt x="0" y="11309"/>
                  </a:lnTo>
                  <a:cubicBezTo>
                    <a:pt x="23" y="12625"/>
                    <a:pt x="147" y="13870"/>
                    <a:pt x="350" y="14850"/>
                  </a:cubicBezTo>
                  <a:cubicBezTo>
                    <a:pt x="1005" y="17999"/>
                    <a:pt x="2162" y="17761"/>
                    <a:pt x="2744" y="14356"/>
                  </a:cubicBezTo>
                  <a:lnTo>
                    <a:pt x="5745" y="14109"/>
                  </a:lnTo>
                  <a:lnTo>
                    <a:pt x="6941" y="15344"/>
                  </a:lnTo>
                  <a:lnTo>
                    <a:pt x="7732" y="17545"/>
                  </a:lnTo>
                  <a:lnTo>
                    <a:pt x="11998" y="18080"/>
                  </a:lnTo>
                  <a:lnTo>
                    <a:pt x="14484" y="17092"/>
                  </a:lnTo>
                  <a:lnTo>
                    <a:pt x="15087" y="21600"/>
                  </a:lnTo>
                  <a:lnTo>
                    <a:pt x="16550" y="21600"/>
                  </a:lnTo>
                  <a:lnTo>
                    <a:pt x="17231" y="19140"/>
                  </a:lnTo>
                  <a:lnTo>
                    <a:pt x="18865" y="15518"/>
                  </a:lnTo>
                  <a:lnTo>
                    <a:pt x="20308" y="14036"/>
                  </a:lnTo>
                  <a:lnTo>
                    <a:pt x="21600" y="11412"/>
                  </a:lnTo>
                  <a:cubicBezTo>
                    <a:pt x="21334" y="10787"/>
                    <a:pt x="21058" y="10251"/>
                    <a:pt x="20774" y="9806"/>
                  </a:cubicBezTo>
                  <a:cubicBezTo>
                    <a:pt x="20288" y="9047"/>
                    <a:pt x="19783" y="8563"/>
                    <a:pt x="19275" y="8160"/>
                  </a:cubicBezTo>
                  <a:cubicBezTo>
                    <a:pt x="18598" y="7622"/>
                    <a:pt x="17913" y="7228"/>
                    <a:pt x="17224" y="7172"/>
                  </a:cubicBezTo>
                  <a:cubicBezTo>
                    <a:pt x="16485" y="7113"/>
                    <a:pt x="15746" y="7444"/>
                    <a:pt x="15026" y="8160"/>
                  </a:cubicBezTo>
                  <a:lnTo>
                    <a:pt x="12369" y="8407"/>
                  </a:lnTo>
                  <a:lnTo>
                    <a:pt x="10911" y="9394"/>
                  </a:lnTo>
                  <a:lnTo>
                    <a:pt x="8883" y="10619"/>
                  </a:lnTo>
                  <a:lnTo>
                    <a:pt x="7915" y="8232"/>
                  </a:lnTo>
                  <a:lnTo>
                    <a:pt x="5806" y="3786"/>
                  </a:lnTo>
                  <a:lnTo>
                    <a:pt x="5241" y="0"/>
                  </a:lnTo>
                  <a:lnTo>
                    <a:pt x="3838" y="93"/>
                  </a:lnTo>
                  <a:close/>
                </a:path>
              </a:pathLst>
            </a:custGeom>
            <a:grpFill/>
            <a:ln w="25400" cap="flat">
              <a:noFill/>
              <a:prstDash val="solid"/>
              <a:miter lim="400000"/>
            </a:ln>
            <a:effectLst/>
          </p:spPr>
          <p:txBody>
            <a:bodyPr anchor="ctr"/>
            <a:lstStyle/>
            <a:p>
              <a:pPr algn="ctr"/>
              <a:endParaRPr/>
            </a:p>
          </p:txBody>
        </p:sp>
        <p:sp>
          <p:nvSpPr>
            <p:cNvPr id="204" name="任意多边形: 形状 203">
              <a:extLst>
                <a:ext uri="{FF2B5EF4-FFF2-40B4-BE49-F238E27FC236}">
                  <a16:creationId xmlns:a16="http://schemas.microsoft.com/office/drawing/2014/main" id="{F913C28E-B79A-4EAD-9F91-F1A22C607B99}"/>
                </a:ext>
              </a:extLst>
            </p:cNvPr>
            <p:cNvSpPr/>
            <p:nvPr/>
          </p:nvSpPr>
          <p:spPr>
            <a:xfrm>
              <a:off x="3672980" y="1247323"/>
              <a:ext cx="662519" cy="187834"/>
            </a:xfrm>
            <a:custGeom>
              <a:avLst/>
              <a:gdLst/>
              <a:ahLst/>
              <a:cxnLst>
                <a:cxn ang="0">
                  <a:pos x="wd2" y="hd2"/>
                </a:cxn>
                <a:cxn ang="5400000">
                  <a:pos x="wd2" y="hd2"/>
                </a:cxn>
                <a:cxn ang="10800000">
                  <a:pos x="wd2" y="hd2"/>
                </a:cxn>
                <a:cxn ang="16200000">
                  <a:pos x="wd2" y="hd2"/>
                </a:cxn>
              </a:cxnLst>
              <a:rect l="0" t="0" r="r" b="b"/>
              <a:pathLst>
                <a:path w="21600" h="21600" extrusionOk="0">
                  <a:moveTo>
                    <a:pt x="5561" y="13378"/>
                  </a:moveTo>
                  <a:lnTo>
                    <a:pt x="5088" y="13526"/>
                  </a:lnTo>
                  <a:lnTo>
                    <a:pt x="4669" y="12962"/>
                  </a:lnTo>
                  <a:lnTo>
                    <a:pt x="4219" y="12959"/>
                  </a:lnTo>
                  <a:lnTo>
                    <a:pt x="3753" y="12614"/>
                  </a:lnTo>
                  <a:lnTo>
                    <a:pt x="3243" y="12700"/>
                  </a:lnTo>
                  <a:lnTo>
                    <a:pt x="3001" y="13654"/>
                  </a:lnTo>
                  <a:lnTo>
                    <a:pt x="3447" y="14348"/>
                  </a:lnTo>
                  <a:lnTo>
                    <a:pt x="4117" y="13825"/>
                  </a:lnTo>
                  <a:lnTo>
                    <a:pt x="4612" y="14954"/>
                  </a:lnTo>
                  <a:lnTo>
                    <a:pt x="4247" y="16144"/>
                  </a:lnTo>
                  <a:lnTo>
                    <a:pt x="3401" y="16493"/>
                  </a:lnTo>
                  <a:lnTo>
                    <a:pt x="3037" y="17070"/>
                  </a:lnTo>
                  <a:lnTo>
                    <a:pt x="2338" y="17502"/>
                  </a:lnTo>
                  <a:lnTo>
                    <a:pt x="1089" y="17154"/>
                  </a:lnTo>
                  <a:lnTo>
                    <a:pt x="368" y="16144"/>
                  </a:lnTo>
                  <a:lnTo>
                    <a:pt x="0" y="16754"/>
                  </a:lnTo>
                  <a:lnTo>
                    <a:pt x="473" y="17680"/>
                  </a:lnTo>
                  <a:lnTo>
                    <a:pt x="1410" y="19248"/>
                  </a:lnTo>
                  <a:cubicBezTo>
                    <a:pt x="1564" y="19437"/>
                    <a:pt x="1722" y="19583"/>
                    <a:pt x="1882" y="19684"/>
                  </a:cubicBezTo>
                  <a:cubicBezTo>
                    <a:pt x="2315" y="19954"/>
                    <a:pt x="2758" y="19895"/>
                    <a:pt x="3184" y="19509"/>
                  </a:cubicBezTo>
                  <a:lnTo>
                    <a:pt x="4003" y="18899"/>
                  </a:lnTo>
                  <a:lnTo>
                    <a:pt x="4865" y="19684"/>
                  </a:lnTo>
                  <a:lnTo>
                    <a:pt x="5810" y="21600"/>
                  </a:lnTo>
                  <a:lnTo>
                    <a:pt x="6299" y="20087"/>
                  </a:lnTo>
                  <a:cubicBezTo>
                    <a:pt x="6564" y="19546"/>
                    <a:pt x="6838" y="19061"/>
                    <a:pt x="7119" y="18634"/>
                  </a:cubicBezTo>
                  <a:cubicBezTo>
                    <a:pt x="7498" y="18061"/>
                    <a:pt x="7889" y="17595"/>
                    <a:pt x="8288" y="17241"/>
                  </a:cubicBezTo>
                  <a:lnTo>
                    <a:pt x="8943" y="16573"/>
                  </a:lnTo>
                  <a:cubicBezTo>
                    <a:pt x="9325" y="16367"/>
                    <a:pt x="9696" y="15967"/>
                    <a:pt x="10045" y="15386"/>
                  </a:cubicBezTo>
                  <a:cubicBezTo>
                    <a:pt x="10339" y="14896"/>
                    <a:pt x="10614" y="14282"/>
                    <a:pt x="10865" y="13557"/>
                  </a:cubicBezTo>
                  <a:lnTo>
                    <a:pt x="11910" y="11553"/>
                  </a:lnTo>
                  <a:lnTo>
                    <a:pt x="12755" y="10329"/>
                  </a:lnTo>
                  <a:lnTo>
                    <a:pt x="14123" y="9460"/>
                  </a:lnTo>
                  <a:lnTo>
                    <a:pt x="15016" y="8853"/>
                  </a:lnTo>
                  <a:lnTo>
                    <a:pt x="16306" y="7600"/>
                  </a:lnTo>
                  <a:lnTo>
                    <a:pt x="17582" y="6587"/>
                  </a:lnTo>
                  <a:lnTo>
                    <a:pt x="19014" y="5139"/>
                  </a:lnTo>
                  <a:lnTo>
                    <a:pt x="20556" y="3047"/>
                  </a:lnTo>
                  <a:lnTo>
                    <a:pt x="21202" y="1453"/>
                  </a:lnTo>
                  <a:lnTo>
                    <a:pt x="21600" y="174"/>
                  </a:lnTo>
                  <a:lnTo>
                    <a:pt x="21294" y="0"/>
                  </a:lnTo>
                  <a:lnTo>
                    <a:pt x="20633" y="10"/>
                  </a:lnTo>
                  <a:lnTo>
                    <a:pt x="19151" y="1139"/>
                  </a:lnTo>
                  <a:cubicBezTo>
                    <a:pt x="18849" y="1367"/>
                    <a:pt x="18545" y="1570"/>
                    <a:pt x="18239" y="1749"/>
                  </a:cubicBezTo>
                  <a:cubicBezTo>
                    <a:pt x="17545" y="2156"/>
                    <a:pt x="16846" y="2436"/>
                    <a:pt x="16143" y="2588"/>
                  </a:cubicBezTo>
                  <a:lnTo>
                    <a:pt x="14478" y="2326"/>
                  </a:lnTo>
                  <a:lnTo>
                    <a:pt x="13302" y="2239"/>
                  </a:lnTo>
                  <a:lnTo>
                    <a:pt x="12681" y="2239"/>
                  </a:lnTo>
                  <a:lnTo>
                    <a:pt x="11912" y="2497"/>
                  </a:lnTo>
                  <a:lnTo>
                    <a:pt x="10970" y="2932"/>
                  </a:lnTo>
                  <a:cubicBezTo>
                    <a:pt x="10552" y="3620"/>
                    <a:pt x="10097" y="3995"/>
                    <a:pt x="9635" y="4036"/>
                  </a:cubicBezTo>
                  <a:cubicBezTo>
                    <a:pt x="9179" y="4076"/>
                    <a:pt x="8728" y="3788"/>
                    <a:pt x="8276" y="3600"/>
                  </a:cubicBezTo>
                  <a:cubicBezTo>
                    <a:pt x="7888" y="3439"/>
                    <a:pt x="7498" y="3352"/>
                    <a:pt x="7108" y="3339"/>
                  </a:cubicBezTo>
                  <a:lnTo>
                    <a:pt x="6305" y="3339"/>
                  </a:lnTo>
                  <a:lnTo>
                    <a:pt x="5909" y="3945"/>
                  </a:lnTo>
                  <a:lnTo>
                    <a:pt x="6356" y="4864"/>
                  </a:lnTo>
                  <a:lnTo>
                    <a:pt x="6967" y="5096"/>
                  </a:lnTo>
                  <a:cubicBezTo>
                    <a:pt x="7229" y="5258"/>
                    <a:pt x="7491" y="5403"/>
                    <a:pt x="7755" y="5531"/>
                  </a:cubicBezTo>
                  <a:cubicBezTo>
                    <a:pt x="8151" y="5725"/>
                    <a:pt x="8549" y="5880"/>
                    <a:pt x="8948" y="5996"/>
                  </a:cubicBezTo>
                  <a:cubicBezTo>
                    <a:pt x="9130" y="6050"/>
                    <a:pt x="9312" y="6050"/>
                    <a:pt x="9493" y="5996"/>
                  </a:cubicBezTo>
                  <a:cubicBezTo>
                    <a:pt x="9721" y="5928"/>
                    <a:pt x="9946" y="5776"/>
                    <a:pt x="10171" y="5648"/>
                  </a:cubicBezTo>
                  <a:cubicBezTo>
                    <a:pt x="10400" y="5517"/>
                    <a:pt x="10629" y="5411"/>
                    <a:pt x="10859" y="5328"/>
                  </a:cubicBezTo>
                  <a:lnTo>
                    <a:pt x="11646" y="6374"/>
                  </a:lnTo>
                  <a:lnTo>
                    <a:pt x="11398" y="7992"/>
                  </a:lnTo>
                  <a:lnTo>
                    <a:pt x="10289" y="8686"/>
                  </a:lnTo>
                  <a:cubicBezTo>
                    <a:pt x="9973" y="8994"/>
                    <a:pt x="9649" y="9198"/>
                    <a:pt x="9321" y="9296"/>
                  </a:cubicBezTo>
                  <a:cubicBezTo>
                    <a:pt x="8943" y="9409"/>
                    <a:pt x="8562" y="9380"/>
                    <a:pt x="8186" y="9209"/>
                  </a:cubicBezTo>
                  <a:lnTo>
                    <a:pt x="7166" y="9034"/>
                  </a:lnTo>
                  <a:cubicBezTo>
                    <a:pt x="6949" y="8622"/>
                    <a:pt x="6715" y="8329"/>
                    <a:pt x="6473" y="8167"/>
                  </a:cubicBezTo>
                  <a:cubicBezTo>
                    <a:pt x="6175" y="7967"/>
                    <a:pt x="5868" y="7967"/>
                    <a:pt x="5570" y="8167"/>
                  </a:cubicBezTo>
                  <a:lnTo>
                    <a:pt x="4985" y="8744"/>
                  </a:lnTo>
                  <a:lnTo>
                    <a:pt x="5399" y="10189"/>
                  </a:lnTo>
                  <a:lnTo>
                    <a:pt x="5614" y="11056"/>
                  </a:lnTo>
                  <a:lnTo>
                    <a:pt x="5762" y="12595"/>
                  </a:lnTo>
                  <a:lnTo>
                    <a:pt x="5561" y="13378"/>
                  </a:lnTo>
                  <a:close/>
                </a:path>
              </a:pathLst>
            </a:custGeom>
            <a:grpFill/>
            <a:ln w="25400" cap="flat">
              <a:noFill/>
              <a:prstDash val="solid"/>
              <a:miter lim="400000"/>
            </a:ln>
            <a:effectLst/>
          </p:spPr>
          <p:txBody>
            <a:bodyPr anchor="ctr"/>
            <a:lstStyle/>
            <a:p>
              <a:pPr algn="ctr"/>
              <a:endParaRPr/>
            </a:p>
          </p:txBody>
        </p:sp>
        <p:sp>
          <p:nvSpPr>
            <p:cNvPr id="205" name="任意多边形: 形状 204">
              <a:extLst>
                <a:ext uri="{FF2B5EF4-FFF2-40B4-BE49-F238E27FC236}">
                  <a16:creationId xmlns:a16="http://schemas.microsoft.com/office/drawing/2014/main" id="{AA302BCB-A417-4077-9561-D33B91A1175D}"/>
                </a:ext>
              </a:extLst>
            </p:cNvPr>
            <p:cNvSpPr/>
            <p:nvPr/>
          </p:nvSpPr>
          <p:spPr>
            <a:xfrm>
              <a:off x="4072085" y="1252852"/>
              <a:ext cx="1290276" cy="661440"/>
            </a:xfrm>
            <a:custGeom>
              <a:avLst/>
              <a:gdLst/>
              <a:ahLst/>
              <a:cxnLst>
                <a:cxn ang="0">
                  <a:pos x="wd2" y="hd2"/>
                </a:cxn>
                <a:cxn ang="5400000">
                  <a:pos x="wd2" y="hd2"/>
                </a:cxn>
                <a:cxn ang="10800000">
                  <a:pos x="wd2" y="hd2"/>
                </a:cxn>
                <a:cxn ang="16200000">
                  <a:pos x="wd2" y="hd2"/>
                </a:cxn>
              </a:cxnLst>
              <a:rect l="0" t="0" r="r" b="b"/>
              <a:pathLst>
                <a:path w="21600" h="21600" extrusionOk="0">
                  <a:moveTo>
                    <a:pt x="4570" y="1596"/>
                  </a:moveTo>
                  <a:lnTo>
                    <a:pt x="3927" y="2113"/>
                  </a:lnTo>
                  <a:lnTo>
                    <a:pt x="2963" y="3015"/>
                  </a:lnTo>
                  <a:lnTo>
                    <a:pt x="2197" y="3378"/>
                  </a:lnTo>
                  <a:cubicBezTo>
                    <a:pt x="1959" y="3423"/>
                    <a:pt x="1720" y="3456"/>
                    <a:pt x="1481" y="3477"/>
                  </a:cubicBezTo>
                  <a:cubicBezTo>
                    <a:pt x="1325" y="3490"/>
                    <a:pt x="1168" y="3498"/>
                    <a:pt x="1012" y="3501"/>
                  </a:cubicBezTo>
                  <a:lnTo>
                    <a:pt x="480" y="3625"/>
                  </a:lnTo>
                  <a:lnTo>
                    <a:pt x="0" y="4046"/>
                  </a:lnTo>
                  <a:lnTo>
                    <a:pt x="205" y="4266"/>
                  </a:lnTo>
                  <a:lnTo>
                    <a:pt x="192" y="4578"/>
                  </a:lnTo>
                  <a:lnTo>
                    <a:pt x="145" y="4873"/>
                  </a:lnTo>
                  <a:lnTo>
                    <a:pt x="366" y="5235"/>
                  </a:lnTo>
                  <a:cubicBezTo>
                    <a:pt x="483" y="5325"/>
                    <a:pt x="606" y="5381"/>
                    <a:pt x="731" y="5399"/>
                  </a:cubicBezTo>
                  <a:cubicBezTo>
                    <a:pt x="871" y="5420"/>
                    <a:pt x="1012" y="5394"/>
                    <a:pt x="1152" y="5399"/>
                  </a:cubicBezTo>
                  <a:cubicBezTo>
                    <a:pt x="1276" y="5404"/>
                    <a:pt x="1400" y="5432"/>
                    <a:pt x="1522" y="5399"/>
                  </a:cubicBezTo>
                  <a:cubicBezTo>
                    <a:pt x="1649" y="5365"/>
                    <a:pt x="1769" y="5267"/>
                    <a:pt x="1892" y="5202"/>
                  </a:cubicBezTo>
                  <a:cubicBezTo>
                    <a:pt x="2058" y="5116"/>
                    <a:pt x="2231" y="5090"/>
                    <a:pt x="2402" y="5128"/>
                  </a:cubicBezTo>
                  <a:lnTo>
                    <a:pt x="2767" y="5276"/>
                  </a:lnTo>
                  <a:cubicBezTo>
                    <a:pt x="2900" y="5352"/>
                    <a:pt x="3033" y="5420"/>
                    <a:pt x="3167" y="5482"/>
                  </a:cubicBezTo>
                  <a:cubicBezTo>
                    <a:pt x="3243" y="5518"/>
                    <a:pt x="3319" y="5551"/>
                    <a:pt x="3395" y="5581"/>
                  </a:cubicBezTo>
                  <a:lnTo>
                    <a:pt x="3650" y="5902"/>
                  </a:lnTo>
                  <a:lnTo>
                    <a:pt x="4020" y="6514"/>
                  </a:lnTo>
                  <a:lnTo>
                    <a:pt x="4415" y="7659"/>
                  </a:lnTo>
                  <a:lnTo>
                    <a:pt x="4440" y="8450"/>
                  </a:lnTo>
                  <a:lnTo>
                    <a:pt x="4352" y="9024"/>
                  </a:lnTo>
                  <a:lnTo>
                    <a:pt x="4531" y="9485"/>
                  </a:lnTo>
                  <a:lnTo>
                    <a:pt x="4876" y="9749"/>
                  </a:lnTo>
                  <a:lnTo>
                    <a:pt x="5054" y="10490"/>
                  </a:lnTo>
                  <a:lnTo>
                    <a:pt x="5054" y="11980"/>
                  </a:lnTo>
                  <a:lnTo>
                    <a:pt x="4876" y="12838"/>
                  </a:lnTo>
                  <a:lnTo>
                    <a:pt x="4638" y="13183"/>
                  </a:lnTo>
                  <a:lnTo>
                    <a:pt x="3903" y="13807"/>
                  </a:lnTo>
                  <a:lnTo>
                    <a:pt x="3525" y="14343"/>
                  </a:lnTo>
                  <a:lnTo>
                    <a:pt x="3368" y="15002"/>
                  </a:lnTo>
                  <a:lnTo>
                    <a:pt x="3321" y="15677"/>
                  </a:lnTo>
                  <a:cubicBezTo>
                    <a:pt x="3404" y="15780"/>
                    <a:pt x="3470" y="15925"/>
                    <a:pt x="3512" y="16096"/>
                  </a:cubicBezTo>
                  <a:cubicBezTo>
                    <a:pt x="3580" y="16367"/>
                    <a:pt x="3585" y="16682"/>
                    <a:pt x="3525" y="16960"/>
                  </a:cubicBezTo>
                  <a:lnTo>
                    <a:pt x="3385" y="17619"/>
                  </a:lnTo>
                  <a:lnTo>
                    <a:pt x="3351" y="18130"/>
                  </a:lnTo>
                  <a:lnTo>
                    <a:pt x="3444" y="18881"/>
                  </a:lnTo>
                  <a:lnTo>
                    <a:pt x="3708" y="19400"/>
                  </a:lnTo>
                  <a:lnTo>
                    <a:pt x="4236" y="20174"/>
                  </a:lnTo>
                  <a:lnTo>
                    <a:pt x="4376" y="20719"/>
                  </a:lnTo>
                  <a:lnTo>
                    <a:pt x="4670" y="21057"/>
                  </a:lnTo>
                  <a:lnTo>
                    <a:pt x="4900" y="21337"/>
                  </a:lnTo>
                  <a:lnTo>
                    <a:pt x="5157" y="21600"/>
                  </a:lnTo>
                  <a:lnTo>
                    <a:pt x="5715" y="21600"/>
                  </a:lnTo>
                  <a:lnTo>
                    <a:pt x="6033" y="21031"/>
                  </a:lnTo>
                  <a:lnTo>
                    <a:pt x="6548" y="20355"/>
                  </a:lnTo>
                  <a:lnTo>
                    <a:pt x="6705" y="19796"/>
                  </a:lnTo>
                  <a:lnTo>
                    <a:pt x="6910" y="19062"/>
                  </a:lnTo>
                  <a:lnTo>
                    <a:pt x="7139" y="18519"/>
                  </a:lnTo>
                  <a:lnTo>
                    <a:pt x="7301" y="17868"/>
                  </a:lnTo>
                  <a:lnTo>
                    <a:pt x="7390" y="17406"/>
                  </a:lnTo>
                  <a:lnTo>
                    <a:pt x="7761" y="16591"/>
                  </a:lnTo>
                  <a:cubicBezTo>
                    <a:pt x="7873" y="16404"/>
                    <a:pt x="7997" y="16246"/>
                    <a:pt x="8131" y="16121"/>
                  </a:cubicBezTo>
                  <a:cubicBezTo>
                    <a:pt x="8328" y="15937"/>
                    <a:pt x="8542" y="15828"/>
                    <a:pt x="8761" y="15801"/>
                  </a:cubicBezTo>
                  <a:lnTo>
                    <a:pt x="9305" y="15727"/>
                  </a:lnTo>
                  <a:cubicBezTo>
                    <a:pt x="9405" y="15710"/>
                    <a:pt x="9504" y="15685"/>
                    <a:pt x="9603" y="15652"/>
                  </a:cubicBezTo>
                  <a:cubicBezTo>
                    <a:pt x="9812" y="15583"/>
                    <a:pt x="10017" y="15478"/>
                    <a:pt x="10216" y="15339"/>
                  </a:cubicBezTo>
                  <a:cubicBezTo>
                    <a:pt x="10289" y="15303"/>
                    <a:pt x="10361" y="15262"/>
                    <a:pt x="10433" y="15215"/>
                  </a:cubicBezTo>
                  <a:cubicBezTo>
                    <a:pt x="10645" y="15077"/>
                    <a:pt x="10849" y="14891"/>
                    <a:pt x="11040" y="14663"/>
                  </a:cubicBezTo>
                  <a:lnTo>
                    <a:pt x="11355" y="14177"/>
                  </a:lnTo>
                  <a:lnTo>
                    <a:pt x="11891" y="13522"/>
                  </a:lnTo>
                  <a:lnTo>
                    <a:pt x="12235" y="13078"/>
                  </a:lnTo>
                  <a:lnTo>
                    <a:pt x="12847" y="13004"/>
                  </a:lnTo>
                  <a:lnTo>
                    <a:pt x="13102" y="13144"/>
                  </a:lnTo>
                  <a:lnTo>
                    <a:pt x="13519" y="13218"/>
                  </a:lnTo>
                  <a:lnTo>
                    <a:pt x="13829" y="13053"/>
                  </a:lnTo>
                  <a:lnTo>
                    <a:pt x="14271" y="12814"/>
                  </a:lnTo>
                  <a:lnTo>
                    <a:pt x="14663" y="12566"/>
                  </a:lnTo>
                  <a:lnTo>
                    <a:pt x="15084" y="12467"/>
                  </a:lnTo>
                  <a:lnTo>
                    <a:pt x="15497" y="12402"/>
                  </a:lnTo>
                  <a:lnTo>
                    <a:pt x="15854" y="12327"/>
                  </a:lnTo>
                  <a:lnTo>
                    <a:pt x="16108" y="12327"/>
                  </a:lnTo>
                  <a:lnTo>
                    <a:pt x="16138" y="11701"/>
                  </a:lnTo>
                  <a:lnTo>
                    <a:pt x="15849" y="11379"/>
                  </a:lnTo>
                  <a:cubicBezTo>
                    <a:pt x="15736" y="11393"/>
                    <a:pt x="15622" y="11407"/>
                    <a:pt x="15509" y="11420"/>
                  </a:cubicBezTo>
                  <a:cubicBezTo>
                    <a:pt x="15303" y="11445"/>
                    <a:pt x="15098" y="11470"/>
                    <a:pt x="14892" y="11494"/>
                  </a:cubicBezTo>
                  <a:lnTo>
                    <a:pt x="14740" y="11123"/>
                  </a:lnTo>
                  <a:cubicBezTo>
                    <a:pt x="14769" y="10919"/>
                    <a:pt x="14851" y="10760"/>
                    <a:pt x="14956" y="10703"/>
                  </a:cubicBezTo>
                  <a:cubicBezTo>
                    <a:pt x="15099" y="10626"/>
                    <a:pt x="15250" y="10749"/>
                    <a:pt x="15322" y="11000"/>
                  </a:cubicBezTo>
                  <a:cubicBezTo>
                    <a:pt x="15374" y="10900"/>
                    <a:pt x="15405" y="10769"/>
                    <a:pt x="15412" y="10629"/>
                  </a:cubicBezTo>
                  <a:cubicBezTo>
                    <a:pt x="15424" y="10350"/>
                    <a:pt x="15341" y="10089"/>
                    <a:pt x="15207" y="9985"/>
                  </a:cubicBezTo>
                  <a:lnTo>
                    <a:pt x="15493" y="9515"/>
                  </a:lnTo>
                  <a:cubicBezTo>
                    <a:pt x="15637" y="9640"/>
                    <a:pt x="15768" y="9813"/>
                    <a:pt x="15880" y="10027"/>
                  </a:cubicBezTo>
                  <a:cubicBezTo>
                    <a:pt x="15998" y="10251"/>
                    <a:pt x="16093" y="10517"/>
                    <a:pt x="16160" y="10810"/>
                  </a:cubicBezTo>
                  <a:lnTo>
                    <a:pt x="16658" y="11082"/>
                  </a:lnTo>
                  <a:lnTo>
                    <a:pt x="16895" y="10959"/>
                  </a:lnTo>
                  <a:lnTo>
                    <a:pt x="17018" y="10515"/>
                  </a:lnTo>
                  <a:lnTo>
                    <a:pt x="16294" y="9855"/>
                  </a:lnTo>
                  <a:lnTo>
                    <a:pt x="16103" y="9419"/>
                  </a:lnTo>
                  <a:lnTo>
                    <a:pt x="15695" y="8999"/>
                  </a:lnTo>
                  <a:lnTo>
                    <a:pt x="15487" y="8406"/>
                  </a:lnTo>
                  <a:lnTo>
                    <a:pt x="15870" y="8134"/>
                  </a:lnTo>
                  <a:lnTo>
                    <a:pt x="16533" y="8547"/>
                  </a:lnTo>
                  <a:cubicBezTo>
                    <a:pt x="16596" y="8499"/>
                    <a:pt x="16659" y="8450"/>
                    <a:pt x="16721" y="8398"/>
                  </a:cubicBezTo>
                  <a:cubicBezTo>
                    <a:pt x="16929" y="8224"/>
                    <a:pt x="17132" y="8026"/>
                    <a:pt x="17328" y="7805"/>
                  </a:cubicBezTo>
                  <a:lnTo>
                    <a:pt x="17788" y="7319"/>
                  </a:lnTo>
                  <a:lnTo>
                    <a:pt x="18210" y="6429"/>
                  </a:lnTo>
                  <a:lnTo>
                    <a:pt x="18235" y="5884"/>
                  </a:lnTo>
                  <a:cubicBezTo>
                    <a:pt x="18303" y="5655"/>
                    <a:pt x="18399" y="5463"/>
                    <a:pt x="18515" y="5325"/>
                  </a:cubicBezTo>
                  <a:cubicBezTo>
                    <a:pt x="18632" y="5186"/>
                    <a:pt x="18765" y="5106"/>
                    <a:pt x="18902" y="5094"/>
                  </a:cubicBezTo>
                  <a:lnTo>
                    <a:pt x="18902" y="4509"/>
                  </a:lnTo>
                  <a:lnTo>
                    <a:pt x="18817" y="4263"/>
                  </a:lnTo>
                  <a:lnTo>
                    <a:pt x="18746" y="3869"/>
                  </a:lnTo>
                  <a:lnTo>
                    <a:pt x="18880" y="3190"/>
                  </a:lnTo>
                  <a:lnTo>
                    <a:pt x="19186" y="2499"/>
                  </a:lnTo>
                  <a:lnTo>
                    <a:pt x="19696" y="2178"/>
                  </a:lnTo>
                  <a:lnTo>
                    <a:pt x="20121" y="2202"/>
                  </a:lnTo>
                  <a:lnTo>
                    <a:pt x="20414" y="1856"/>
                  </a:lnTo>
                  <a:lnTo>
                    <a:pt x="21001" y="1881"/>
                  </a:lnTo>
                  <a:cubicBezTo>
                    <a:pt x="21065" y="1886"/>
                    <a:pt x="21130" y="1860"/>
                    <a:pt x="21188" y="1807"/>
                  </a:cubicBezTo>
                  <a:cubicBezTo>
                    <a:pt x="21269" y="1732"/>
                    <a:pt x="21335" y="1607"/>
                    <a:pt x="21375" y="1452"/>
                  </a:cubicBezTo>
                  <a:lnTo>
                    <a:pt x="21591" y="1348"/>
                  </a:lnTo>
                  <a:lnTo>
                    <a:pt x="21600" y="1011"/>
                  </a:lnTo>
                  <a:lnTo>
                    <a:pt x="21150" y="975"/>
                  </a:lnTo>
                  <a:cubicBezTo>
                    <a:pt x="20995" y="1003"/>
                    <a:pt x="20843" y="1062"/>
                    <a:pt x="20694" y="1151"/>
                  </a:cubicBezTo>
                  <a:cubicBezTo>
                    <a:pt x="20557" y="1233"/>
                    <a:pt x="20423" y="1342"/>
                    <a:pt x="20282" y="1390"/>
                  </a:cubicBezTo>
                  <a:cubicBezTo>
                    <a:pt x="20093" y="1454"/>
                    <a:pt x="19900" y="1411"/>
                    <a:pt x="19724" y="1265"/>
                  </a:cubicBezTo>
                  <a:cubicBezTo>
                    <a:pt x="19577" y="1262"/>
                    <a:pt x="19430" y="1212"/>
                    <a:pt x="19291" y="1117"/>
                  </a:cubicBezTo>
                  <a:cubicBezTo>
                    <a:pt x="19095" y="983"/>
                    <a:pt x="18917" y="763"/>
                    <a:pt x="18772" y="474"/>
                  </a:cubicBezTo>
                  <a:lnTo>
                    <a:pt x="18083" y="0"/>
                  </a:lnTo>
                  <a:lnTo>
                    <a:pt x="16508" y="3"/>
                  </a:lnTo>
                  <a:lnTo>
                    <a:pt x="15693" y="275"/>
                  </a:lnTo>
                  <a:lnTo>
                    <a:pt x="14944" y="531"/>
                  </a:lnTo>
                  <a:lnTo>
                    <a:pt x="14463" y="291"/>
                  </a:lnTo>
                  <a:lnTo>
                    <a:pt x="13875" y="143"/>
                  </a:lnTo>
                  <a:lnTo>
                    <a:pt x="13340" y="291"/>
                  </a:lnTo>
                  <a:lnTo>
                    <a:pt x="12195" y="653"/>
                  </a:lnTo>
                  <a:lnTo>
                    <a:pt x="10633" y="1133"/>
                  </a:lnTo>
                  <a:lnTo>
                    <a:pt x="9702" y="1133"/>
                  </a:lnTo>
                  <a:lnTo>
                    <a:pt x="8978" y="1388"/>
                  </a:lnTo>
                  <a:lnTo>
                    <a:pt x="8396" y="1388"/>
                  </a:lnTo>
                  <a:lnTo>
                    <a:pt x="7809" y="1141"/>
                  </a:lnTo>
                  <a:lnTo>
                    <a:pt x="7009" y="1092"/>
                  </a:lnTo>
                  <a:lnTo>
                    <a:pt x="6559" y="1002"/>
                  </a:lnTo>
                  <a:lnTo>
                    <a:pt x="5776" y="1002"/>
                  </a:lnTo>
                  <a:lnTo>
                    <a:pt x="5285" y="1142"/>
                  </a:lnTo>
                  <a:lnTo>
                    <a:pt x="4570" y="1596"/>
                  </a:lnTo>
                  <a:close/>
                </a:path>
              </a:pathLst>
            </a:custGeom>
            <a:grpFill/>
            <a:ln w="25400" cap="flat">
              <a:noFill/>
              <a:prstDash val="solid"/>
              <a:miter lim="400000"/>
            </a:ln>
            <a:effectLst/>
          </p:spPr>
          <p:txBody>
            <a:bodyPr anchor="ctr"/>
            <a:lstStyle/>
            <a:p>
              <a:pPr algn="ctr"/>
              <a:endParaRPr/>
            </a:p>
          </p:txBody>
        </p:sp>
        <p:sp>
          <p:nvSpPr>
            <p:cNvPr id="206" name="任意多边形: 形状 205">
              <a:extLst>
                <a:ext uri="{FF2B5EF4-FFF2-40B4-BE49-F238E27FC236}">
                  <a16:creationId xmlns:a16="http://schemas.microsoft.com/office/drawing/2014/main" id="{1189FAE6-776D-4C61-8C7D-6C90F68D569C}"/>
                </a:ext>
              </a:extLst>
            </p:cNvPr>
            <p:cNvSpPr/>
            <p:nvPr/>
          </p:nvSpPr>
          <p:spPr>
            <a:xfrm>
              <a:off x="3479660" y="1494826"/>
              <a:ext cx="530890" cy="368947"/>
            </a:xfrm>
            <a:custGeom>
              <a:avLst/>
              <a:gdLst/>
              <a:ahLst/>
              <a:cxnLst>
                <a:cxn ang="0">
                  <a:pos x="wd2" y="hd2"/>
                </a:cxn>
                <a:cxn ang="5400000">
                  <a:pos x="wd2" y="hd2"/>
                </a:cxn>
                <a:cxn ang="10800000">
                  <a:pos x="wd2" y="hd2"/>
                </a:cxn>
                <a:cxn ang="16200000">
                  <a:pos x="wd2" y="hd2"/>
                </a:cxn>
              </a:cxnLst>
              <a:rect l="0" t="0" r="r" b="b"/>
              <a:pathLst>
                <a:path w="21600" h="21600" extrusionOk="0">
                  <a:moveTo>
                    <a:pt x="8021" y="593"/>
                  </a:moveTo>
                  <a:lnTo>
                    <a:pt x="7339" y="943"/>
                  </a:lnTo>
                  <a:lnTo>
                    <a:pt x="6138" y="1776"/>
                  </a:lnTo>
                  <a:lnTo>
                    <a:pt x="5808" y="2763"/>
                  </a:lnTo>
                  <a:lnTo>
                    <a:pt x="5092" y="3323"/>
                  </a:lnTo>
                  <a:cubicBezTo>
                    <a:pt x="4981" y="3552"/>
                    <a:pt x="4794" y="3681"/>
                    <a:pt x="4600" y="3663"/>
                  </a:cubicBezTo>
                  <a:cubicBezTo>
                    <a:pt x="4347" y="3639"/>
                    <a:pt x="4136" y="3380"/>
                    <a:pt x="4082" y="3027"/>
                  </a:cubicBezTo>
                  <a:lnTo>
                    <a:pt x="4399" y="1979"/>
                  </a:lnTo>
                  <a:lnTo>
                    <a:pt x="5690" y="798"/>
                  </a:lnTo>
                  <a:lnTo>
                    <a:pt x="5100" y="0"/>
                  </a:lnTo>
                  <a:cubicBezTo>
                    <a:pt x="4899" y="133"/>
                    <a:pt x="4693" y="250"/>
                    <a:pt x="4483" y="350"/>
                  </a:cubicBezTo>
                  <a:cubicBezTo>
                    <a:pt x="4069" y="547"/>
                    <a:pt x="3640" y="676"/>
                    <a:pt x="3206" y="735"/>
                  </a:cubicBezTo>
                  <a:lnTo>
                    <a:pt x="2729" y="1223"/>
                  </a:lnTo>
                  <a:lnTo>
                    <a:pt x="1867" y="1975"/>
                  </a:lnTo>
                  <a:lnTo>
                    <a:pt x="1287" y="3024"/>
                  </a:lnTo>
                  <a:lnTo>
                    <a:pt x="765" y="3246"/>
                  </a:lnTo>
                  <a:lnTo>
                    <a:pt x="240" y="4131"/>
                  </a:lnTo>
                  <a:lnTo>
                    <a:pt x="0" y="4706"/>
                  </a:lnTo>
                  <a:lnTo>
                    <a:pt x="488" y="5355"/>
                  </a:lnTo>
                  <a:lnTo>
                    <a:pt x="1157" y="5843"/>
                  </a:lnTo>
                  <a:lnTo>
                    <a:pt x="1737" y="6153"/>
                  </a:lnTo>
                  <a:lnTo>
                    <a:pt x="2377" y="6286"/>
                  </a:lnTo>
                  <a:lnTo>
                    <a:pt x="3276" y="6064"/>
                  </a:lnTo>
                  <a:lnTo>
                    <a:pt x="4259" y="5754"/>
                  </a:lnTo>
                  <a:lnTo>
                    <a:pt x="5354" y="6094"/>
                  </a:lnTo>
                  <a:lnTo>
                    <a:pt x="6511" y="6183"/>
                  </a:lnTo>
                  <a:lnTo>
                    <a:pt x="7184" y="6626"/>
                  </a:lnTo>
                  <a:cubicBezTo>
                    <a:pt x="7405" y="6541"/>
                    <a:pt x="7623" y="6437"/>
                    <a:pt x="7835" y="6316"/>
                  </a:cubicBezTo>
                  <a:cubicBezTo>
                    <a:pt x="8220" y="6096"/>
                    <a:pt x="8587" y="5819"/>
                    <a:pt x="8931" y="5490"/>
                  </a:cubicBezTo>
                  <a:lnTo>
                    <a:pt x="9355" y="5312"/>
                  </a:lnTo>
                  <a:lnTo>
                    <a:pt x="9932" y="5575"/>
                  </a:lnTo>
                  <a:lnTo>
                    <a:pt x="10644" y="6240"/>
                  </a:lnTo>
                  <a:lnTo>
                    <a:pt x="11141" y="6846"/>
                  </a:lnTo>
                  <a:lnTo>
                    <a:pt x="12060" y="7539"/>
                  </a:lnTo>
                  <a:lnTo>
                    <a:pt x="12619" y="8736"/>
                  </a:lnTo>
                  <a:lnTo>
                    <a:pt x="13095" y="10006"/>
                  </a:lnTo>
                  <a:lnTo>
                    <a:pt x="13435" y="11054"/>
                  </a:lnTo>
                  <a:lnTo>
                    <a:pt x="14056" y="11586"/>
                  </a:lnTo>
                  <a:lnTo>
                    <a:pt x="14914" y="12148"/>
                  </a:lnTo>
                  <a:lnTo>
                    <a:pt x="14833" y="12869"/>
                  </a:lnTo>
                  <a:lnTo>
                    <a:pt x="14379" y="13177"/>
                  </a:lnTo>
                  <a:lnTo>
                    <a:pt x="13740" y="13602"/>
                  </a:lnTo>
                  <a:lnTo>
                    <a:pt x="12986" y="13647"/>
                  </a:lnTo>
                  <a:lnTo>
                    <a:pt x="12638" y="13264"/>
                  </a:lnTo>
                  <a:lnTo>
                    <a:pt x="11587" y="13042"/>
                  </a:lnTo>
                  <a:lnTo>
                    <a:pt x="10513" y="13484"/>
                  </a:lnTo>
                  <a:lnTo>
                    <a:pt x="9841" y="14502"/>
                  </a:lnTo>
                  <a:lnTo>
                    <a:pt x="9564" y="15162"/>
                  </a:lnTo>
                  <a:lnTo>
                    <a:pt x="9078" y="15545"/>
                  </a:lnTo>
                  <a:lnTo>
                    <a:pt x="7809" y="15678"/>
                  </a:lnTo>
                  <a:lnTo>
                    <a:pt x="6983" y="15367"/>
                  </a:lnTo>
                  <a:lnTo>
                    <a:pt x="6084" y="15147"/>
                  </a:lnTo>
                  <a:lnTo>
                    <a:pt x="5096" y="15369"/>
                  </a:lnTo>
                  <a:lnTo>
                    <a:pt x="4413" y="16019"/>
                  </a:lnTo>
                  <a:lnTo>
                    <a:pt x="5045" y="16668"/>
                  </a:lnTo>
                  <a:lnTo>
                    <a:pt x="6285" y="16934"/>
                  </a:lnTo>
                  <a:lnTo>
                    <a:pt x="7287" y="16420"/>
                  </a:lnTo>
                  <a:lnTo>
                    <a:pt x="8059" y="16243"/>
                  </a:lnTo>
                  <a:lnTo>
                    <a:pt x="9091" y="16300"/>
                  </a:lnTo>
                  <a:lnTo>
                    <a:pt x="9462" y="16921"/>
                  </a:lnTo>
                  <a:lnTo>
                    <a:pt x="9564" y="17355"/>
                  </a:lnTo>
                  <a:lnTo>
                    <a:pt x="9891" y="18150"/>
                  </a:lnTo>
                  <a:lnTo>
                    <a:pt x="10014" y="18797"/>
                  </a:lnTo>
                  <a:lnTo>
                    <a:pt x="10439" y="19327"/>
                  </a:lnTo>
                  <a:lnTo>
                    <a:pt x="10902" y="19443"/>
                  </a:lnTo>
                  <a:lnTo>
                    <a:pt x="12019" y="20417"/>
                  </a:lnTo>
                  <a:lnTo>
                    <a:pt x="12722" y="21245"/>
                  </a:lnTo>
                  <a:lnTo>
                    <a:pt x="14241" y="21600"/>
                  </a:lnTo>
                  <a:lnTo>
                    <a:pt x="14643" y="21336"/>
                  </a:lnTo>
                  <a:lnTo>
                    <a:pt x="15294" y="20804"/>
                  </a:lnTo>
                  <a:cubicBezTo>
                    <a:pt x="15170" y="20619"/>
                    <a:pt x="15023" y="20469"/>
                    <a:pt x="14861" y="20360"/>
                  </a:cubicBezTo>
                  <a:cubicBezTo>
                    <a:pt x="14623" y="20200"/>
                    <a:pt x="14358" y="20132"/>
                    <a:pt x="14128" y="19948"/>
                  </a:cubicBezTo>
                  <a:cubicBezTo>
                    <a:pt x="13879" y="19749"/>
                    <a:pt x="13688" y="19429"/>
                    <a:pt x="13590" y="19046"/>
                  </a:cubicBezTo>
                  <a:lnTo>
                    <a:pt x="13158" y="18532"/>
                  </a:lnTo>
                  <a:lnTo>
                    <a:pt x="13427" y="18017"/>
                  </a:lnTo>
                  <a:lnTo>
                    <a:pt x="14110" y="18105"/>
                  </a:lnTo>
                  <a:lnTo>
                    <a:pt x="14793" y="18460"/>
                  </a:lnTo>
                  <a:lnTo>
                    <a:pt x="15377" y="18697"/>
                  </a:lnTo>
                  <a:lnTo>
                    <a:pt x="15778" y="19005"/>
                  </a:lnTo>
                  <a:lnTo>
                    <a:pt x="16295" y="19094"/>
                  </a:lnTo>
                  <a:lnTo>
                    <a:pt x="16532" y="18785"/>
                  </a:lnTo>
                  <a:lnTo>
                    <a:pt x="16863" y="17974"/>
                  </a:lnTo>
                  <a:lnTo>
                    <a:pt x="16832" y="16720"/>
                  </a:lnTo>
                  <a:lnTo>
                    <a:pt x="16410" y="15436"/>
                  </a:lnTo>
                  <a:lnTo>
                    <a:pt x="16038" y="14519"/>
                  </a:lnTo>
                  <a:lnTo>
                    <a:pt x="16348" y="13987"/>
                  </a:lnTo>
                  <a:lnTo>
                    <a:pt x="17092" y="13263"/>
                  </a:lnTo>
                  <a:lnTo>
                    <a:pt x="17959" y="13751"/>
                  </a:lnTo>
                  <a:cubicBezTo>
                    <a:pt x="18224" y="13919"/>
                    <a:pt x="18489" y="14087"/>
                    <a:pt x="18755" y="14253"/>
                  </a:cubicBezTo>
                  <a:cubicBezTo>
                    <a:pt x="19010" y="14412"/>
                    <a:pt x="19265" y="14570"/>
                    <a:pt x="19521" y="14726"/>
                  </a:cubicBezTo>
                  <a:lnTo>
                    <a:pt x="20059" y="14800"/>
                  </a:lnTo>
                  <a:cubicBezTo>
                    <a:pt x="20261" y="14738"/>
                    <a:pt x="20456" y="14633"/>
                    <a:pt x="20638" y="14490"/>
                  </a:cubicBezTo>
                  <a:cubicBezTo>
                    <a:pt x="21053" y="14162"/>
                    <a:pt x="21380" y="13647"/>
                    <a:pt x="21569" y="13026"/>
                  </a:cubicBezTo>
                  <a:lnTo>
                    <a:pt x="21600" y="12364"/>
                  </a:lnTo>
                  <a:lnTo>
                    <a:pt x="20876" y="11537"/>
                  </a:lnTo>
                  <a:lnTo>
                    <a:pt x="20172" y="11271"/>
                  </a:lnTo>
                  <a:cubicBezTo>
                    <a:pt x="19977" y="10989"/>
                    <a:pt x="19782" y="10709"/>
                    <a:pt x="19585" y="10430"/>
                  </a:cubicBezTo>
                  <a:cubicBezTo>
                    <a:pt x="19314" y="10044"/>
                    <a:pt x="19041" y="9659"/>
                    <a:pt x="18768" y="9277"/>
                  </a:cubicBezTo>
                  <a:lnTo>
                    <a:pt x="18552" y="8352"/>
                  </a:lnTo>
                  <a:lnTo>
                    <a:pt x="18707" y="7850"/>
                  </a:lnTo>
                  <a:lnTo>
                    <a:pt x="18707" y="7053"/>
                  </a:lnTo>
                  <a:lnTo>
                    <a:pt x="18460" y="6506"/>
                  </a:lnTo>
                  <a:lnTo>
                    <a:pt x="17665" y="6018"/>
                  </a:lnTo>
                  <a:lnTo>
                    <a:pt x="16139" y="5357"/>
                  </a:lnTo>
                  <a:lnTo>
                    <a:pt x="15519" y="4734"/>
                  </a:lnTo>
                  <a:lnTo>
                    <a:pt x="14962" y="3542"/>
                  </a:lnTo>
                  <a:lnTo>
                    <a:pt x="14662" y="2965"/>
                  </a:lnTo>
                  <a:lnTo>
                    <a:pt x="14176" y="2226"/>
                  </a:lnTo>
                  <a:lnTo>
                    <a:pt x="13369" y="2581"/>
                  </a:lnTo>
                  <a:lnTo>
                    <a:pt x="12408" y="3126"/>
                  </a:lnTo>
                  <a:lnTo>
                    <a:pt x="11913" y="2771"/>
                  </a:lnTo>
                  <a:cubicBezTo>
                    <a:pt x="11698" y="2567"/>
                    <a:pt x="11484" y="2360"/>
                    <a:pt x="11271" y="2150"/>
                  </a:cubicBezTo>
                  <a:cubicBezTo>
                    <a:pt x="11036" y="1918"/>
                    <a:pt x="10801" y="1682"/>
                    <a:pt x="10569" y="1443"/>
                  </a:cubicBezTo>
                  <a:lnTo>
                    <a:pt x="9607" y="777"/>
                  </a:lnTo>
                  <a:lnTo>
                    <a:pt x="9009" y="497"/>
                  </a:lnTo>
                  <a:lnTo>
                    <a:pt x="8021" y="593"/>
                  </a:lnTo>
                  <a:close/>
                </a:path>
              </a:pathLst>
            </a:custGeom>
            <a:grpFill/>
            <a:ln w="25400" cap="flat">
              <a:noFill/>
              <a:prstDash val="solid"/>
              <a:miter lim="400000"/>
            </a:ln>
            <a:effectLst/>
          </p:spPr>
          <p:txBody>
            <a:bodyPr anchor="ctr"/>
            <a:lstStyle/>
            <a:p>
              <a:pPr algn="ctr"/>
              <a:endParaRPr/>
            </a:p>
          </p:txBody>
        </p:sp>
        <p:sp>
          <p:nvSpPr>
            <p:cNvPr id="207" name="任意多边形: 形状 206">
              <a:extLst>
                <a:ext uri="{FF2B5EF4-FFF2-40B4-BE49-F238E27FC236}">
                  <a16:creationId xmlns:a16="http://schemas.microsoft.com/office/drawing/2014/main" id="{671531EF-493C-4B22-A7B6-F7215FCBE68F}"/>
                </a:ext>
              </a:extLst>
            </p:cNvPr>
            <p:cNvSpPr/>
            <p:nvPr/>
          </p:nvSpPr>
          <p:spPr>
            <a:xfrm>
              <a:off x="3367978" y="1754955"/>
              <a:ext cx="134323" cy="63225"/>
            </a:xfrm>
            <a:custGeom>
              <a:avLst/>
              <a:gdLst/>
              <a:ahLst/>
              <a:cxnLst>
                <a:cxn ang="0">
                  <a:pos x="wd2" y="hd2"/>
                </a:cxn>
                <a:cxn ang="5400000">
                  <a:pos x="wd2" y="hd2"/>
                </a:cxn>
                <a:cxn ang="10800000">
                  <a:pos x="wd2" y="hd2"/>
                </a:cxn>
                <a:cxn ang="16200000">
                  <a:pos x="wd2" y="hd2"/>
                </a:cxn>
              </a:cxnLst>
              <a:rect l="0" t="0" r="r" b="b"/>
              <a:pathLst>
                <a:path w="21486" h="21600" extrusionOk="0">
                  <a:moveTo>
                    <a:pt x="14288" y="2825"/>
                  </a:moveTo>
                  <a:lnTo>
                    <a:pt x="10337" y="0"/>
                  </a:lnTo>
                  <a:lnTo>
                    <a:pt x="6944" y="635"/>
                  </a:lnTo>
                  <a:lnTo>
                    <a:pt x="4261" y="5531"/>
                  </a:lnTo>
                  <a:lnTo>
                    <a:pt x="923" y="10880"/>
                  </a:lnTo>
                  <a:lnTo>
                    <a:pt x="0" y="13544"/>
                  </a:lnTo>
                  <a:lnTo>
                    <a:pt x="505" y="17480"/>
                  </a:lnTo>
                  <a:lnTo>
                    <a:pt x="3926" y="18763"/>
                  </a:lnTo>
                  <a:lnTo>
                    <a:pt x="6234" y="16694"/>
                  </a:lnTo>
                  <a:lnTo>
                    <a:pt x="9366" y="14882"/>
                  </a:lnTo>
                  <a:cubicBezTo>
                    <a:pt x="10482" y="14254"/>
                    <a:pt x="11657" y="14254"/>
                    <a:pt x="12773" y="14882"/>
                  </a:cubicBezTo>
                  <a:cubicBezTo>
                    <a:pt x="14008" y="15576"/>
                    <a:pt x="15124" y="17010"/>
                    <a:pt x="15986" y="19012"/>
                  </a:cubicBezTo>
                  <a:lnTo>
                    <a:pt x="19647" y="21600"/>
                  </a:lnTo>
                  <a:cubicBezTo>
                    <a:pt x="20643" y="20974"/>
                    <a:pt x="21364" y="19135"/>
                    <a:pt x="21472" y="16942"/>
                  </a:cubicBezTo>
                  <a:cubicBezTo>
                    <a:pt x="21600" y="14339"/>
                    <a:pt x="20855" y="11900"/>
                    <a:pt x="19682" y="11085"/>
                  </a:cubicBezTo>
                  <a:lnTo>
                    <a:pt x="16154" y="7063"/>
                  </a:lnTo>
                  <a:lnTo>
                    <a:pt x="14288" y="2825"/>
                  </a:lnTo>
                  <a:close/>
                </a:path>
              </a:pathLst>
            </a:custGeom>
            <a:grpFill/>
            <a:ln w="25400" cap="flat">
              <a:noFill/>
              <a:prstDash val="solid"/>
              <a:miter lim="400000"/>
            </a:ln>
            <a:effectLst/>
          </p:spPr>
          <p:txBody>
            <a:bodyPr anchor="ctr"/>
            <a:lstStyle/>
            <a:p>
              <a:pPr algn="ctr"/>
              <a:endParaRPr/>
            </a:p>
          </p:txBody>
        </p:sp>
        <p:sp>
          <p:nvSpPr>
            <p:cNvPr id="208" name="任意多边形: 形状 207">
              <a:extLst>
                <a:ext uri="{FF2B5EF4-FFF2-40B4-BE49-F238E27FC236}">
                  <a16:creationId xmlns:a16="http://schemas.microsoft.com/office/drawing/2014/main" id="{3A28CD55-FD5C-4B11-B300-89341903FBC1}"/>
                </a:ext>
              </a:extLst>
            </p:cNvPr>
            <p:cNvSpPr/>
            <p:nvPr/>
          </p:nvSpPr>
          <p:spPr>
            <a:xfrm>
              <a:off x="3798219" y="2232769"/>
              <a:ext cx="191559" cy="152338"/>
            </a:xfrm>
            <a:custGeom>
              <a:avLst/>
              <a:gdLst/>
              <a:ahLst/>
              <a:cxnLst>
                <a:cxn ang="0">
                  <a:pos x="wd2" y="hd2"/>
                </a:cxn>
                <a:cxn ang="5400000">
                  <a:pos x="wd2" y="hd2"/>
                </a:cxn>
                <a:cxn ang="10800000">
                  <a:pos x="wd2" y="hd2"/>
                </a:cxn>
                <a:cxn ang="16200000">
                  <a:pos x="wd2" y="hd2"/>
                </a:cxn>
              </a:cxnLst>
              <a:rect l="0" t="0" r="r" b="b"/>
              <a:pathLst>
                <a:path w="21600" h="21600" extrusionOk="0">
                  <a:moveTo>
                    <a:pt x="13617" y="713"/>
                  </a:moveTo>
                  <a:lnTo>
                    <a:pt x="12158" y="1430"/>
                  </a:lnTo>
                  <a:lnTo>
                    <a:pt x="10460" y="3510"/>
                  </a:lnTo>
                  <a:lnTo>
                    <a:pt x="9735" y="5219"/>
                  </a:lnTo>
                  <a:lnTo>
                    <a:pt x="8711" y="7368"/>
                  </a:lnTo>
                  <a:lnTo>
                    <a:pt x="6506" y="9587"/>
                  </a:lnTo>
                  <a:lnTo>
                    <a:pt x="4116" y="10124"/>
                  </a:lnTo>
                  <a:lnTo>
                    <a:pt x="3238" y="12590"/>
                  </a:lnTo>
                  <a:lnTo>
                    <a:pt x="2264" y="14703"/>
                  </a:lnTo>
                  <a:lnTo>
                    <a:pt x="112" y="15347"/>
                  </a:lnTo>
                  <a:lnTo>
                    <a:pt x="0" y="16883"/>
                  </a:lnTo>
                  <a:lnTo>
                    <a:pt x="2956" y="16668"/>
                  </a:lnTo>
                  <a:lnTo>
                    <a:pt x="4669" y="16668"/>
                  </a:lnTo>
                  <a:lnTo>
                    <a:pt x="6963" y="17384"/>
                  </a:lnTo>
                  <a:lnTo>
                    <a:pt x="8339" y="17778"/>
                  </a:lnTo>
                  <a:lnTo>
                    <a:pt x="7794" y="19707"/>
                  </a:lnTo>
                  <a:lnTo>
                    <a:pt x="8250" y="21600"/>
                  </a:lnTo>
                  <a:lnTo>
                    <a:pt x="9877" y="20459"/>
                  </a:lnTo>
                  <a:lnTo>
                    <a:pt x="9307" y="17997"/>
                  </a:lnTo>
                  <a:lnTo>
                    <a:pt x="11744" y="17389"/>
                  </a:lnTo>
                  <a:lnTo>
                    <a:pt x="13751" y="17389"/>
                  </a:lnTo>
                  <a:lnTo>
                    <a:pt x="15873" y="16529"/>
                  </a:lnTo>
                  <a:lnTo>
                    <a:pt x="18822" y="16207"/>
                  </a:lnTo>
                  <a:lnTo>
                    <a:pt x="20342" y="15240"/>
                  </a:lnTo>
                  <a:lnTo>
                    <a:pt x="21600" y="14632"/>
                  </a:lnTo>
                  <a:lnTo>
                    <a:pt x="18847" y="11235"/>
                  </a:lnTo>
                  <a:lnTo>
                    <a:pt x="17711" y="9945"/>
                  </a:lnTo>
                  <a:lnTo>
                    <a:pt x="15740" y="9095"/>
                  </a:lnTo>
                  <a:lnTo>
                    <a:pt x="13625" y="8379"/>
                  </a:lnTo>
                  <a:lnTo>
                    <a:pt x="12948" y="7206"/>
                  </a:lnTo>
                  <a:cubicBezTo>
                    <a:pt x="12674" y="6625"/>
                    <a:pt x="12582" y="5938"/>
                    <a:pt x="12690" y="5277"/>
                  </a:cubicBezTo>
                  <a:cubicBezTo>
                    <a:pt x="12841" y="4349"/>
                    <a:pt x="13359" y="3580"/>
                    <a:pt x="14066" y="3237"/>
                  </a:cubicBezTo>
                  <a:cubicBezTo>
                    <a:pt x="14497" y="2942"/>
                    <a:pt x="14876" y="2541"/>
                    <a:pt x="15181" y="2059"/>
                  </a:cubicBezTo>
                  <a:cubicBezTo>
                    <a:pt x="15444" y="1642"/>
                    <a:pt x="15646" y="1171"/>
                    <a:pt x="15779" y="667"/>
                  </a:cubicBezTo>
                  <a:lnTo>
                    <a:pt x="15098" y="0"/>
                  </a:lnTo>
                  <a:lnTo>
                    <a:pt x="13617" y="713"/>
                  </a:lnTo>
                  <a:close/>
                </a:path>
              </a:pathLst>
            </a:custGeom>
            <a:grpFill/>
            <a:ln w="25400" cap="flat">
              <a:noFill/>
              <a:prstDash val="solid"/>
              <a:miter lim="400000"/>
            </a:ln>
            <a:effectLst/>
          </p:spPr>
          <p:txBody>
            <a:bodyPr anchor="ctr"/>
            <a:lstStyle/>
            <a:p>
              <a:pPr algn="ctr"/>
              <a:endParaRPr/>
            </a:p>
          </p:txBody>
        </p:sp>
        <p:sp>
          <p:nvSpPr>
            <p:cNvPr id="209" name="任意多边形: 形状 208">
              <a:extLst>
                <a:ext uri="{FF2B5EF4-FFF2-40B4-BE49-F238E27FC236}">
                  <a16:creationId xmlns:a16="http://schemas.microsoft.com/office/drawing/2014/main" id="{2C37074B-148A-49FC-BC37-9C99C5D05A6D}"/>
                </a:ext>
              </a:extLst>
            </p:cNvPr>
            <p:cNvSpPr/>
            <p:nvPr/>
          </p:nvSpPr>
          <p:spPr>
            <a:xfrm>
              <a:off x="3443720" y="2870076"/>
              <a:ext cx="43114" cy="31522"/>
            </a:xfrm>
            <a:custGeom>
              <a:avLst/>
              <a:gdLst/>
              <a:ahLst/>
              <a:cxnLst>
                <a:cxn ang="0">
                  <a:pos x="wd2" y="hd2"/>
                </a:cxn>
                <a:cxn ang="5400000">
                  <a:pos x="wd2" y="hd2"/>
                </a:cxn>
                <a:cxn ang="10800000">
                  <a:pos x="wd2" y="hd2"/>
                </a:cxn>
                <a:cxn ang="16200000">
                  <a:pos x="wd2" y="hd2"/>
                </a:cxn>
              </a:cxnLst>
              <a:rect l="0" t="0" r="r" b="b"/>
              <a:pathLst>
                <a:path w="21600" h="21600" extrusionOk="0">
                  <a:moveTo>
                    <a:pt x="9449" y="0"/>
                  </a:moveTo>
                  <a:lnTo>
                    <a:pt x="4511" y="2596"/>
                  </a:lnTo>
                  <a:lnTo>
                    <a:pt x="0" y="15912"/>
                  </a:lnTo>
                  <a:lnTo>
                    <a:pt x="12679" y="21600"/>
                  </a:lnTo>
                  <a:lnTo>
                    <a:pt x="21600" y="12688"/>
                  </a:lnTo>
                  <a:lnTo>
                    <a:pt x="9449" y="0"/>
                  </a:lnTo>
                  <a:close/>
                </a:path>
              </a:pathLst>
            </a:custGeom>
            <a:grpFill/>
            <a:ln w="25400" cap="flat">
              <a:noFill/>
              <a:prstDash val="solid"/>
              <a:miter lim="400000"/>
            </a:ln>
            <a:effectLst/>
          </p:spPr>
          <p:txBody>
            <a:bodyPr anchor="ctr"/>
            <a:lstStyle/>
            <a:p>
              <a:pPr algn="ctr"/>
              <a:endParaRPr/>
            </a:p>
          </p:txBody>
        </p:sp>
        <p:sp>
          <p:nvSpPr>
            <p:cNvPr id="210" name="任意多边形: 形状 209">
              <a:extLst>
                <a:ext uri="{FF2B5EF4-FFF2-40B4-BE49-F238E27FC236}">
                  <a16:creationId xmlns:a16="http://schemas.microsoft.com/office/drawing/2014/main" id="{58F60B7C-4C79-49D8-A001-0738B665F872}"/>
                </a:ext>
              </a:extLst>
            </p:cNvPr>
            <p:cNvSpPr/>
            <p:nvPr/>
          </p:nvSpPr>
          <p:spPr>
            <a:xfrm>
              <a:off x="2721842" y="3238975"/>
              <a:ext cx="336007" cy="120179"/>
            </a:xfrm>
            <a:custGeom>
              <a:avLst/>
              <a:gdLst/>
              <a:ahLst/>
              <a:cxnLst>
                <a:cxn ang="0">
                  <a:pos x="wd2" y="hd2"/>
                </a:cxn>
                <a:cxn ang="5400000">
                  <a:pos x="wd2" y="hd2"/>
                </a:cxn>
                <a:cxn ang="10800000">
                  <a:pos x="wd2" y="hd2"/>
                </a:cxn>
                <a:cxn ang="16200000">
                  <a:pos x="wd2" y="hd2"/>
                </a:cxn>
              </a:cxnLst>
              <a:rect l="0" t="0" r="r" b="b"/>
              <a:pathLst>
                <a:path w="21600" h="21424" extrusionOk="0">
                  <a:moveTo>
                    <a:pt x="6693" y="0"/>
                  </a:moveTo>
                  <a:lnTo>
                    <a:pt x="3994" y="298"/>
                  </a:lnTo>
                  <a:lnTo>
                    <a:pt x="1905" y="1849"/>
                  </a:lnTo>
                  <a:lnTo>
                    <a:pt x="0" y="4685"/>
                  </a:lnTo>
                  <a:lnTo>
                    <a:pt x="3" y="8050"/>
                  </a:lnTo>
                  <a:lnTo>
                    <a:pt x="2136" y="6609"/>
                  </a:lnTo>
                  <a:lnTo>
                    <a:pt x="5761" y="4730"/>
                  </a:lnTo>
                  <a:lnTo>
                    <a:pt x="7958" y="6075"/>
                  </a:lnTo>
                  <a:lnTo>
                    <a:pt x="10066" y="8095"/>
                  </a:lnTo>
                  <a:lnTo>
                    <a:pt x="12698" y="10886"/>
                  </a:lnTo>
                  <a:lnTo>
                    <a:pt x="13431" y="13491"/>
                  </a:lnTo>
                  <a:lnTo>
                    <a:pt x="13576" y="16728"/>
                  </a:lnTo>
                  <a:lnTo>
                    <a:pt x="13202" y="18838"/>
                  </a:lnTo>
                  <a:lnTo>
                    <a:pt x="14379" y="19732"/>
                  </a:lnTo>
                  <a:lnTo>
                    <a:pt x="15587" y="19372"/>
                  </a:lnTo>
                  <a:lnTo>
                    <a:pt x="17041" y="19372"/>
                  </a:lnTo>
                  <a:lnTo>
                    <a:pt x="17973" y="20722"/>
                  </a:lnTo>
                  <a:cubicBezTo>
                    <a:pt x="18362" y="21404"/>
                    <a:pt x="18837" y="21600"/>
                    <a:pt x="19281" y="21263"/>
                  </a:cubicBezTo>
                  <a:cubicBezTo>
                    <a:pt x="19538" y="21068"/>
                    <a:pt x="19773" y="20698"/>
                    <a:pt x="19965" y="20188"/>
                  </a:cubicBezTo>
                  <a:lnTo>
                    <a:pt x="20995" y="19018"/>
                  </a:lnTo>
                  <a:lnTo>
                    <a:pt x="21584" y="18883"/>
                  </a:lnTo>
                  <a:lnTo>
                    <a:pt x="21600" y="16502"/>
                  </a:lnTo>
                  <a:lnTo>
                    <a:pt x="20145" y="14116"/>
                  </a:lnTo>
                  <a:cubicBezTo>
                    <a:pt x="19497" y="13439"/>
                    <a:pt x="18849" y="12764"/>
                    <a:pt x="18200" y="12091"/>
                  </a:cubicBezTo>
                  <a:cubicBezTo>
                    <a:pt x="17606" y="11474"/>
                    <a:pt x="17013" y="10859"/>
                    <a:pt x="16418" y="10245"/>
                  </a:cubicBezTo>
                  <a:lnTo>
                    <a:pt x="14034" y="5974"/>
                  </a:lnTo>
                  <a:lnTo>
                    <a:pt x="11880" y="2378"/>
                  </a:lnTo>
                  <a:lnTo>
                    <a:pt x="9839" y="1348"/>
                  </a:lnTo>
                  <a:lnTo>
                    <a:pt x="8476" y="678"/>
                  </a:lnTo>
                  <a:lnTo>
                    <a:pt x="6693" y="0"/>
                  </a:lnTo>
                  <a:close/>
                </a:path>
              </a:pathLst>
            </a:custGeom>
            <a:grpFill/>
            <a:ln w="25400" cap="flat">
              <a:noFill/>
              <a:prstDash val="solid"/>
              <a:miter lim="400000"/>
            </a:ln>
            <a:effectLst/>
          </p:spPr>
          <p:txBody>
            <a:bodyPr anchor="ctr"/>
            <a:lstStyle/>
            <a:p>
              <a:pPr algn="ctr"/>
              <a:endParaRPr/>
            </a:p>
          </p:txBody>
        </p:sp>
        <p:sp>
          <p:nvSpPr>
            <p:cNvPr id="211" name="任意多边形: 形状 210">
              <a:extLst>
                <a:ext uri="{FF2B5EF4-FFF2-40B4-BE49-F238E27FC236}">
                  <a16:creationId xmlns:a16="http://schemas.microsoft.com/office/drawing/2014/main" id="{C4717C98-FC0A-480B-84DE-8F8EDD17C29B}"/>
                </a:ext>
              </a:extLst>
            </p:cNvPr>
            <p:cNvSpPr/>
            <p:nvPr/>
          </p:nvSpPr>
          <p:spPr>
            <a:xfrm>
              <a:off x="3014633" y="3360630"/>
              <a:ext cx="222454" cy="69578"/>
            </a:xfrm>
            <a:custGeom>
              <a:avLst/>
              <a:gdLst/>
              <a:ahLst/>
              <a:cxnLst>
                <a:cxn ang="0">
                  <a:pos x="wd2" y="hd2"/>
                </a:cxn>
                <a:cxn ang="5400000">
                  <a:pos x="wd2" y="hd2"/>
                </a:cxn>
                <a:cxn ang="10800000">
                  <a:pos x="wd2" y="hd2"/>
                </a:cxn>
                <a:cxn ang="16200000">
                  <a:pos x="wd2" y="hd2"/>
                </a:cxn>
              </a:cxnLst>
              <a:rect l="0" t="0" r="r" b="b"/>
              <a:pathLst>
                <a:path w="21600" h="21321" extrusionOk="0">
                  <a:moveTo>
                    <a:pt x="8080" y="2346"/>
                  </a:moveTo>
                  <a:lnTo>
                    <a:pt x="7608" y="5248"/>
                  </a:lnTo>
                  <a:lnTo>
                    <a:pt x="9192" y="9941"/>
                  </a:lnTo>
                  <a:lnTo>
                    <a:pt x="8133" y="13268"/>
                  </a:lnTo>
                  <a:lnTo>
                    <a:pt x="6167" y="13491"/>
                  </a:lnTo>
                  <a:cubicBezTo>
                    <a:pt x="5337" y="12924"/>
                    <a:pt x="4494" y="12536"/>
                    <a:pt x="3646" y="12331"/>
                  </a:cubicBezTo>
                  <a:cubicBezTo>
                    <a:pt x="2705" y="12103"/>
                    <a:pt x="1759" y="12099"/>
                    <a:pt x="817" y="12321"/>
                  </a:cubicBezTo>
                  <a:lnTo>
                    <a:pt x="0" y="15310"/>
                  </a:lnTo>
                  <a:lnTo>
                    <a:pt x="1925" y="18019"/>
                  </a:lnTo>
                  <a:lnTo>
                    <a:pt x="4070" y="18251"/>
                  </a:lnTo>
                  <a:lnTo>
                    <a:pt x="5845" y="19877"/>
                  </a:lnTo>
                  <a:lnTo>
                    <a:pt x="7598" y="18329"/>
                  </a:lnTo>
                  <a:lnTo>
                    <a:pt x="9746" y="17400"/>
                  </a:lnTo>
                  <a:cubicBezTo>
                    <a:pt x="10130" y="18713"/>
                    <a:pt x="10602" y="19744"/>
                    <a:pt x="11128" y="20417"/>
                  </a:cubicBezTo>
                  <a:cubicBezTo>
                    <a:pt x="11927" y="21440"/>
                    <a:pt x="12812" y="21600"/>
                    <a:pt x="13644" y="20872"/>
                  </a:cubicBezTo>
                  <a:cubicBezTo>
                    <a:pt x="14104" y="19420"/>
                    <a:pt x="14627" y="18174"/>
                    <a:pt x="15196" y="17168"/>
                  </a:cubicBezTo>
                  <a:cubicBezTo>
                    <a:pt x="15866" y="15984"/>
                    <a:pt x="16591" y="15148"/>
                    <a:pt x="17341" y="14614"/>
                  </a:cubicBezTo>
                  <a:cubicBezTo>
                    <a:pt x="18005" y="14141"/>
                    <a:pt x="18684" y="13907"/>
                    <a:pt x="19365" y="13918"/>
                  </a:cubicBezTo>
                  <a:lnTo>
                    <a:pt x="20717" y="13841"/>
                  </a:lnTo>
                  <a:lnTo>
                    <a:pt x="21600" y="12215"/>
                  </a:lnTo>
                  <a:lnTo>
                    <a:pt x="21378" y="8984"/>
                  </a:lnTo>
                  <a:lnTo>
                    <a:pt x="19406" y="7282"/>
                  </a:lnTo>
                  <a:lnTo>
                    <a:pt x="18248" y="4350"/>
                  </a:lnTo>
                  <a:lnTo>
                    <a:pt x="15434" y="1333"/>
                  </a:lnTo>
                  <a:lnTo>
                    <a:pt x="12671" y="459"/>
                  </a:lnTo>
                  <a:lnTo>
                    <a:pt x="10801" y="0"/>
                  </a:lnTo>
                  <a:lnTo>
                    <a:pt x="9496" y="697"/>
                  </a:lnTo>
                  <a:lnTo>
                    <a:pt x="8080" y="2346"/>
                  </a:lnTo>
                  <a:close/>
                </a:path>
              </a:pathLst>
            </a:custGeom>
            <a:grpFill/>
            <a:ln w="25400" cap="flat">
              <a:noFill/>
              <a:prstDash val="solid"/>
              <a:miter lim="400000"/>
            </a:ln>
            <a:effectLst/>
          </p:spPr>
          <p:txBody>
            <a:bodyPr anchor="ctr"/>
            <a:lstStyle/>
            <a:p>
              <a:pPr algn="ctr"/>
              <a:endParaRPr/>
            </a:p>
          </p:txBody>
        </p:sp>
        <p:sp>
          <p:nvSpPr>
            <p:cNvPr id="212" name="任意多边形: 形状 211">
              <a:extLst>
                <a:ext uri="{FF2B5EF4-FFF2-40B4-BE49-F238E27FC236}">
                  <a16:creationId xmlns:a16="http://schemas.microsoft.com/office/drawing/2014/main" id="{8683B16C-0D01-442C-8E5F-7219F557D46F}"/>
                </a:ext>
              </a:extLst>
            </p:cNvPr>
            <p:cNvSpPr/>
            <p:nvPr/>
          </p:nvSpPr>
          <p:spPr>
            <a:xfrm>
              <a:off x="2895033" y="3401778"/>
              <a:ext cx="72795" cy="30633"/>
            </a:xfrm>
            <a:custGeom>
              <a:avLst/>
              <a:gdLst/>
              <a:ahLst/>
              <a:cxnLst>
                <a:cxn ang="0">
                  <a:pos x="wd2" y="hd2"/>
                </a:cxn>
                <a:cxn ang="5400000">
                  <a:pos x="wd2" y="hd2"/>
                </a:cxn>
                <a:cxn ang="10800000">
                  <a:pos x="wd2" y="hd2"/>
                </a:cxn>
                <a:cxn ang="16200000">
                  <a:pos x="wd2" y="hd2"/>
                </a:cxn>
              </a:cxnLst>
              <a:rect l="0" t="0" r="r" b="b"/>
              <a:pathLst>
                <a:path w="21600" h="21600" extrusionOk="0">
                  <a:moveTo>
                    <a:pt x="9960" y="778"/>
                  </a:moveTo>
                  <a:lnTo>
                    <a:pt x="5952" y="0"/>
                  </a:lnTo>
                  <a:lnTo>
                    <a:pt x="0" y="4529"/>
                  </a:lnTo>
                  <a:lnTo>
                    <a:pt x="4023" y="14144"/>
                  </a:lnTo>
                  <a:lnTo>
                    <a:pt x="9924" y="18396"/>
                  </a:lnTo>
                  <a:lnTo>
                    <a:pt x="16715" y="21600"/>
                  </a:lnTo>
                  <a:lnTo>
                    <a:pt x="21157" y="18240"/>
                  </a:lnTo>
                  <a:lnTo>
                    <a:pt x="21600" y="11139"/>
                  </a:lnTo>
                  <a:lnTo>
                    <a:pt x="17129" y="5862"/>
                  </a:lnTo>
                  <a:lnTo>
                    <a:pt x="14054" y="2835"/>
                  </a:lnTo>
                  <a:lnTo>
                    <a:pt x="9960" y="778"/>
                  </a:lnTo>
                  <a:close/>
                </a:path>
              </a:pathLst>
            </a:custGeom>
            <a:grpFill/>
            <a:ln w="25400" cap="flat">
              <a:noFill/>
              <a:prstDash val="solid"/>
              <a:miter lim="400000"/>
            </a:ln>
            <a:effectLst/>
          </p:spPr>
          <p:txBody>
            <a:bodyPr anchor="ctr"/>
            <a:lstStyle/>
            <a:p>
              <a:pPr algn="ctr"/>
              <a:endParaRPr/>
            </a:p>
          </p:txBody>
        </p:sp>
        <p:sp>
          <p:nvSpPr>
            <p:cNvPr id="213" name="任意多边形: 形状 212">
              <a:extLst>
                <a:ext uri="{FF2B5EF4-FFF2-40B4-BE49-F238E27FC236}">
                  <a16:creationId xmlns:a16="http://schemas.microsoft.com/office/drawing/2014/main" id="{CBA0C130-2628-4095-9839-7CF5F323312C}"/>
                </a:ext>
              </a:extLst>
            </p:cNvPr>
            <p:cNvSpPr/>
            <p:nvPr/>
          </p:nvSpPr>
          <p:spPr>
            <a:xfrm>
              <a:off x="3271035" y="3400703"/>
              <a:ext cx="56091" cy="29497"/>
            </a:xfrm>
            <a:custGeom>
              <a:avLst/>
              <a:gdLst/>
              <a:ahLst/>
              <a:cxnLst>
                <a:cxn ang="0">
                  <a:pos x="wd2" y="hd2"/>
                </a:cxn>
                <a:cxn ang="5400000">
                  <a:pos x="wd2" y="hd2"/>
                </a:cxn>
                <a:cxn ang="10800000">
                  <a:pos x="wd2" y="hd2"/>
                </a:cxn>
                <a:cxn ang="16200000">
                  <a:pos x="wd2" y="hd2"/>
                </a:cxn>
              </a:cxnLst>
              <a:rect l="0" t="0" r="r" b="b"/>
              <a:pathLst>
                <a:path w="21600" h="21600" extrusionOk="0">
                  <a:moveTo>
                    <a:pt x="12717" y="0"/>
                  </a:moveTo>
                  <a:lnTo>
                    <a:pt x="6904" y="785"/>
                  </a:lnTo>
                  <a:lnTo>
                    <a:pt x="2619" y="2158"/>
                  </a:lnTo>
                  <a:lnTo>
                    <a:pt x="0" y="9325"/>
                  </a:lnTo>
                  <a:lnTo>
                    <a:pt x="1145" y="14597"/>
                  </a:lnTo>
                  <a:cubicBezTo>
                    <a:pt x="2957" y="16107"/>
                    <a:pt x="4818" y="17397"/>
                    <a:pt x="6717" y="18458"/>
                  </a:cubicBezTo>
                  <a:cubicBezTo>
                    <a:pt x="9466" y="19994"/>
                    <a:pt x="12285" y="21046"/>
                    <a:pt x="15138" y="21600"/>
                  </a:cubicBezTo>
                  <a:lnTo>
                    <a:pt x="21600" y="11985"/>
                  </a:lnTo>
                  <a:lnTo>
                    <a:pt x="18686" y="4286"/>
                  </a:lnTo>
                  <a:lnTo>
                    <a:pt x="12717" y="0"/>
                  </a:lnTo>
                  <a:close/>
                </a:path>
              </a:pathLst>
            </a:custGeom>
            <a:grpFill/>
            <a:ln w="25400" cap="flat">
              <a:noFill/>
              <a:prstDash val="solid"/>
              <a:miter lim="400000"/>
            </a:ln>
            <a:effectLst/>
          </p:spPr>
          <p:txBody>
            <a:bodyPr anchor="ctr"/>
            <a:lstStyle/>
            <a:p>
              <a:pPr algn="ctr"/>
              <a:endParaRPr/>
            </a:p>
          </p:txBody>
        </p:sp>
        <p:sp>
          <p:nvSpPr>
            <p:cNvPr id="214" name="任意多边形: 形状 213">
              <a:extLst>
                <a:ext uri="{FF2B5EF4-FFF2-40B4-BE49-F238E27FC236}">
                  <a16:creationId xmlns:a16="http://schemas.microsoft.com/office/drawing/2014/main" id="{FE7BF820-0BBA-4607-A21E-1D13A2E02452}"/>
                </a:ext>
              </a:extLst>
            </p:cNvPr>
            <p:cNvSpPr/>
            <p:nvPr/>
          </p:nvSpPr>
          <p:spPr>
            <a:xfrm>
              <a:off x="3099915" y="3243765"/>
              <a:ext cx="48677" cy="29627"/>
            </a:xfrm>
            <a:custGeom>
              <a:avLst/>
              <a:gdLst/>
              <a:ahLst/>
              <a:cxnLst>
                <a:cxn ang="0">
                  <a:pos x="wd2" y="hd2"/>
                </a:cxn>
                <a:cxn ang="5400000">
                  <a:pos x="wd2" y="hd2"/>
                </a:cxn>
                <a:cxn ang="10800000">
                  <a:pos x="wd2" y="hd2"/>
                </a:cxn>
                <a:cxn ang="16200000">
                  <a:pos x="wd2" y="hd2"/>
                </a:cxn>
              </a:cxnLst>
              <a:rect l="0" t="0" r="r" b="b"/>
              <a:pathLst>
                <a:path w="21600" h="21600" extrusionOk="0">
                  <a:moveTo>
                    <a:pt x="10591" y="2096"/>
                  </a:moveTo>
                  <a:lnTo>
                    <a:pt x="5726" y="2074"/>
                  </a:lnTo>
                  <a:lnTo>
                    <a:pt x="0" y="12257"/>
                  </a:lnTo>
                  <a:lnTo>
                    <a:pt x="3941" y="21600"/>
                  </a:lnTo>
                  <a:lnTo>
                    <a:pt x="9231" y="16101"/>
                  </a:lnTo>
                  <a:lnTo>
                    <a:pt x="15549" y="13362"/>
                  </a:lnTo>
                  <a:lnTo>
                    <a:pt x="21600" y="7815"/>
                  </a:lnTo>
                  <a:lnTo>
                    <a:pt x="20020" y="727"/>
                  </a:lnTo>
                  <a:lnTo>
                    <a:pt x="15874" y="0"/>
                  </a:lnTo>
                  <a:lnTo>
                    <a:pt x="10591" y="2096"/>
                  </a:lnTo>
                  <a:close/>
                </a:path>
              </a:pathLst>
            </a:custGeom>
            <a:grpFill/>
            <a:ln w="25400" cap="flat">
              <a:noFill/>
              <a:prstDash val="solid"/>
              <a:miter lim="400000"/>
            </a:ln>
            <a:effectLst/>
          </p:spPr>
          <p:txBody>
            <a:bodyPr anchor="ctr"/>
            <a:lstStyle/>
            <a:p>
              <a:pPr algn="ctr"/>
              <a:endParaRPr/>
            </a:p>
          </p:txBody>
        </p:sp>
        <p:sp>
          <p:nvSpPr>
            <p:cNvPr id="215" name="任意多边形: 形状 214">
              <a:extLst>
                <a:ext uri="{FF2B5EF4-FFF2-40B4-BE49-F238E27FC236}">
                  <a16:creationId xmlns:a16="http://schemas.microsoft.com/office/drawing/2014/main" id="{74393C25-9495-4952-8153-5F883F71DEFB}"/>
                </a:ext>
              </a:extLst>
            </p:cNvPr>
            <p:cNvSpPr/>
            <p:nvPr/>
          </p:nvSpPr>
          <p:spPr>
            <a:xfrm>
              <a:off x="3040202" y="3273501"/>
              <a:ext cx="39982" cy="19197"/>
            </a:xfrm>
            <a:custGeom>
              <a:avLst/>
              <a:gdLst/>
              <a:ahLst/>
              <a:cxnLst>
                <a:cxn ang="0">
                  <a:pos x="wd2" y="hd2"/>
                </a:cxn>
                <a:cxn ang="5400000">
                  <a:pos x="wd2" y="hd2"/>
                </a:cxn>
                <a:cxn ang="10800000">
                  <a:pos x="wd2" y="hd2"/>
                </a:cxn>
                <a:cxn ang="16200000">
                  <a:pos x="wd2" y="hd2"/>
                </a:cxn>
              </a:cxnLst>
              <a:rect l="0" t="0" r="r" b="b"/>
              <a:pathLst>
                <a:path w="21600" h="21600" extrusionOk="0">
                  <a:moveTo>
                    <a:pt x="13268" y="0"/>
                  </a:moveTo>
                  <a:lnTo>
                    <a:pt x="6280" y="4263"/>
                  </a:lnTo>
                  <a:lnTo>
                    <a:pt x="0" y="14496"/>
                  </a:lnTo>
                  <a:lnTo>
                    <a:pt x="4170" y="17941"/>
                  </a:lnTo>
                  <a:lnTo>
                    <a:pt x="13786" y="19078"/>
                  </a:lnTo>
                  <a:lnTo>
                    <a:pt x="21583" y="21600"/>
                  </a:lnTo>
                  <a:lnTo>
                    <a:pt x="21600" y="6005"/>
                  </a:lnTo>
                  <a:lnTo>
                    <a:pt x="13268" y="0"/>
                  </a:lnTo>
                  <a:close/>
                </a:path>
              </a:pathLst>
            </a:custGeom>
            <a:grpFill/>
            <a:ln w="25400" cap="flat">
              <a:noFill/>
              <a:prstDash val="solid"/>
              <a:miter lim="400000"/>
            </a:ln>
            <a:effectLst/>
          </p:spPr>
          <p:txBody>
            <a:bodyPr anchor="ctr"/>
            <a:lstStyle/>
            <a:p>
              <a:pPr algn="ctr"/>
              <a:endParaRPr/>
            </a:p>
          </p:txBody>
        </p:sp>
        <p:sp>
          <p:nvSpPr>
            <p:cNvPr id="216" name="任意多边形: 形状 215">
              <a:extLst>
                <a:ext uri="{FF2B5EF4-FFF2-40B4-BE49-F238E27FC236}">
                  <a16:creationId xmlns:a16="http://schemas.microsoft.com/office/drawing/2014/main" id="{6976FFF4-B8F2-47A0-A5C2-13E52AA4177A}"/>
                </a:ext>
              </a:extLst>
            </p:cNvPr>
            <p:cNvSpPr/>
            <p:nvPr/>
          </p:nvSpPr>
          <p:spPr>
            <a:xfrm>
              <a:off x="2935381" y="3141153"/>
              <a:ext cx="28333" cy="52676"/>
            </a:xfrm>
            <a:custGeom>
              <a:avLst/>
              <a:gdLst/>
              <a:ahLst/>
              <a:cxnLst>
                <a:cxn ang="0">
                  <a:pos x="wd2" y="hd2"/>
                </a:cxn>
                <a:cxn ang="5400000">
                  <a:pos x="wd2" y="hd2"/>
                </a:cxn>
                <a:cxn ang="10800000">
                  <a:pos x="wd2" y="hd2"/>
                </a:cxn>
                <a:cxn ang="16200000">
                  <a:pos x="wd2" y="hd2"/>
                </a:cxn>
              </a:cxnLst>
              <a:rect l="0" t="0" r="r" b="b"/>
              <a:pathLst>
                <a:path w="21600" h="21600" extrusionOk="0">
                  <a:moveTo>
                    <a:pt x="6366" y="0"/>
                  </a:moveTo>
                  <a:lnTo>
                    <a:pt x="15" y="2162"/>
                  </a:lnTo>
                  <a:lnTo>
                    <a:pt x="9987" y="9811"/>
                  </a:lnTo>
                  <a:lnTo>
                    <a:pt x="0" y="12733"/>
                  </a:lnTo>
                  <a:lnTo>
                    <a:pt x="12126" y="20150"/>
                  </a:lnTo>
                  <a:lnTo>
                    <a:pt x="19276" y="21600"/>
                  </a:lnTo>
                  <a:lnTo>
                    <a:pt x="21600" y="16009"/>
                  </a:lnTo>
                  <a:lnTo>
                    <a:pt x="14089" y="12940"/>
                  </a:lnTo>
                  <a:lnTo>
                    <a:pt x="16973" y="9329"/>
                  </a:lnTo>
                  <a:lnTo>
                    <a:pt x="16973" y="1873"/>
                  </a:lnTo>
                  <a:lnTo>
                    <a:pt x="6366" y="0"/>
                  </a:lnTo>
                  <a:close/>
                </a:path>
              </a:pathLst>
            </a:custGeom>
            <a:grpFill/>
            <a:ln w="25400" cap="flat">
              <a:noFill/>
              <a:prstDash val="solid"/>
              <a:miter lim="400000"/>
            </a:ln>
            <a:effectLst/>
          </p:spPr>
          <p:txBody>
            <a:bodyPr anchor="ctr"/>
            <a:lstStyle/>
            <a:p>
              <a:pPr algn="ctr"/>
              <a:endParaRPr/>
            </a:p>
          </p:txBody>
        </p:sp>
        <p:sp>
          <p:nvSpPr>
            <p:cNvPr id="217" name="任意多边形: 形状 216">
              <a:extLst>
                <a:ext uri="{FF2B5EF4-FFF2-40B4-BE49-F238E27FC236}">
                  <a16:creationId xmlns:a16="http://schemas.microsoft.com/office/drawing/2014/main" id="{35A9B14D-5FF4-4201-AAF4-F31EBE64ADF1}"/>
                </a:ext>
              </a:extLst>
            </p:cNvPr>
            <p:cNvSpPr/>
            <p:nvPr/>
          </p:nvSpPr>
          <p:spPr>
            <a:xfrm>
              <a:off x="2937717" y="3092070"/>
              <a:ext cx="33856" cy="34429"/>
            </a:xfrm>
            <a:custGeom>
              <a:avLst/>
              <a:gdLst/>
              <a:ahLst/>
              <a:cxnLst>
                <a:cxn ang="0">
                  <a:pos x="wd2" y="hd2"/>
                </a:cxn>
                <a:cxn ang="5400000">
                  <a:pos x="wd2" y="hd2"/>
                </a:cxn>
                <a:cxn ang="10800000">
                  <a:pos x="wd2" y="hd2"/>
                </a:cxn>
                <a:cxn ang="16200000">
                  <a:pos x="wd2" y="hd2"/>
                </a:cxn>
              </a:cxnLst>
              <a:rect l="0" t="0" r="r" b="b"/>
              <a:pathLst>
                <a:path w="21600" h="21600" extrusionOk="0">
                  <a:moveTo>
                    <a:pt x="2939" y="3032"/>
                  </a:moveTo>
                  <a:lnTo>
                    <a:pt x="13971" y="0"/>
                  </a:lnTo>
                  <a:lnTo>
                    <a:pt x="21600" y="3050"/>
                  </a:lnTo>
                  <a:lnTo>
                    <a:pt x="17401" y="7736"/>
                  </a:lnTo>
                  <a:lnTo>
                    <a:pt x="11620" y="11520"/>
                  </a:lnTo>
                  <a:lnTo>
                    <a:pt x="10649" y="17817"/>
                  </a:lnTo>
                  <a:lnTo>
                    <a:pt x="3854" y="21600"/>
                  </a:lnTo>
                  <a:lnTo>
                    <a:pt x="0" y="19243"/>
                  </a:lnTo>
                  <a:lnTo>
                    <a:pt x="2779" y="14669"/>
                  </a:lnTo>
                  <a:lnTo>
                    <a:pt x="6081" y="9182"/>
                  </a:lnTo>
                  <a:lnTo>
                    <a:pt x="2939" y="3032"/>
                  </a:lnTo>
                  <a:close/>
                </a:path>
              </a:pathLst>
            </a:custGeom>
            <a:grpFill/>
            <a:ln w="25400" cap="flat">
              <a:noFill/>
              <a:prstDash val="solid"/>
              <a:miter lim="400000"/>
            </a:ln>
            <a:effectLst/>
          </p:spPr>
          <p:txBody>
            <a:bodyPr anchor="ctr"/>
            <a:lstStyle/>
            <a:p>
              <a:pPr algn="ctr"/>
              <a:endParaRPr/>
            </a:p>
          </p:txBody>
        </p:sp>
        <p:sp>
          <p:nvSpPr>
            <p:cNvPr id="218" name="任意多边形: 形状 217">
              <a:extLst>
                <a:ext uri="{FF2B5EF4-FFF2-40B4-BE49-F238E27FC236}">
                  <a16:creationId xmlns:a16="http://schemas.microsoft.com/office/drawing/2014/main" id="{6E1E8739-3E52-49F4-9FC9-37C7BF43A3E9}"/>
                </a:ext>
              </a:extLst>
            </p:cNvPr>
            <p:cNvSpPr/>
            <p:nvPr/>
          </p:nvSpPr>
          <p:spPr>
            <a:xfrm>
              <a:off x="2983567" y="3093648"/>
              <a:ext cx="25228" cy="36298"/>
            </a:xfrm>
            <a:custGeom>
              <a:avLst/>
              <a:gdLst/>
              <a:ahLst/>
              <a:cxnLst>
                <a:cxn ang="0">
                  <a:pos x="wd2" y="hd2"/>
                </a:cxn>
                <a:cxn ang="5400000">
                  <a:pos x="wd2" y="hd2"/>
                </a:cxn>
                <a:cxn ang="10800000">
                  <a:pos x="wd2" y="hd2"/>
                </a:cxn>
                <a:cxn ang="16200000">
                  <a:pos x="wd2" y="hd2"/>
                </a:cxn>
              </a:cxnLst>
              <a:rect l="0" t="0" r="r" b="b"/>
              <a:pathLst>
                <a:path w="21600" h="21600" extrusionOk="0">
                  <a:moveTo>
                    <a:pt x="9070" y="0"/>
                  </a:moveTo>
                  <a:lnTo>
                    <a:pt x="14242" y="3737"/>
                  </a:lnTo>
                  <a:lnTo>
                    <a:pt x="21600" y="9259"/>
                  </a:lnTo>
                  <a:lnTo>
                    <a:pt x="18987" y="16321"/>
                  </a:lnTo>
                  <a:lnTo>
                    <a:pt x="8344" y="21600"/>
                  </a:lnTo>
                  <a:lnTo>
                    <a:pt x="5690" y="16490"/>
                  </a:lnTo>
                  <a:lnTo>
                    <a:pt x="2563" y="11082"/>
                  </a:lnTo>
                  <a:lnTo>
                    <a:pt x="0" y="2684"/>
                  </a:lnTo>
                  <a:lnTo>
                    <a:pt x="9070" y="0"/>
                  </a:lnTo>
                  <a:close/>
                </a:path>
              </a:pathLst>
            </a:custGeom>
            <a:grpFill/>
            <a:ln w="25400" cap="flat">
              <a:noFill/>
              <a:prstDash val="solid"/>
              <a:miter lim="400000"/>
            </a:ln>
            <a:effectLst/>
          </p:spPr>
          <p:txBody>
            <a:bodyPr anchor="ctr"/>
            <a:lstStyle/>
            <a:p>
              <a:pPr algn="ctr"/>
              <a:endParaRPr/>
            </a:p>
          </p:txBody>
        </p:sp>
        <p:sp>
          <p:nvSpPr>
            <p:cNvPr id="219" name="任意多边形: 形状 218">
              <a:extLst>
                <a:ext uri="{FF2B5EF4-FFF2-40B4-BE49-F238E27FC236}">
                  <a16:creationId xmlns:a16="http://schemas.microsoft.com/office/drawing/2014/main" id="{4CA9CBA5-63A9-4EBB-B7C7-F1E4221DDFE3}"/>
                </a:ext>
              </a:extLst>
            </p:cNvPr>
            <p:cNvSpPr/>
            <p:nvPr/>
          </p:nvSpPr>
          <p:spPr>
            <a:xfrm>
              <a:off x="2959952" y="3134535"/>
              <a:ext cx="28911" cy="16360"/>
            </a:xfrm>
            <a:custGeom>
              <a:avLst/>
              <a:gdLst/>
              <a:ahLst/>
              <a:cxnLst>
                <a:cxn ang="0">
                  <a:pos x="wd2" y="hd2"/>
                </a:cxn>
                <a:cxn ang="5400000">
                  <a:pos x="wd2" y="hd2"/>
                </a:cxn>
                <a:cxn ang="10800000">
                  <a:pos x="wd2" y="hd2"/>
                </a:cxn>
                <a:cxn ang="16200000">
                  <a:pos x="wd2" y="hd2"/>
                </a:cxn>
              </a:cxnLst>
              <a:rect l="0" t="0" r="r" b="b"/>
              <a:pathLst>
                <a:path w="21600" h="21600" extrusionOk="0">
                  <a:moveTo>
                    <a:pt x="6041" y="0"/>
                  </a:moveTo>
                  <a:lnTo>
                    <a:pt x="13043" y="2762"/>
                  </a:lnTo>
                  <a:lnTo>
                    <a:pt x="21600" y="12283"/>
                  </a:lnTo>
                  <a:lnTo>
                    <a:pt x="16470" y="21600"/>
                  </a:lnTo>
                  <a:lnTo>
                    <a:pt x="5285" y="18232"/>
                  </a:lnTo>
                  <a:lnTo>
                    <a:pt x="0" y="10410"/>
                  </a:lnTo>
                  <a:lnTo>
                    <a:pt x="6041" y="0"/>
                  </a:lnTo>
                  <a:close/>
                </a:path>
              </a:pathLst>
            </a:custGeom>
            <a:grpFill/>
            <a:ln w="25400" cap="flat">
              <a:noFill/>
              <a:prstDash val="solid"/>
              <a:miter lim="400000"/>
            </a:ln>
            <a:effectLst/>
          </p:spPr>
          <p:txBody>
            <a:bodyPr anchor="ctr"/>
            <a:lstStyle/>
            <a:p>
              <a:pPr algn="ctr"/>
              <a:endParaRPr/>
            </a:p>
          </p:txBody>
        </p:sp>
        <p:sp>
          <p:nvSpPr>
            <p:cNvPr id="220" name="任意多边形: 形状 219">
              <a:extLst>
                <a:ext uri="{FF2B5EF4-FFF2-40B4-BE49-F238E27FC236}">
                  <a16:creationId xmlns:a16="http://schemas.microsoft.com/office/drawing/2014/main" id="{868F3B66-1913-47CC-8283-5761F371B4A9}"/>
                </a:ext>
              </a:extLst>
            </p:cNvPr>
            <p:cNvSpPr/>
            <p:nvPr/>
          </p:nvSpPr>
          <p:spPr>
            <a:xfrm>
              <a:off x="3029817" y="3184357"/>
              <a:ext cx="16360" cy="24826"/>
            </a:xfrm>
            <a:custGeom>
              <a:avLst/>
              <a:gdLst/>
              <a:ahLst/>
              <a:cxnLst>
                <a:cxn ang="0">
                  <a:pos x="wd2" y="hd2"/>
                </a:cxn>
                <a:cxn ang="5400000">
                  <a:pos x="wd2" y="hd2"/>
                </a:cxn>
                <a:cxn ang="10800000">
                  <a:pos x="wd2" y="hd2"/>
                </a:cxn>
                <a:cxn ang="16200000">
                  <a:pos x="wd2" y="hd2"/>
                </a:cxn>
              </a:cxnLst>
              <a:rect l="0" t="0" r="r" b="b"/>
              <a:pathLst>
                <a:path w="21600" h="21600" extrusionOk="0">
                  <a:moveTo>
                    <a:pt x="11704" y="0"/>
                  </a:moveTo>
                  <a:lnTo>
                    <a:pt x="0" y="5659"/>
                  </a:lnTo>
                  <a:lnTo>
                    <a:pt x="2963" y="18412"/>
                  </a:lnTo>
                  <a:lnTo>
                    <a:pt x="21600" y="21600"/>
                  </a:lnTo>
                  <a:lnTo>
                    <a:pt x="21600" y="6494"/>
                  </a:lnTo>
                  <a:lnTo>
                    <a:pt x="11704" y="0"/>
                  </a:lnTo>
                  <a:close/>
                </a:path>
              </a:pathLst>
            </a:custGeom>
            <a:grpFill/>
            <a:ln w="25400" cap="flat">
              <a:noFill/>
              <a:prstDash val="solid"/>
              <a:miter lim="400000"/>
            </a:ln>
            <a:effectLst/>
          </p:spPr>
          <p:txBody>
            <a:bodyPr anchor="ctr"/>
            <a:lstStyle/>
            <a:p>
              <a:pPr algn="ctr"/>
              <a:endParaRPr/>
            </a:p>
          </p:txBody>
        </p:sp>
        <p:sp>
          <p:nvSpPr>
            <p:cNvPr id="221" name="任意多边形: 形状 220">
              <a:extLst>
                <a:ext uri="{FF2B5EF4-FFF2-40B4-BE49-F238E27FC236}">
                  <a16:creationId xmlns:a16="http://schemas.microsoft.com/office/drawing/2014/main" id="{11C4876F-F425-4E14-B864-D1F597977568}"/>
                </a:ext>
              </a:extLst>
            </p:cNvPr>
            <p:cNvSpPr/>
            <p:nvPr/>
          </p:nvSpPr>
          <p:spPr>
            <a:xfrm>
              <a:off x="3034154" y="3223970"/>
              <a:ext cx="25012" cy="16370"/>
            </a:xfrm>
            <a:custGeom>
              <a:avLst/>
              <a:gdLst/>
              <a:ahLst/>
              <a:cxnLst>
                <a:cxn ang="0">
                  <a:pos x="wd2" y="hd2"/>
                </a:cxn>
                <a:cxn ang="5400000">
                  <a:pos x="wd2" y="hd2"/>
                </a:cxn>
                <a:cxn ang="10800000">
                  <a:pos x="wd2" y="hd2"/>
                </a:cxn>
                <a:cxn ang="16200000">
                  <a:pos x="wd2" y="hd2"/>
                </a:cxn>
              </a:cxnLst>
              <a:rect l="0" t="0" r="r" b="b"/>
              <a:pathLst>
                <a:path w="21600" h="21600" extrusionOk="0">
                  <a:moveTo>
                    <a:pt x="17341" y="1756"/>
                  </a:moveTo>
                  <a:lnTo>
                    <a:pt x="5869" y="0"/>
                  </a:lnTo>
                  <a:lnTo>
                    <a:pt x="0" y="5101"/>
                  </a:lnTo>
                  <a:lnTo>
                    <a:pt x="11023" y="21600"/>
                  </a:lnTo>
                  <a:lnTo>
                    <a:pt x="21600" y="19642"/>
                  </a:lnTo>
                  <a:lnTo>
                    <a:pt x="17341" y="1756"/>
                  </a:lnTo>
                  <a:close/>
                </a:path>
              </a:pathLst>
            </a:custGeom>
            <a:grpFill/>
            <a:ln w="25400" cap="flat">
              <a:noFill/>
              <a:prstDash val="solid"/>
              <a:miter lim="400000"/>
            </a:ln>
            <a:effectLst/>
          </p:spPr>
          <p:txBody>
            <a:bodyPr anchor="ctr"/>
            <a:lstStyle/>
            <a:p>
              <a:pPr algn="ctr"/>
              <a:endParaRPr/>
            </a:p>
          </p:txBody>
        </p:sp>
        <p:sp>
          <p:nvSpPr>
            <p:cNvPr id="222" name="任意多边形: 形状 221">
              <a:extLst>
                <a:ext uri="{FF2B5EF4-FFF2-40B4-BE49-F238E27FC236}">
                  <a16:creationId xmlns:a16="http://schemas.microsoft.com/office/drawing/2014/main" id="{ADBFC19F-1FA0-4B04-9E19-70E16A10BC1C}"/>
                </a:ext>
              </a:extLst>
            </p:cNvPr>
            <p:cNvSpPr/>
            <p:nvPr/>
          </p:nvSpPr>
          <p:spPr>
            <a:xfrm>
              <a:off x="2785378" y="3359199"/>
              <a:ext cx="31691" cy="21151"/>
            </a:xfrm>
            <a:custGeom>
              <a:avLst/>
              <a:gdLst/>
              <a:ahLst/>
              <a:cxnLst>
                <a:cxn ang="0">
                  <a:pos x="wd2" y="hd2"/>
                </a:cxn>
                <a:cxn ang="5400000">
                  <a:pos x="wd2" y="hd2"/>
                </a:cxn>
                <a:cxn ang="10800000">
                  <a:pos x="wd2" y="hd2"/>
                </a:cxn>
                <a:cxn ang="16200000">
                  <a:pos x="wd2" y="hd2"/>
                </a:cxn>
              </a:cxnLst>
              <a:rect l="0" t="0" r="r" b="b"/>
              <a:pathLst>
                <a:path w="21600" h="21600" extrusionOk="0">
                  <a:moveTo>
                    <a:pt x="3640" y="1640"/>
                  </a:moveTo>
                  <a:lnTo>
                    <a:pt x="0" y="7796"/>
                  </a:lnTo>
                  <a:lnTo>
                    <a:pt x="2602" y="18763"/>
                  </a:lnTo>
                  <a:lnTo>
                    <a:pt x="14365" y="21600"/>
                  </a:lnTo>
                  <a:lnTo>
                    <a:pt x="21600" y="10799"/>
                  </a:lnTo>
                  <a:lnTo>
                    <a:pt x="12284" y="0"/>
                  </a:lnTo>
                  <a:lnTo>
                    <a:pt x="3640" y="1640"/>
                  </a:lnTo>
                  <a:close/>
                </a:path>
              </a:pathLst>
            </a:custGeom>
            <a:grpFill/>
            <a:ln w="25400" cap="flat">
              <a:noFill/>
              <a:prstDash val="solid"/>
              <a:miter lim="400000"/>
            </a:ln>
            <a:effectLst/>
          </p:spPr>
          <p:txBody>
            <a:bodyPr anchor="ctr"/>
            <a:lstStyle/>
            <a:p>
              <a:pPr algn="ctr"/>
              <a:endParaRPr/>
            </a:p>
          </p:txBody>
        </p:sp>
        <p:sp>
          <p:nvSpPr>
            <p:cNvPr id="223" name="任意多边形: 形状 222">
              <a:extLst>
                <a:ext uri="{FF2B5EF4-FFF2-40B4-BE49-F238E27FC236}">
                  <a16:creationId xmlns:a16="http://schemas.microsoft.com/office/drawing/2014/main" id="{2DE2C75A-E012-4D6F-834B-AC60254001F1}"/>
                </a:ext>
              </a:extLst>
            </p:cNvPr>
            <p:cNvSpPr/>
            <p:nvPr/>
          </p:nvSpPr>
          <p:spPr>
            <a:xfrm>
              <a:off x="3344267" y="3394292"/>
              <a:ext cx="33620" cy="20352"/>
            </a:xfrm>
            <a:custGeom>
              <a:avLst/>
              <a:gdLst/>
              <a:ahLst/>
              <a:cxnLst>
                <a:cxn ang="0">
                  <a:pos x="wd2" y="hd2"/>
                </a:cxn>
                <a:cxn ang="5400000">
                  <a:pos x="wd2" y="hd2"/>
                </a:cxn>
                <a:cxn ang="10800000">
                  <a:pos x="wd2" y="hd2"/>
                </a:cxn>
                <a:cxn ang="16200000">
                  <a:pos x="wd2" y="hd2"/>
                </a:cxn>
              </a:cxnLst>
              <a:rect l="0" t="0" r="r" b="b"/>
              <a:pathLst>
                <a:path w="21600" h="21600" extrusionOk="0">
                  <a:moveTo>
                    <a:pt x="13908" y="0"/>
                  </a:moveTo>
                  <a:lnTo>
                    <a:pt x="4923" y="5629"/>
                  </a:lnTo>
                  <a:lnTo>
                    <a:pt x="0" y="15233"/>
                  </a:lnTo>
                  <a:lnTo>
                    <a:pt x="11838" y="21600"/>
                  </a:lnTo>
                  <a:lnTo>
                    <a:pt x="21600" y="13561"/>
                  </a:lnTo>
                  <a:lnTo>
                    <a:pt x="13908" y="0"/>
                  </a:lnTo>
                  <a:close/>
                </a:path>
              </a:pathLst>
            </a:custGeom>
            <a:grpFill/>
            <a:ln w="25400" cap="flat">
              <a:noFill/>
              <a:prstDash val="solid"/>
              <a:miter lim="400000"/>
            </a:ln>
            <a:effectLst/>
          </p:spPr>
          <p:txBody>
            <a:bodyPr anchor="ctr"/>
            <a:lstStyle/>
            <a:p>
              <a:pPr algn="ctr"/>
              <a:endParaRPr/>
            </a:p>
          </p:txBody>
        </p:sp>
        <p:sp>
          <p:nvSpPr>
            <p:cNvPr id="224" name="任意多边形: 形状 223">
              <a:extLst>
                <a:ext uri="{FF2B5EF4-FFF2-40B4-BE49-F238E27FC236}">
                  <a16:creationId xmlns:a16="http://schemas.microsoft.com/office/drawing/2014/main" id="{192A6E2C-7B21-4CB7-B607-5CEBF627A6B6}"/>
                </a:ext>
              </a:extLst>
            </p:cNvPr>
            <p:cNvSpPr/>
            <p:nvPr/>
          </p:nvSpPr>
          <p:spPr>
            <a:xfrm>
              <a:off x="3331641" y="3425859"/>
              <a:ext cx="28455" cy="19036"/>
            </a:xfrm>
            <a:custGeom>
              <a:avLst/>
              <a:gdLst/>
              <a:ahLst/>
              <a:cxnLst>
                <a:cxn ang="0">
                  <a:pos x="wd2" y="hd2"/>
                </a:cxn>
                <a:cxn ang="5400000">
                  <a:pos x="wd2" y="hd2"/>
                </a:cxn>
                <a:cxn ang="10800000">
                  <a:pos x="wd2" y="hd2"/>
                </a:cxn>
                <a:cxn ang="16200000">
                  <a:pos x="wd2" y="hd2"/>
                </a:cxn>
              </a:cxnLst>
              <a:rect l="0" t="0" r="r" b="b"/>
              <a:pathLst>
                <a:path w="21600" h="21600" extrusionOk="0">
                  <a:moveTo>
                    <a:pt x="9631" y="0"/>
                  </a:moveTo>
                  <a:lnTo>
                    <a:pt x="0" y="4044"/>
                  </a:lnTo>
                  <a:lnTo>
                    <a:pt x="1813" y="14722"/>
                  </a:lnTo>
                  <a:lnTo>
                    <a:pt x="18125" y="21600"/>
                  </a:lnTo>
                  <a:lnTo>
                    <a:pt x="21600" y="6160"/>
                  </a:lnTo>
                  <a:lnTo>
                    <a:pt x="9631" y="0"/>
                  </a:lnTo>
                  <a:close/>
                </a:path>
              </a:pathLst>
            </a:custGeom>
            <a:grpFill/>
            <a:ln w="25400" cap="flat">
              <a:noFill/>
              <a:prstDash val="solid"/>
              <a:miter lim="400000"/>
            </a:ln>
            <a:effectLst/>
          </p:spPr>
          <p:txBody>
            <a:bodyPr anchor="ctr"/>
            <a:lstStyle/>
            <a:p>
              <a:pPr algn="ctr"/>
              <a:endParaRPr/>
            </a:p>
          </p:txBody>
        </p:sp>
        <p:sp>
          <p:nvSpPr>
            <p:cNvPr id="225" name="任意多边形: 形状 224">
              <a:extLst>
                <a:ext uri="{FF2B5EF4-FFF2-40B4-BE49-F238E27FC236}">
                  <a16:creationId xmlns:a16="http://schemas.microsoft.com/office/drawing/2014/main" id="{F15D9737-361E-4DCB-9B60-F75890721AED}"/>
                </a:ext>
              </a:extLst>
            </p:cNvPr>
            <p:cNvSpPr/>
            <p:nvPr/>
          </p:nvSpPr>
          <p:spPr>
            <a:xfrm>
              <a:off x="3393321" y="3447981"/>
              <a:ext cx="35832" cy="22889"/>
            </a:xfrm>
            <a:custGeom>
              <a:avLst/>
              <a:gdLst/>
              <a:ahLst/>
              <a:cxnLst>
                <a:cxn ang="0">
                  <a:pos x="wd2" y="hd2"/>
                </a:cxn>
                <a:cxn ang="5400000">
                  <a:pos x="wd2" y="hd2"/>
                </a:cxn>
                <a:cxn ang="10800000">
                  <a:pos x="wd2" y="hd2"/>
                </a:cxn>
                <a:cxn ang="16200000">
                  <a:pos x="wd2" y="hd2"/>
                </a:cxn>
              </a:cxnLst>
              <a:rect l="0" t="0" r="r" b="b"/>
              <a:pathLst>
                <a:path w="21600" h="21600" extrusionOk="0">
                  <a:moveTo>
                    <a:pt x="11523" y="6376"/>
                  </a:moveTo>
                  <a:lnTo>
                    <a:pt x="4204" y="0"/>
                  </a:lnTo>
                  <a:lnTo>
                    <a:pt x="0" y="8047"/>
                  </a:lnTo>
                  <a:lnTo>
                    <a:pt x="10142" y="21600"/>
                  </a:lnTo>
                  <a:lnTo>
                    <a:pt x="18861" y="21123"/>
                  </a:lnTo>
                  <a:lnTo>
                    <a:pt x="21600" y="13528"/>
                  </a:lnTo>
                  <a:lnTo>
                    <a:pt x="16408" y="10012"/>
                  </a:lnTo>
                  <a:lnTo>
                    <a:pt x="11523" y="6376"/>
                  </a:lnTo>
                  <a:close/>
                </a:path>
              </a:pathLst>
            </a:custGeom>
            <a:grpFill/>
            <a:ln w="25400" cap="flat">
              <a:noFill/>
              <a:prstDash val="solid"/>
              <a:miter lim="400000"/>
            </a:ln>
            <a:effectLst/>
          </p:spPr>
          <p:txBody>
            <a:bodyPr anchor="ctr"/>
            <a:lstStyle/>
            <a:p>
              <a:pPr algn="ctr"/>
              <a:endParaRPr/>
            </a:p>
          </p:txBody>
        </p:sp>
        <p:sp>
          <p:nvSpPr>
            <p:cNvPr id="226" name="任意多边形: 形状 225">
              <a:extLst>
                <a:ext uri="{FF2B5EF4-FFF2-40B4-BE49-F238E27FC236}">
                  <a16:creationId xmlns:a16="http://schemas.microsoft.com/office/drawing/2014/main" id="{9F6612DA-DDBC-48D8-AF60-65F0E8D247CE}"/>
                </a:ext>
              </a:extLst>
            </p:cNvPr>
            <p:cNvSpPr/>
            <p:nvPr/>
          </p:nvSpPr>
          <p:spPr>
            <a:xfrm>
              <a:off x="3434240" y="3430336"/>
              <a:ext cx="22284" cy="23522"/>
            </a:xfrm>
            <a:custGeom>
              <a:avLst/>
              <a:gdLst/>
              <a:ahLst/>
              <a:cxnLst>
                <a:cxn ang="0">
                  <a:pos x="wd2" y="hd2"/>
                </a:cxn>
                <a:cxn ang="5400000">
                  <a:pos x="wd2" y="hd2"/>
                </a:cxn>
                <a:cxn ang="10800000">
                  <a:pos x="wd2" y="hd2"/>
                </a:cxn>
                <a:cxn ang="16200000">
                  <a:pos x="wd2" y="hd2"/>
                </a:cxn>
              </a:cxnLst>
              <a:rect l="0" t="0" r="r" b="b"/>
              <a:pathLst>
                <a:path w="21600" h="21600" extrusionOk="0">
                  <a:moveTo>
                    <a:pt x="6626" y="0"/>
                  </a:moveTo>
                  <a:lnTo>
                    <a:pt x="20027" y="3450"/>
                  </a:lnTo>
                  <a:lnTo>
                    <a:pt x="21600" y="15366"/>
                  </a:lnTo>
                  <a:lnTo>
                    <a:pt x="15221" y="21600"/>
                  </a:lnTo>
                  <a:lnTo>
                    <a:pt x="10567" y="15424"/>
                  </a:lnTo>
                  <a:lnTo>
                    <a:pt x="0" y="9425"/>
                  </a:lnTo>
                  <a:lnTo>
                    <a:pt x="6626" y="0"/>
                  </a:lnTo>
                  <a:close/>
                </a:path>
              </a:pathLst>
            </a:custGeom>
            <a:grpFill/>
            <a:ln w="25400" cap="flat">
              <a:noFill/>
              <a:prstDash val="solid"/>
              <a:miter lim="400000"/>
            </a:ln>
            <a:effectLst/>
          </p:spPr>
          <p:txBody>
            <a:bodyPr anchor="ctr"/>
            <a:lstStyle/>
            <a:p>
              <a:pPr algn="ctr"/>
              <a:endParaRPr/>
            </a:p>
          </p:txBody>
        </p:sp>
        <p:sp>
          <p:nvSpPr>
            <p:cNvPr id="227" name="任意多边形: 形状 226">
              <a:extLst>
                <a:ext uri="{FF2B5EF4-FFF2-40B4-BE49-F238E27FC236}">
                  <a16:creationId xmlns:a16="http://schemas.microsoft.com/office/drawing/2014/main" id="{5974D952-9B7D-4C1C-A7FF-60A44A002FC6}"/>
                </a:ext>
              </a:extLst>
            </p:cNvPr>
            <p:cNvSpPr/>
            <p:nvPr/>
          </p:nvSpPr>
          <p:spPr>
            <a:xfrm>
              <a:off x="3386807" y="3401248"/>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4009"/>
                  </a:lnTo>
                  <a:lnTo>
                    <a:pt x="4094" y="21600"/>
                  </a:lnTo>
                  <a:lnTo>
                    <a:pt x="19333" y="19457"/>
                  </a:lnTo>
                  <a:lnTo>
                    <a:pt x="21600" y="0"/>
                  </a:lnTo>
                  <a:close/>
                </a:path>
              </a:pathLst>
            </a:custGeom>
            <a:grpFill/>
            <a:ln w="25400" cap="flat">
              <a:noFill/>
              <a:prstDash val="solid"/>
              <a:miter lim="400000"/>
            </a:ln>
            <a:effectLst/>
          </p:spPr>
          <p:txBody>
            <a:bodyPr anchor="ctr"/>
            <a:lstStyle/>
            <a:p>
              <a:pPr algn="ctr"/>
              <a:endParaRPr/>
            </a:p>
          </p:txBody>
        </p:sp>
        <p:sp>
          <p:nvSpPr>
            <p:cNvPr id="228" name="任意多边形: 形状 227">
              <a:extLst>
                <a:ext uri="{FF2B5EF4-FFF2-40B4-BE49-F238E27FC236}">
                  <a16:creationId xmlns:a16="http://schemas.microsoft.com/office/drawing/2014/main" id="{AF53711F-65B1-4A27-8B83-E771D34843DB}"/>
                </a:ext>
              </a:extLst>
            </p:cNvPr>
            <p:cNvSpPr/>
            <p:nvPr/>
          </p:nvSpPr>
          <p:spPr>
            <a:xfrm>
              <a:off x="3471329" y="3432447"/>
              <a:ext cx="25215" cy="23805"/>
            </a:xfrm>
            <a:custGeom>
              <a:avLst/>
              <a:gdLst/>
              <a:ahLst/>
              <a:cxnLst>
                <a:cxn ang="0">
                  <a:pos x="wd2" y="hd2"/>
                </a:cxn>
                <a:cxn ang="5400000">
                  <a:pos x="wd2" y="hd2"/>
                </a:cxn>
                <a:cxn ang="10800000">
                  <a:pos x="wd2" y="hd2"/>
                </a:cxn>
                <a:cxn ang="16200000">
                  <a:pos x="wd2" y="hd2"/>
                </a:cxn>
              </a:cxnLst>
              <a:rect l="0" t="0" r="r" b="b"/>
              <a:pathLst>
                <a:path w="21600" h="21600" extrusionOk="0">
                  <a:moveTo>
                    <a:pt x="4658" y="0"/>
                  </a:moveTo>
                  <a:lnTo>
                    <a:pt x="0" y="6332"/>
                  </a:lnTo>
                  <a:lnTo>
                    <a:pt x="2862" y="20225"/>
                  </a:lnTo>
                  <a:lnTo>
                    <a:pt x="16398" y="21600"/>
                  </a:lnTo>
                  <a:lnTo>
                    <a:pt x="21600" y="13406"/>
                  </a:lnTo>
                  <a:lnTo>
                    <a:pt x="12259" y="9052"/>
                  </a:lnTo>
                  <a:lnTo>
                    <a:pt x="4658" y="0"/>
                  </a:lnTo>
                  <a:close/>
                </a:path>
              </a:pathLst>
            </a:custGeom>
            <a:grpFill/>
            <a:ln w="25400" cap="flat">
              <a:noFill/>
              <a:prstDash val="solid"/>
              <a:miter lim="400000"/>
            </a:ln>
            <a:effectLst/>
          </p:spPr>
          <p:txBody>
            <a:bodyPr anchor="ctr"/>
            <a:lstStyle/>
            <a:p>
              <a:pPr algn="ctr"/>
              <a:endParaRPr/>
            </a:p>
          </p:txBody>
        </p:sp>
        <p:sp>
          <p:nvSpPr>
            <p:cNvPr id="229" name="任意多边形: 形状 228">
              <a:extLst>
                <a:ext uri="{FF2B5EF4-FFF2-40B4-BE49-F238E27FC236}">
                  <a16:creationId xmlns:a16="http://schemas.microsoft.com/office/drawing/2014/main" id="{812AB4E8-348B-4842-8141-EB72C00EA08C}"/>
                </a:ext>
              </a:extLst>
            </p:cNvPr>
            <p:cNvSpPr/>
            <p:nvPr/>
          </p:nvSpPr>
          <p:spPr>
            <a:xfrm>
              <a:off x="3444546" y="3470941"/>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2399" y="0"/>
                  </a:moveTo>
                  <a:lnTo>
                    <a:pt x="0" y="5671"/>
                  </a:lnTo>
                  <a:lnTo>
                    <a:pt x="2675" y="21600"/>
                  </a:lnTo>
                  <a:lnTo>
                    <a:pt x="21600" y="16063"/>
                  </a:lnTo>
                  <a:lnTo>
                    <a:pt x="12399" y="0"/>
                  </a:lnTo>
                  <a:close/>
                </a:path>
              </a:pathLst>
            </a:custGeom>
            <a:grpFill/>
            <a:ln w="25400" cap="flat">
              <a:noFill/>
              <a:prstDash val="solid"/>
              <a:miter lim="400000"/>
            </a:ln>
            <a:effectLst/>
          </p:spPr>
          <p:txBody>
            <a:bodyPr anchor="ctr"/>
            <a:lstStyle/>
            <a:p>
              <a:pPr algn="ctr"/>
              <a:endParaRPr/>
            </a:p>
          </p:txBody>
        </p:sp>
        <p:sp>
          <p:nvSpPr>
            <p:cNvPr id="230" name="任意多边形: 形状 229">
              <a:extLst>
                <a:ext uri="{FF2B5EF4-FFF2-40B4-BE49-F238E27FC236}">
                  <a16:creationId xmlns:a16="http://schemas.microsoft.com/office/drawing/2014/main" id="{772432FE-4EA8-494F-AA28-D48393C30CC3}"/>
                </a:ext>
              </a:extLst>
            </p:cNvPr>
            <p:cNvSpPr/>
            <p:nvPr/>
          </p:nvSpPr>
          <p:spPr>
            <a:xfrm>
              <a:off x="3474836" y="3472701"/>
              <a:ext cx="20827" cy="33622"/>
            </a:xfrm>
            <a:custGeom>
              <a:avLst/>
              <a:gdLst/>
              <a:ahLst/>
              <a:cxnLst>
                <a:cxn ang="0">
                  <a:pos x="wd2" y="hd2"/>
                </a:cxn>
                <a:cxn ang="5400000">
                  <a:pos x="wd2" y="hd2"/>
                </a:cxn>
                <a:cxn ang="10800000">
                  <a:pos x="wd2" y="hd2"/>
                </a:cxn>
                <a:cxn ang="16200000">
                  <a:pos x="wd2" y="hd2"/>
                </a:cxn>
              </a:cxnLst>
              <a:rect l="0" t="0" r="r" b="b"/>
              <a:pathLst>
                <a:path w="21600" h="21600" extrusionOk="0">
                  <a:moveTo>
                    <a:pt x="5991" y="1945"/>
                  </a:moveTo>
                  <a:lnTo>
                    <a:pt x="1244" y="7766"/>
                  </a:lnTo>
                  <a:lnTo>
                    <a:pt x="0" y="16103"/>
                  </a:lnTo>
                  <a:lnTo>
                    <a:pt x="7919" y="21600"/>
                  </a:lnTo>
                  <a:lnTo>
                    <a:pt x="15566" y="13365"/>
                  </a:lnTo>
                  <a:lnTo>
                    <a:pt x="21600" y="6755"/>
                  </a:lnTo>
                  <a:lnTo>
                    <a:pt x="18962" y="0"/>
                  </a:lnTo>
                  <a:lnTo>
                    <a:pt x="5991" y="1945"/>
                  </a:lnTo>
                  <a:close/>
                </a:path>
              </a:pathLst>
            </a:custGeom>
            <a:grpFill/>
            <a:ln w="25400" cap="flat">
              <a:noFill/>
              <a:prstDash val="solid"/>
              <a:miter lim="400000"/>
            </a:ln>
            <a:effectLst/>
          </p:spPr>
          <p:txBody>
            <a:bodyPr anchor="ctr"/>
            <a:lstStyle/>
            <a:p>
              <a:pPr algn="ctr"/>
              <a:endParaRPr/>
            </a:p>
          </p:txBody>
        </p:sp>
        <p:sp>
          <p:nvSpPr>
            <p:cNvPr id="231" name="任意多边形: 形状 230">
              <a:extLst>
                <a:ext uri="{FF2B5EF4-FFF2-40B4-BE49-F238E27FC236}">
                  <a16:creationId xmlns:a16="http://schemas.microsoft.com/office/drawing/2014/main" id="{68B8EB32-E43B-4D8A-8F20-ECFEABF4A320}"/>
                </a:ext>
              </a:extLst>
            </p:cNvPr>
            <p:cNvSpPr/>
            <p:nvPr/>
          </p:nvSpPr>
          <p:spPr>
            <a:xfrm>
              <a:off x="3486460" y="3511833"/>
              <a:ext cx="18556" cy="17467"/>
            </a:xfrm>
            <a:custGeom>
              <a:avLst/>
              <a:gdLst/>
              <a:ahLst/>
              <a:cxnLst>
                <a:cxn ang="0">
                  <a:pos x="wd2" y="hd2"/>
                </a:cxn>
                <a:cxn ang="5400000">
                  <a:pos x="wd2" y="hd2"/>
                </a:cxn>
                <a:cxn ang="10800000">
                  <a:pos x="wd2" y="hd2"/>
                </a:cxn>
                <a:cxn ang="16200000">
                  <a:pos x="wd2" y="hd2"/>
                </a:cxn>
              </a:cxnLst>
              <a:rect l="0" t="0" r="r" b="b"/>
              <a:pathLst>
                <a:path w="21600" h="21600" extrusionOk="0">
                  <a:moveTo>
                    <a:pt x="14469" y="0"/>
                  </a:moveTo>
                  <a:lnTo>
                    <a:pt x="4293" y="1913"/>
                  </a:lnTo>
                  <a:lnTo>
                    <a:pt x="0" y="13206"/>
                  </a:lnTo>
                  <a:lnTo>
                    <a:pt x="8574" y="21600"/>
                  </a:lnTo>
                  <a:lnTo>
                    <a:pt x="21600" y="15041"/>
                  </a:lnTo>
                  <a:lnTo>
                    <a:pt x="14469" y="0"/>
                  </a:lnTo>
                  <a:close/>
                </a:path>
              </a:pathLst>
            </a:custGeom>
            <a:grpFill/>
            <a:ln w="25400" cap="flat">
              <a:noFill/>
              <a:prstDash val="solid"/>
              <a:miter lim="400000"/>
            </a:ln>
            <a:effectLst/>
          </p:spPr>
          <p:txBody>
            <a:bodyPr anchor="ctr"/>
            <a:lstStyle/>
            <a:p>
              <a:pPr algn="ctr"/>
              <a:endParaRPr/>
            </a:p>
          </p:txBody>
        </p:sp>
        <p:sp>
          <p:nvSpPr>
            <p:cNvPr id="232" name="任意多边形: 形状 231">
              <a:extLst>
                <a:ext uri="{FF2B5EF4-FFF2-40B4-BE49-F238E27FC236}">
                  <a16:creationId xmlns:a16="http://schemas.microsoft.com/office/drawing/2014/main" id="{D40B54BC-0CC5-4C9D-8579-E4285C2A4EE1}"/>
                </a:ext>
              </a:extLst>
            </p:cNvPr>
            <p:cNvSpPr/>
            <p:nvPr/>
          </p:nvSpPr>
          <p:spPr>
            <a:xfrm>
              <a:off x="3201743" y="3611230"/>
              <a:ext cx="24821" cy="34310"/>
            </a:xfrm>
            <a:custGeom>
              <a:avLst/>
              <a:gdLst/>
              <a:ahLst/>
              <a:cxnLst>
                <a:cxn ang="0">
                  <a:pos x="wd2" y="hd2"/>
                </a:cxn>
                <a:cxn ang="5400000">
                  <a:pos x="wd2" y="hd2"/>
                </a:cxn>
                <a:cxn ang="10800000">
                  <a:pos x="wd2" y="hd2"/>
                </a:cxn>
                <a:cxn ang="16200000">
                  <a:pos x="wd2" y="hd2"/>
                </a:cxn>
              </a:cxnLst>
              <a:rect l="0" t="0" r="r" b="b"/>
              <a:pathLst>
                <a:path w="21600" h="21600" extrusionOk="0">
                  <a:moveTo>
                    <a:pt x="5948" y="0"/>
                  </a:moveTo>
                  <a:lnTo>
                    <a:pt x="0" y="7133"/>
                  </a:lnTo>
                  <a:lnTo>
                    <a:pt x="2568" y="12598"/>
                  </a:lnTo>
                  <a:lnTo>
                    <a:pt x="10534" y="21600"/>
                  </a:lnTo>
                  <a:lnTo>
                    <a:pt x="21600" y="16991"/>
                  </a:lnTo>
                  <a:lnTo>
                    <a:pt x="13411" y="4789"/>
                  </a:lnTo>
                  <a:lnTo>
                    <a:pt x="5948" y="0"/>
                  </a:lnTo>
                  <a:close/>
                </a:path>
              </a:pathLst>
            </a:custGeom>
            <a:grpFill/>
            <a:ln w="25400" cap="flat">
              <a:noFill/>
              <a:prstDash val="solid"/>
              <a:miter lim="400000"/>
            </a:ln>
            <a:effectLst/>
          </p:spPr>
          <p:txBody>
            <a:bodyPr anchor="ctr"/>
            <a:lstStyle/>
            <a:p>
              <a:pPr algn="ctr"/>
              <a:endParaRPr/>
            </a:p>
          </p:txBody>
        </p:sp>
        <p:sp>
          <p:nvSpPr>
            <p:cNvPr id="233" name="任意多边形: 形状 232">
              <a:extLst>
                <a:ext uri="{FF2B5EF4-FFF2-40B4-BE49-F238E27FC236}">
                  <a16:creationId xmlns:a16="http://schemas.microsoft.com/office/drawing/2014/main" id="{5D2ABFFE-E6C7-4E4B-A1A0-EB6BA106B618}"/>
                </a:ext>
              </a:extLst>
            </p:cNvPr>
            <p:cNvSpPr/>
            <p:nvPr/>
          </p:nvSpPr>
          <p:spPr>
            <a:xfrm>
              <a:off x="3163762" y="3609243"/>
              <a:ext cx="17550" cy="29518"/>
            </a:xfrm>
            <a:custGeom>
              <a:avLst/>
              <a:gdLst/>
              <a:ahLst/>
              <a:cxnLst>
                <a:cxn ang="0">
                  <a:pos x="wd2" y="hd2"/>
                </a:cxn>
                <a:cxn ang="5400000">
                  <a:pos x="wd2" y="hd2"/>
                </a:cxn>
                <a:cxn ang="10800000">
                  <a:pos x="wd2" y="hd2"/>
                </a:cxn>
                <a:cxn ang="16200000">
                  <a:pos x="wd2" y="hd2"/>
                </a:cxn>
              </a:cxnLst>
              <a:rect l="0" t="0" r="r" b="b"/>
              <a:pathLst>
                <a:path w="21600" h="21600" extrusionOk="0">
                  <a:moveTo>
                    <a:pt x="2385" y="0"/>
                  </a:moveTo>
                  <a:lnTo>
                    <a:pt x="0" y="5129"/>
                  </a:lnTo>
                  <a:lnTo>
                    <a:pt x="434" y="19428"/>
                  </a:lnTo>
                  <a:lnTo>
                    <a:pt x="19135" y="21600"/>
                  </a:lnTo>
                  <a:lnTo>
                    <a:pt x="21600" y="14762"/>
                  </a:lnTo>
                  <a:lnTo>
                    <a:pt x="16043" y="5916"/>
                  </a:lnTo>
                  <a:lnTo>
                    <a:pt x="2385" y="0"/>
                  </a:lnTo>
                  <a:close/>
                </a:path>
              </a:pathLst>
            </a:custGeom>
            <a:grpFill/>
            <a:ln w="25400" cap="flat">
              <a:noFill/>
              <a:prstDash val="solid"/>
              <a:miter lim="400000"/>
            </a:ln>
            <a:effectLst/>
          </p:spPr>
          <p:txBody>
            <a:bodyPr anchor="ctr"/>
            <a:lstStyle/>
            <a:p>
              <a:pPr algn="ctr"/>
              <a:endParaRPr/>
            </a:p>
          </p:txBody>
        </p:sp>
        <p:sp>
          <p:nvSpPr>
            <p:cNvPr id="234" name="任意多边形: 形状 233">
              <a:extLst>
                <a:ext uri="{FF2B5EF4-FFF2-40B4-BE49-F238E27FC236}">
                  <a16:creationId xmlns:a16="http://schemas.microsoft.com/office/drawing/2014/main" id="{822AA8EA-8D1F-4489-B4F1-C99A3665C60E}"/>
                </a:ext>
              </a:extLst>
            </p:cNvPr>
            <p:cNvSpPr/>
            <p:nvPr/>
          </p:nvSpPr>
          <p:spPr>
            <a:xfrm>
              <a:off x="3499270" y="3543405"/>
              <a:ext cx="20061" cy="18682"/>
            </a:xfrm>
            <a:custGeom>
              <a:avLst/>
              <a:gdLst/>
              <a:ahLst/>
              <a:cxnLst>
                <a:cxn ang="0">
                  <a:pos x="wd2" y="hd2"/>
                </a:cxn>
                <a:cxn ang="5400000">
                  <a:pos x="wd2" y="hd2"/>
                </a:cxn>
                <a:cxn ang="10800000">
                  <a:pos x="wd2" y="hd2"/>
                </a:cxn>
                <a:cxn ang="16200000">
                  <a:pos x="wd2" y="hd2"/>
                </a:cxn>
              </a:cxnLst>
              <a:rect l="0" t="0" r="r" b="b"/>
              <a:pathLst>
                <a:path w="21600" h="21600" extrusionOk="0">
                  <a:moveTo>
                    <a:pt x="8114" y="0"/>
                  </a:moveTo>
                  <a:lnTo>
                    <a:pt x="0" y="7264"/>
                  </a:lnTo>
                  <a:lnTo>
                    <a:pt x="3469" y="21600"/>
                  </a:lnTo>
                  <a:lnTo>
                    <a:pt x="16705" y="21600"/>
                  </a:lnTo>
                  <a:lnTo>
                    <a:pt x="21600" y="6746"/>
                  </a:lnTo>
                  <a:lnTo>
                    <a:pt x="8114" y="0"/>
                  </a:lnTo>
                  <a:close/>
                </a:path>
              </a:pathLst>
            </a:custGeom>
            <a:grpFill/>
            <a:ln w="25400" cap="flat">
              <a:noFill/>
              <a:prstDash val="solid"/>
              <a:miter lim="400000"/>
            </a:ln>
            <a:effectLst/>
          </p:spPr>
          <p:txBody>
            <a:bodyPr anchor="ctr"/>
            <a:lstStyle/>
            <a:p>
              <a:pPr algn="ctr"/>
              <a:endParaRPr/>
            </a:p>
          </p:txBody>
        </p:sp>
        <p:sp>
          <p:nvSpPr>
            <p:cNvPr id="235" name="任意多边形: 形状 234">
              <a:extLst>
                <a:ext uri="{FF2B5EF4-FFF2-40B4-BE49-F238E27FC236}">
                  <a16:creationId xmlns:a16="http://schemas.microsoft.com/office/drawing/2014/main" id="{0FCA502A-A5B0-480F-9628-C7B549C2A29D}"/>
                </a:ext>
              </a:extLst>
            </p:cNvPr>
            <p:cNvSpPr/>
            <p:nvPr/>
          </p:nvSpPr>
          <p:spPr>
            <a:xfrm>
              <a:off x="3477190" y="3573359"/>
              <a:ext cx="16360" cy="23674"/>
            </a:xfrm>
            <a:custGeom>
              <a:avLst/>
              <a:gdLst/>
              <a:ahLst/>
              <a:cxnLst>
                <a:cxn ang="0">
                  <a:pos x="wd2" y="hd2"/>
                </a:cxn>
                <a:cxn ang="5400000">
                  <a:pos x="wd2" y="hd2"/>
                </a:cxn>
                <a:cxn ang="10800000">
                  <a:pos x="wd2" y="hd2"/>
                </a:cxn>
                <a:cxn ang="16200000">
                  <a:pos x="wd2" y="hd2"/>
                </a:cxn>
              </a:cxnLst>
              <a:rect l="0" t="0" r="r" b="b"/>
              <a:pathLst>
                <a:path w="21600" h="21600" extrusionOk="0">
                  <a:moveTo>
                    <a:pt x="7562" y="0"/>
                  </a:moveTo>
                  <a:lnTo>
                    <a:pt x="0" y="10629"/>
                  </a:lnTo>
                  <a:lnTo>
                    <a:pt x="15829" y="21600"/>
                  </a:lnTo>
                  <a:lnTo>
                    <a:pt x="21600" y="10397"/>
                  </a:lnTo>
                  <a:lnTo>
                    <a:pt x="7562" y="0"/>
                  </a:lnTo>
                  <a:close/>
                </a:path>
              </a:pathLst>
            </a:custGeom>
            <a:grpFill/>
            <a:ln w="25400" cap="flat">
              <a:noFill/>
              <a:prstDash val="solid"/>
              <a:miter lim="400000"/>
            </a:ln>
            <a:effectLst/>
          </p:spPr>
          <p:txBody>
            <a:bodyPr anchor="ctr"/>
            <a:lstStyle/>
            <a:p>
              <a:pPr algn="ctr"/>
              <a:endParaRPr/>
            </a:p>
          </p:txBody>
        </p:sp>
        <p:sp>
          <p:nvSpPr>
            <p:cNvPr id="236" name="任意多边形: 形状 235">
              <a:extLst>
                <a:ext uri="{FF2B5EF4-FFF2-40B4-BE49-F238E27FC236}">
                  <a16:creationId xmlns:a16="http://schemas.microsoft.com/office/drawing/2014/main" id="{5BB54F72-8C4B-40F3-8D6F-0B8BED68935D}"/>
                </a:ext>
              </a:extLst>
            </p:cNvPr>
            <p:cNvSpPr/>
            <p:nvPr/>
          </p:nvSpPr>
          <p:spPr>
            <a:xfrm>
              <a:off x="3463227" y="3603633"/>
              <a:ext cx="16360" cy="18373"/>
            </a:xfrm>
            <a:custGeom>
              <a:avLst/>
              <a:gdLst/>
              <a:ahLst/>
              <a:cxnLst>
                <a:cxn ang="0">
                  <a:pos x="wd2" y="hd2"/>
                </a:cxn>
                <a:cxn ang="5400000">
                  <a:pos x="wd2" y="hd2"/>
                </a:cxn>
                <a:cxn ang="10800000">
                  <a:pos x="wd2" y="hd2"/>
                </a:cxn>
                <a:cxn ang="16200000">
                  <a:pos x="wd2" y="hd2"/>
                </a:cxn>
              </a:cxnLst>
              <a:rect l="0" t="0" r="r" b="b"/>
              <a:pathLst>
                <a:path w="21600" h="21600" extrusionOk="0">
                  <a:moveTo>
                    <a:pt x="5327" y="736"/>
                  </a:moveTo>
                  <a:lnTo>
                    <a:pt x="0" y="9568"/>
                  </a:lnTo>
                  <a:lnTo>
                    <a:pt x="5961" y="21600"/>
                  </a:lnTo>
                  <a:lnTo>
                    <a:pt x="20526" y="21266"/>
                  </a:lnTo>
                  <a:lnTo>
                    <a:pt x="21600" y="0"/>
                  </a:lnTo>
                  <a:lnTo>
                    <a:pt x="5327" y="736"/>
                  </a:lnTo>
                  <a:close/>
                </a:path>
              </a:pathLst>
            </a:custGeom>
            <a:grpFill/>
            <a:ln w="25400" cap="flat">
              <a:noFill/>
              <a:prstDash val="solid"/>
              <a:miter lim="400000"/>
            </a:ln>
            <a:effectLst/>
          </p:spPr>
          <p:txBody>
            <a:bodyPr anchor="ctr"/>
            <a:lstStyle/>
            <a:p>
              <a:pPr algn="ctr"/>
              <a:endParaRPr/>
            </a:p>
          </p:txBody>
        </p:sp>
        <p:sp>
          <p:nvSpPr>
            <p:cNvPr id="237" name="任意多边形: 形状 236">
              <a:extLst>
                <a:ext uri="{FF2B5EF4-FFF2-40B4-BE49-F238E27FC236}">
                  <a16:creationId xmlns:a16="http://schemas.microsoft.com/office/drawing/2014/main" id="{9C81765A-7344-4829-9F07-2FF2508A3424}"/>
                </a:ext>
              </a:extLst>
            </p:cNvPr>
            <p:cNvSpPr/>
            <p:nvPr/>
          </p:nvSpPr>
          <p:spPr>
            <a:xfrm>
              <a:off x="3443086" y="3638761"/>
              <a:ext cx="16360" cy="22038"/>
            </a:xfrm>
            <a:custGeom>
              <a:avLst/>
              <a:gdLst/>
              <a:ahLst/>
              <a:cxnLst>
                <a:cxn ang="0">
                  <a:pos x="wd2" y="hd2"/>
                </a:cxn>
                <a:cxn ang="5400000">
                  <a:pos x="wd2" y="hd2"/>
                </a:cxn>
                <a:cxn ang="10800000">
                  <a:pos x="wd2" y="hd2"/>
                </a:cxn>
                <a:cxn ang="16200000">
                  <a:pos x="wd2" y="hd2"/>
                </a:cxn>
              </a:cxnLst>
              <a:rect l="0" t="0" r="r" b="b"/>
              <a:pathLst>
                <a:path w="21600" h="21600" extrusionOk="0">
                  <a:moveTo>
                    <a:pt x="11127" y="0"/>
                  </a:moveTo>
                  <a:lnTo>
                    <a:pt x="0" y="9654"/>
                  </a:lnTo>
                  <a:lnTo>
                    <a:pt x="3308" y="20145"/>
                  </a:lnTo>
                  <a:lnTo>
                    <a:pt x="16235" y="21600"/>
                  </a:lnTo>
                  <a:lnTo>
                    <a:pt x="21600" y="6811"/>
                  </a:lnTo>
                  <a:lnTo>
                    <a:pt x="11127" y="0"/>
                  </a:lnTo>
                  <a:close/>
                </a:path>
              </a:pathLst>
            </a:custGeom>
            <a:grpFill/>
            <a:ln w="25400" cap="flat">
              <a:noFill/>
              <a:prstDash val="solid"/>
              <a:miter lim="400000"/>
            </a:ln>
            <a:effectLst/>
          </p:spPr>
          <p:txBody>
            <a:bodyPr anchor="ctr"/>
            <a:lstStyle/>
            <a:p>
              <a:pPr algn="ctr"/>
              <a:endParaRPr/>
            </a:p>
          </p:txBody>
        </p:sp>
        <p:sp>
          <p:nvSpPr>
            <p:cNvPr id="238" name="任意多边形: 形状 237">
              <a:extLst>
                <a:ext uri="{FF2B5EF4-FFF2-40B4-BE49-F238E27FC236}">
                  <a16:creationId xmlns:a16="http://schemas.microsoft.com/office/drawing/2014/main" id="{C8D7FF6B-2732-43F7-A41E-6233CA5B5231}"/>
                </a:ext>
              </a:extLst>
            </p:cNvPr>
            <p:cNvSpPr/>
            <p:nvPr/>
          </p:nvSpPr>
          <p:spPr>
            <a:xfrm>
              <a:off x="3429659" y="3689387"/>
              <a:ext cx="39165" cy="38527"/>
            </a:xfrm>
            <a:custGeom>
              <a:avLst/>
              <a:gdLst/>
              <a:ahLst/>
              <a:cxnLst>
                <a:cxn ang="0">
                  <a:pos x="wd2" y="hd2"/>
                </a:cxn>
                <a:cxn ang="5400000">
                  <a:pos x="wd2" y="hd2"/>
                </a:cxn>
                <a:cxn ang="10800000">
                  <a:pos x="wd2" y="hd2"/>
                </a:cxn>
                <a:cxn ang="16200000">
                  <a:pos x="wd2" y="hd2"/>
                </a:cxn>
              </a:cxnLst>
              <a:rect l="0" t="0" r="r" b="b"/>
              <a:pathLst>
                <a:path w="21600" h="21600" extrusionOk="0">
                  <a:moveTo>
                    <a:pt x="14904" y="867"/>
                  </a:moveTo>
                  <a:lnTo>
                    <a:pt x="8331" y="0"/>
                  </a:lnTo>
                  <a:lnTo>
                    <a:pt x="2816" y="2733"/>
                  </a:lnTo>
                  <a:lnTo>
                    <a:pt x="6666" y="6397"/>
                  </a:lnTo>
                  <a:lnTo>
                    <a:pt x="2928" y="11440"/>
                  </a:lnTo>
                  <a:lnTo>
                    <a:pt x="0" y="16520"/>
                  </a:lnTo>
                  <a:lnTo>
                    <a:pt x="4665" y="21600"/>
                  </a:lnTo>
                  <a:lnTo>
                    <a:pt x="15744" y="21600"/>
                  </a:lnTo>
                  <a:lnTo>
                    <a:pt x="16989" y="14679"/>
                  </a:lnTo>
                  <a:lnTo>
                    <a:pt x="17830" y="9194"/>
                  </a:lnTo>
                  <a:lnTo>
                    <a:pt x="21600" y="3831"/>
                  </a:lnTo>
                  <a:lnTo>
                    <a:pt x="19513" y="592"/>
                  </a:lnTo>
                  <a:lnTo>
                    <a:pt x="14904" y="867"/>
                  </a:lnTo>
                  <a:close/>
                </a:path>
              </a:pathLst>
            </a:custGeom>
            <a:grpFill/>
            <a:ln w="25400" cap="flat">
              <a:noFill/>
              <a:prstDash val="solid"/>
              <a:miter lim="400000"/>
            </a:ln>
            <a:effectLst/>
          </p:spPr>
          <p:txBody>
            <a:bodyPr anchor="ctr"/>
            <a:lstStyle/>
            <a:p>
              <a:pPr algn="ctr"/>
              <a:endParaRPr/>
            </a:p>
          </p:txBody>
        </p:sp>
        <p:sp>
          <p:nvSpPr>
            <p:cNvPr id="239" name="任意多边形: 形状 238">
              <a:extLst>
                <a:ext uri="{FF2B5EF4-FFF2-40B4-BE49-F238E27FC236}">
                  <a16:creationId xmlns:a16="http://schemas.microsoft.com/office/drawing/2014/main" id="{5D7F9E67-89DD-480F-8B8A-7F80C0C3222D}"/>
                </a:ext>
              </a:extLst>
            </p:cNvPr>
            <p:cNvSpPr/>
            <p:nvPr/>
          </p:nvSpPr>
          <p:spPr>
            <a:xfrm>
              <a:off x="3541688" y="3591732"/>
              <a:ext cx="25710" cy="21915"/>
            </a:xfrm>
            <a:custGeom>
              <a:avLst/>
              <a:gdLst/>
              <a:ahLst/>
              <a:cxnLst>
                <a:cxn ang="0">
                  <a:pos x="wd2" y="hd2"/>
                </a:cxn>
                <a:cxn ang="5400000">
                  <a:pos x="wd2" y="hd2"/>
                </a:cxn>
                <a:cxn ang="10800000">
                  <a:pos x="wd2" y="hd2"/>
                </a:cxn>
                <a:cxn ang="16200000">
                  <a:pos x="wd2" y="hd2"/>
                </a:cxn>
              </a:cxnLst>
              <a:rect l="0" t="0" r="r" b="b"/>
              <a:pathLst>
                <a:path w="21600" h="21600" extrusionOk="0">
                  <a:moveTo>
                    <a:pt x="6204" y="0"/>
                  </a:moveTo>
                  <a:lnTo>
                    <a:pt x="385" y="10265"/>
                  </a:lnTo>
                  <a:lnTo>
                    <a:pt x="0" y="20853"/>
                  </a:lnTo>
                  <a:lnTo>
                    <a:pt x="13483" y="21600"/>
                  </a:lnTo>
                  <a:lnTo>
                    <a:pt x="21600" y="18646"/>
                  </a:lnTo>
                  <a:lnTo>
                    <a:pt x="9663" y="9934"/>
                  </a:lnTo>
                  <a:lnTo>
                    <a:pt x="6204" y="0"/>
                  </a:lnTo>
                  <a:close/>
                </a:path>
              </a:pathLst>
            </a:custGeom>
            <a:grpFill/>
            <a:ln w="25400" cap="flat">
              <a:noFill/>
              <a:prstDash val="solid"/>
              <a:miter lim="400000"/>
            </a:ln>
            <a:effectLst/>
          </p:spPr>
          <p:txBody>
            <a:bodyPr anchor="ctr"/>
            <a:lstStyle/>
            <a:p>
              <a:pPr algn="ctr"/>
              <a:endParaRPr/>
            </a:p>
          </p:txBody>
        </p:sp>
        <p:sp>
          <p:nvSpPr>
            <p:cNvPr id="240" name="任意多边形: 形状 239">
              <a:extLst>
                <a:ext uri="{FF2B5EF4-FFF2-40B4-BE49-F238E27FC236}">
                  <a16:creationId xmlns:a16="http://schemas.microsoft.com/office/drawing/2014/main" id="{EAE4389C-0D5B-47BF-AE53-D1B1C0FAA2C2}"/>
                </a:ext>
              </a:extLst>
            </p:cNvPr>
            <p:cNvSpPr/>
            <p:nvPr/>
          </p:nvSpPr>
          <p:spPr>
            <a:xfrm>
              <a:off x="3470588" y="3663018"/>
              <a:ext cx="21475" cy="16360"/>
            </a:xfrm>
            <a:custGeom>
              <a:avLst/>
              <a:gdLst/>
              <a:ahLst/>
              <a:cxnLst>
                <a:cxn ang="0">
                  <a:pos x="wd2" y="hd2"/>
                </a:cxn>
                <a:cxn ang="5400000">
                  <a:pos x="wd2" y="hd2"/>
                </a:cxn>
                <a:cxn ang="10800000">
                  <a:pos x="wd2" y="hd2"/>
                </a:cxn>
                <a:cxn ang="16200000">
                  <a:pos x="wd2" y="hd2"/>
                </a:cxn>
              </a:cxnLst>
              <a:rect l="0" t="0" r="r" b="b"/>
              <a:pathLst>
                <a:path w="21600" h="21600" extrusionOk="0">
                  <a:moveTo>
                    <a:pt x="17020" y="3205"/>
                  </a:moveTo>
                  <a:lnTo>
                    <a:pt x="7333" y="0"/>
                  </a:lnTo>
                  <a:lnTo>
                    <a:pt x="0" y="8914"/>
                  </a:lnTo>
                  <a:lnTo>
                    <a:pt x="4730" y="21600"/>
                  </a:lnTo>
                  <a:lnTo>
                    <a:pt x="21600" y="21600"/>
                  </a:lnTo>
                  <a:lnTo>
                    <a:pt x="17020" y="3205"/>
                  </a:lnTo>
                  <a:close/>
                </a:path>
              </a:pathLst>
            </a:custGeom>
            <a:grpFill/>
            <a:ln w="25400" cap="flat">
              <a:noFill/>
              <a:prstDash val="solid"/>
              <a:miter lim="400000"/>
            </a:ln>
            <a:effectLst/>
          </p:spPr>
          <p:txBody>
            <a:bodyPr anchor="ctr"/>
            <a:lstStyle/>
            <a:p>
              <a:pPr algn="ctr"/>
              <a:endParaRPr/>
            </a:p>
          </p:txBody>
        </p:sp>
        <p:sp>
          <p:nvSpPr>
            <p:cNvPr id="241" name="任意多边形: 形状 240">
              <a:extLst>
                <a:ext uri="{FF2B5EF4-FFF2-40B4-BE49-F238E27FC236}">
                  <a16:creationId xmlns:a16="http://schemas.microsoft.com/office/drawing/2014/main" id="{758824A0-32B9-463E-BF7D-94D9D72B9885}"/>
                </a:ext>
              </a:extLst>
            </p:cNvPr>
            <p:cNvSpPr/>
            <p:nvPr/>
          </p:nvSpPr>
          <p:spPr>
            <a:xfrm>
              <a:off x="1825926" y="2244407"/>
              <a:ext cx="83204" cy="74274"/>
            </a:xfrm>
            <a:custGeom>
              <a:avLst/>
              <a:gdLst/>
              <a:ahLst/>
              <a:cxnLst>
                <a:cxn ang="0">
                  <a:pos x="wd2" y="hd2"/>
                </a:cxn>
                <a:cxn ang="5400000">
                  <a:pos x="wd2" y="hd2"/>
                </a:cxn>
                <a:cxn ang="10800000">
                  <a:pos x="wd2" y="hd2"/>
                </a:cxn>
                <a:cxn ang="16200000">
                  <a:pos x="wd2" y="hd2"/>
                </a:cxn>
              </a:cxnLst>
              <a:rect l="0" t="0" r="r" b="b"/>
              <a:pathLst>
                <a:path w="21600" h="21600" extrusionOk="0">
                  <a:moveTo>
                    <a:pt x="6117" y="146"/>
                  </a:moveTo>
                  <a:lnTo>
                    <a:pt x="3502" y="1771"/>
                  </a:lnTo>
                  <a:lnTo>
                    <a:pt x="0" y="2955"/>
                  </a:lnTo>
                  <a:lnTo>
                    <a:pt x="708" y="6398"/>
                  </a:lnTo>
                  <a:lnTo>
                    <a:pt x="4312" y="9886"/>
                  </a:lnTo>
                  <a:lnTo>
                    <a:pt x="5691" y="13614"/>
                  </a:lnTo>
                  <a:lnTo>
                    <a:pt x="8851" y="16257"/>
                  </a:lnTo>
                  <a:lnTo>
                    <a:pt x="10889" y="16698"/>
                  </a:lnTo>
                  <a:lnTo>
                    <a:pt x="13588" y="19994"/>
                  </a:lnTo>
                  <a:lnTo>
                    <a:pt x="16096" y="21600"/>
                  </a:lnTo>
                  <a:lnTo>
                    <a:pt x="19232" y="21600"/>
                  </a:lnTo>
                  <a:lnTo>
                    <a:pt x="21394" y="20279"/>
                  </a:lnTo>
                  <a:lnTo>
                    <a:pt x="21600" y="17056"/>
                  </a:lnTo>
                  <a:lnTo>
                    <a:pt x="19554" y="13017"/>
                  </a:lnTo>
                  <a:lnTo>
                    <a:pt x="19158" y="10006"/>
                  </a:lnTo>
                  <a:lnTo>
                    <a:pt x="17375" y="5389"/>
                  </a:lnTo>
                  <a:lnTo>
                    <a:pt x="14075" y="5389"/>
                  </a:lnTo>
                  <a:lnTo>
                    <a:pt x="11979" y="3782"/>
                  </a:lnTo>
                  <a:lnTo>
                    <a:pt x="10857" y="1891"/>
                  </a:lnTo>
                  <a:lnTo>
                    <a:pt x="8909" y="0"/>
                  </a:lnTo>
                  <a:lnTo>
                    <a:pt x="6117" y="146"/>
                  </a:lnTo>
                  <a:close/>
                </a:path>
              </a:pathLst>
            </a:custGeom>
            <a:grpFill/>
            <a:ln w="25400" cap="flat">
              <a:noFill/>
              <a:prstDash val="solid"/>
              <a:miter lim="400000"/>
            </a:ln>
            <a:effectLst/>
          </p:spPr>
          <p:txBody>
            <a:bodyPr anchor="ctr"/>
            <a:lstStyle/>
            <a:p>
              <a:pPr algn="ctr"/>
              <a:endParaRPr/>
            </a:p>
          </p:txBody>
        </p:sp>
        <p:sp>
          <p:nvSpPr>
            <p:cNvPr id="242" name="任意多边形: 形状 241">
              <a:extLst>
                <a:ext uri="{FF2B5EF4-FFF2-40B4-BE49-F238E27FC236}">
                  <a16:creationId xmlns:a16="http://schemas.microsoft.com/office/drawing/2014/main" id="{D1AE26CB-3BAE-4523-9F04-674C3810BFF8}"/>
                </a:ext>
              </a:extLst>
            </p:cNvPr>
            <p:cNvSpPr/>
            <p:nvPr/>
          </p:nvSpPr>
          <p:spPr>
            <a:xfrm>
              <a:off x="1823323" y="2056804"/>
              <a:ext cx="44228" cy="48802"/>
            </a:xfrm>
            <a:custGeom>
              <a:avLst/>
              <a:gdLst/>
              <a:ahLst/>
              <a:cxnLst>
                <a:cxn ang="0">
                  <a:pos x="wd2" y="hd2"/>
                </a:cxn>
                <a:cxn ang="5400000">
                  <a:pos x="wd2" y="hd2"/>
                </a:cxn>
                <a:cxn ang="10800000">
                  <a:pos x="wd2" y="hd2"/>
                </a:cxn>
                <a:cxn ang="16200000">
                  <a:pos x="wd2" y="hd2"/>
                </a:cxn>
              </a:cxnLst>
              <a:rect l="0" t="0" r="r" b="b"/>
              <a:pathLst>
                <a:path w="21600" h="21600" extrusionOk="0">
                  <a:moveTo>
                    <a:pt x="16460" y="0"/>
                  </a:moveTo>
                  <a:lnTo>
                    <a:pt x="9924" y="1900"/>
                  </a:lnTo>
                  <a:lnTo>
                    <a:pt x="4018" y="6719"/>
                  </a:lnTo>
                  <a:lnTo>
                    <a:pt x="0" y="11386"/>
                  </a:lnTo>
                  <a:lnTo>
                    <a:pt x="7069" y="14725"/>
                  </a:lnTo>
                  <a:lnTo>
                    <a:pt x="9537" y="18288"/>
                  </a:lnTo>
                  <a:lnTo>
                    <a:pt x="13341" y="21600"/>
                  </a:lnTo>
                  <a:lnTo>
                    <a:pt x="16742" y="19182"/>
                  </a:lnTo>
                  <a:lnTo>
                    <a:pt x="14522" y="13942"/>
                  </a:lnTo>
                  <a:lnTo>
                    <a:pt x="18621" y="10604"/>
                  </a:lnTo>
                  <a:lnTo>
                    <a:pt x="21600" y="4903"/>
                  </a:lnTo>
                  <a:lnTo>
                    <a:pt x="16460" y="0"/>
                  </a:lnTo>
                  <a:close/>
                </a:path>
              </a:pathLst>
            </a:custGeom>
            <a:grpFill/>
            <a:ln w="25400" cap="flat">
              <a:noFill/>
              <a:prstDash val="solid"/>
              <a:miter lim="400000"/>
            </a:ln>
            <a:effectLst/>
          </p:spPr>
          <p:txBody>
            <a:bodyPr anchor="ctr"/>
            <a:lstStyle/>
            <a:p>
              <a:pPr algn="ctr"/>
              <a:endParaRPr/>
            </a:p>
          </p:txBody>
        </p:sp>
        <p:sp>
          <p:nvSpPr>
            <p:cNvPr id="243" name="任意多边形: 形状 242">
              <a:extLst>
                <a:ext uri="{FF2B5EF4-FFF2-40B4-BE49-F238E27FC236}">
                  <a16:creationId xmlns:a16="http://schemas.microsoft.com/office/drawing/2014/main" id="{11C815D8-F01E-4F4C-BA80-949FC4119502}"/>
                </a:ext>
              </a:extLst>
            </p:cNvPr>
            <p:cNvSpPr/>
            <p:nvPr/>
          </p:nvSpPr>
          <p:spPr>
            <a:xfrm>
              <a:off x="1819244" y="2000935"/>
              <a:ext cx="28061" cy="42326"/>
            </a:xfrm>
            <a:custGeom>
              <a:avLst/>
              <a:gdLst/>
              <a:ahLst/>
              <a:cxnLst>
                <a:cxn ang="0">
                  <a:pos x="wd2" y="hd2"/>
                </a:cxn>
                <a:cxn ang="5400000">
                  <a:pos x="wd2" y="hd2"/>
                </a:cxn>
                <a:cxn ang="10800000">
                  <a:pos x="wd2" y="hd2"/>
                </a:cxn>
                <a:cxn ang="16200000">
                  <a:pos x="wd2" y="hd2"/>
                </a:cxn>
              </a:cxnLst>
              <a:rect l="0" t="0" r="r" b="b"/>
              <a:pathLst>
                <a:path w="21600" h="21600" extrusionOk="0">
                  <a:moveTo>
                    <a:pt x="15900" y="0"/>
                  </a:moveTo>
                  <a:lnTo>
                    <a:pt x="5701" y="4155"/>
                  </a:lnTo>
                  <a:lnTo>
                    <a:pt x="0" y="9292"/>
                  </a:lnTo>
                  <a:lnTo>
                    <a:pt x="3627" y="15800"/>
                  </a:lnTo>
                  <a:lnTo>
                    <a:pt x="11688" y="21600"/>
                  </a:lnTo>
                  <a:lnTo>
                    <a:pt x="13818" y="14011"/>
                  </a:lnTo>
                  <a:lnTo>
                    <a:pt x="14405" y="8116"/>
                  </a:lnTo>
                  <a:lnTo>
                    <a:pt x="21600" y="3749"/>
                  </a:lnTo>
                  <a:lnTo>
                    <a:pt x="15900" y="0"/>
                  </a:lnTo>
                  <a:close/>
                </a:path>
              </a:pathLst>
            </a:custGeom>
            <a:grpFill/>
            <a:ln w="25400" cap="flat">
              <a:noFill/>
              <a:prstDash val="solid"/>
              <a:miter lim="400000"/>
            </a:ln>
            <a:effectLst/>
          </p:spPr>
          <p:txBody>
            <a:bodyPr anchor="ctr"/>
            <a:lstStyle/>
            <a:p>
              <a:pPr algn="ctr"/>
              <a:endParaRPr/>
            </a:p>
          </p:txBody>
        </p:sp>
        <p:sp>
          <p:nvSpPr>
            <p:cNvPr id="244" name="任意多边形: 形状 243">
              <a:extLst>
                <a:ext uri="{FF2B5EF4-FFF2-40B4-BE49-F238E27FC236}">
                  <a16:creationId xmlns:a16="http://schemas.microsoft.com/office/drawing/2014/main" id="{9ABF929A-D19A-4730-82B5-974BE1B38284}"/>
                </a:ext>
              </a:extLst>
            </p:cNvPr>
            <p:cNvSpPr/>
            <p:nvPr/>
          </p:nvSpPr>
          <p:spPr>
            <a:xfrm>
              <a:off x="1856174" y="2020886"/>
              <a:ext cx="16360" cy="18569"/>
            </a:xfrm>
            <a:custGeom>
              <a:avLst/>
              <a:gdLst/>
              <a:ahLst/>
              <a:cxnLst>
                <a:cxn ang="0">
                  <a:pos x="wd2" y="hd2"/>
                </a:cxn>
                <a:cxn ang="5400000">
                  <a:pos x="wd2" y="hd2"/>
                </a:cxn>
                <a:cxn ang="10800000">
                  <a:pos x="wd2" y="hd2"/>
                </a:cxn>
                <a:cxn ang="16200000">
                  <a:pos x="wd2" y="hd2"/>
                </a:cxn>
              </a:cxnLst>
              <a:rect l="0" t="0" r="r" b="b"/>
              <a:pathLst>
                <a:path w="21600" h="21600" extrusionOk="0">
                  <a:moveTo>
                    <a:pt x="6929" y="0"/>
                  </a:moveTo>
                  <a:lnTo>
                    <a:pt x="0" y="10904"/>
                  </a:lnTo>
                  <a:lnTo>
                    <a:pt x="10299" y="21600"/>
                  </a:lnTo>
                  <a:lnTo>
                    <a:pt x="21600" y="13776"/>
                  </a:lnTo>
                  <a:lnTo>
                    <a:pt x="19395" y="5259"/>
                  </a:lnTo>
                  <a:lnTo>
                    <a:pt x="6929" y="0"/>
                  </a:lnTo>
                  <a:close/>
                </a:path>
              </a:pathLst>
            </a:custGeom>
            <a:grpFill/>
            <a:ln w="25400" cap="flat">
              <a:noFill/>
              <a:prstDash val="solid"/>
              <a:miter lim="400000"/>
            </a:ln>
            <a:effectLst/>
          </p:spPr>
          <p:txBody>
            <a:bodyPr anchor="ctr"/>
            <a:lstStyle/>
            <a:p>
              <a:pPr algn="ctr"/>
              <a:endParaRPr/>
            </a:p>
          </p:txBody>
        </p:sp>
        <p:sp>
          <p:nvSpPr>
            <p:cNvPr id="245" name="任意多边形: 形状 244">
              <a:extLst>
                <a:ext uri="{FF2B5EF4-FFF2-40B4-BE49-F238E27FC236}">
                  <a16:creationId xmlns:a16="http://schemas.microsoft.com/office/drawing/2014/main" id="{B50EAFA5-76F6-459F-A170-AC64E99D6CCE}"/>
                </a:ext>
              </a:extLst>
            </p:cNvPr>
            <p:cNvSpPr/>
            <p:nvPr/>
          </p:nvSpPr>
          <p:spPr>
            <a:xfrm>
              <a:off x="1296107" y="1987859"/>
              <a:ext cx="91303" cy="42936"/>
            </a:xfrm>
            <a:custGeom>
              <a:avLst/>
              <a:gdLst/>
              <a:ahLst/>
              <a:cxnLst>
                <a:cxn ang="0">
                  <a:pos x="wd2" y="hd2"/>
                </a:cxn>
                <a:cxn ang="5400000">
                  <a:pos x="wd2" y="hd2"/>
                </a:cxn>
                <a:cxn ang="10800000">
                  <a:pos x="wd2" y="hd2"/>
                </a:cxn>
                <a:cxn ang="16200000">
                  <a:pos x="wd2" y="hd2"/>
                </a:cxn>
              </a:cxnLst>
              <a:rect l="0" t="0" r="r" b="b"/>
              <a:pathLst>
                <a:path w="21600" h="21600" extrusionOk="0">
                  <a:moveTo>
                    <a:pt x="17537" y="2831"/>
                  </a:moveTo>
                  <a:lnTo>
                    <a:pt x="10161" y="8024"/>
                  </a:lnTo>
                  <a:lnTo>
                    <a:pt x="5271" y="9340"/>
                  </a:lnTo>
                  <a:lnTo>
                    <a:pt x="1171" y="14295"/>
                  </a:lnTo>
                  <a:lnTo>
                    <a:pt x="0" y="19330"/>
                  </a:lnTo>
                  <a:lnTo>
                    <a:pt x="3343" y="21600"/>
                  </a:lnTo>
                  <a:lnTo>
                    <a:pt x="5268" y="16011"/>
                  </a:lnTo>
                  <a:lnTo>
                    <a:pt x="8817" y="15249"/>
                  </a:lnTo>
                  <a:lnTo>
                    <a:pt x="11276" y="14486"/>
                  </a:lnTo>
                  <a:lnTo>
                    <a:pt x="14517" y="13724"/>
                  </a:lnTo>
                  <a:lnTo>
                    <a:pt x="18179" y="13089"/>
                  </a:lnTo>
                  <a:lnTo>
                    <a:pt x="21239" y="5467"/>
                  </a:lnTo>
                  <a:lnTo>
                    <a:pt x="21600" y="162"/>
                  </a:lnTo>
                  <a:lnTo>
                    <a:pt x="19638" y="0"/>
                  </a:lnTo>
                  <a:lnTo>
                    <a:pt x="17537" y="2831"/>
                  </a:lnTo>
                  <a:close/>
                </a:path>
              </a:pathLst>
            </a:custGeom>
            <a:grpFill/>
            <a:ln w="25400" cap="flat">
              <a:noFill/>
              <a:prstDash val="solid"/>
              <a:miter lim="400000"/>
            </a:ln>
            <a:effectLst/>
          </p:spPr>
          <p:txBody>
            <a:bodyPr anchor="ctr"/>
            <a:lstStyle/>
            <a:p>
              <a:pPr algn="ctr"/>
              <a:endParaRPr/>
            </a:p>
          </p:txBody>
        </p:sp>
        <p:sp>
          <p:nvSpPr>
            <p:cNvPr id="246" name="任意多边形: 形状 245">
              <a:extLst>
                <a:ext uri="{FF2B5EF4-FFF2-40B4-BE49-F238E27FC236}">
                  <a16:creationId xmlns:a16="http://schemas.microsoft.com/office/drawing/2014/main" id="{8A879B36-7462-4D4A-867F-DE92DAD9DCAA}"/>
                </a:ext>
              </a:extLst>
            </p:cNvPr>
            <p:cNvSpPr/>
            <p:nvPr/>
          </p:nvSpPr>
          <p:spPr>
            <a:xfrm>
              <a:off x="2777576" y="3634434"/>
              <a:ext cx="1575803" cy="2366543"/>
            </a:xfrm>
            <a:custGeom>
              <a:avLst/>
              <a:gdLst/>
              <a:ahLst/>
              <a:cxnLst>
                <a:cxn ang="0">
                  <a:pos x="wd2" y="hd2"/>
                </a:cxn>
                <a:cxn ang="5400000">
                  <a:pos x="wd2" y="hd2"/>
                </a:cxn>
                <a:cxn ang="10800000">
                  <a:pos x="wd2" y="hd2"/>
                </a:cxn>
                <a:cxn ang="16200000">
                  <a:pos x="wd2" y="hd2"/>
                </a:cxn>
              </a:cxnLst>
              <a:rect l="0" t="0" r="r" b="b"/>
              <a:pathLst>
                <a:path w="21600" h="21600" extrusionOk="0">
                  <a:moveTo>
                    <a:pt x="869" y="1016"/>
                  </a:moveTo>
                  <a:lnTo>
                    <a:pt x="1153" y="974"/>
                  </a:lnTo>
                  <a:lnTo>
                    <a:pt x="1415" y="1017"/>
                  </a:lnTo>
                  <a:lnTo>
                    <a:pt x="1706" y="1125"/>
                  </a:lnTo>
                  <a:lnTo>
                    <a:pt x="1964" y="1238"/>
                  </a:lnTo>
                  <a:lnTo>
                    <a:pt x="2173" y="1355"/>
                  </a:lnTo>
                  <a:lnTo>
                    <a:pt x="2350" y="1292"/>
                  </a:lnTo>
                  <a:lnTo>
                    <a:pt x="2416" y="1193"/>
                  </a:lnTo>
                  <a:lnTo>
                    <a:pt x="2643" y="1138"/>
                  </a:lnTo>
                  <a:lnTo>
                    <a:pt x="2768" y="931"/>
                  </a:lnTo>
                  <a:lnTo>
                    <a:pt x="2901" y="758"/>
                  </a:lnTo>
                  <a:lnTo>
                    <a:pt x="3075" y="584"/>
                  </a:lnTo>
                  <a:lnTo>
                    <a:pt x="3218" y="492"/>
                  </a:lnTo>
                  <a:lnTo>
                    <a:pt x="3455" y="405"/>
                  </a:lnTo>
                  <a:lnTo>
                    <a:pt x="3796" y="405"/>
                  </a:lnTo>
                  <a:lnTo>
                    <a:pt x="4006" y="344"/>
                  </a:lnTo>
                  <a:lnTo>
                    <a:pt x="4155" y="198"/>
                  </a:lnTo>
                  <a:lnTo>
                    <a:pt x="4308" y="101"/>
                  </a:lnTo>
                  <a:lnTo>
                    <a:pt x="4423" y="34"/>
                  </a:lnTo>
                  <a:lnTo>
                    <a:pt x="4684" y="0"/>
                  </a:lnTo>
                  <a:lnTo>
                    <a:pt x="4809" y="15"/>
                  </a:lnTo>
                  <a:lnTo>
                    <a:pt x="4798" y="104"/>
                  </a:lnTo>
                  <a:lnTo>
                    <a:pt x="4656" y="173"/>
                  </a:lnTo>
                  <a:lnTo>
                    <a:pt x="4518" y="268"/>
                  </a:lnTo>
                  <a:lnTo>
                    <a:pt x="4466" y="385"/>
                  </a:lnTo>
                  <a:lnTo>
                    <a:pt x="4483" y="636"/>
                  </a:lnTo>
                  <a:lnTo>
                    <a:pt x="4421" y="753"/>
                  </a:lnTo>
                  <a:lnTo>
                    <a:pt x="4365" y="838"/>
                  </a:lnTo>
                  <a:lnTo>
                    <a:pt x="4375" y="962"/>
                  </a:lnTo>
                  <a:lnTo>
                    <a:pt x="4434" y="1080"/>
                  </a:lnTo>
                  <a:lnTo>
                    <a:pt x="4626" y="1121"/>
                  </a:lnTo>
                  <a:lnTo>
                    <a:pt x="4821" y="1077"/>
                  </a:lnTo>
                  <a:lnTo>
                    <a:pt x="4911" y="964"/>
                  </a:lnTo>
                  <a:lnTo>
                    <a:pt x="5012" y="863"/>
                  </a:lnTo>
                  <a:lnTo>
                    <a:pt x="5002" y="773"/>
                  </a:lnTo>
                  <a:lnTo>
                    <a:pt x="4888" y="691"/>
                  </a:lnTo>
                  <a:lnTo>
                    <a:pt x="4815" y="594"/>
                  </a:lnTo>
                  <a:cubicBezTo>
                    <a:pt x="4810" y="569"/>
                    <a:pt x="4818" y="543"/>
                    <a:pt x="4835" y="521"/>
                  </a:cubicBezTo>
                  <a:cubicBezTo>
                    <a:pt x="4864" y="484"/>
                    <a:pt x="4917" y="459"/>
                    <a:pt x="4977" y="452"/>
                  </a:cubicBezTo>
                  <a:lnTo>
                    <a:pt x="5179" y="365"/>
                  </a:lnTo>
                  <a:lnTo>
                    <a:pt x="5325" y="234"/>
                  </a:lnTo>
                  <a:lnTo>
                    <a:pt x="5398" y="181"/>
                  </a:lnTo>
                  <a:lnTo>
                    <a:pt x="5513" y="174"/>
                  </a:lnTo>
                  <a:lnTo>
                    <a:pt x="5658" y="180"/>
                  </a:lnTo>
                  <a:lnTo>
                    <a:pt x="5845" y="279"/>
                  </a:lnTo>
                  <a:lnTo>
                    <a:pt x="6023" y="369"/>
                  </a:lnTo>
                  <a:lnTo>
                    <a:pt x="6158" y="486"/>
                  </a:lnTo>
                  <a:lnTo>
                    <a:pt x="6252" y="563"/>
                  </a:lnTo>
                  <a:lnTo>
                    <a:pt x="6423" y="602"/>
                  </a:lnTo>
                  <a:lnTo>
                    <a:pt x="6760" y="602"/>
                  </a:lnTo>
                  <a:lnTo>
                    <a:pt x="6916" y="629"/>
                  </a:lnTo>
                  <a:lnTo>
                    <a:pt x="7159" y="658"/>
                  </a:lnTo>
                  <a:lnTo>
                    <a:pt x="7344" y="698"/>
                  </a:lnTo>
                  <a:lnTo>
                    <a:pt x="7500" y="785"/>
                  </a:lnTo>
                  <a:lnTo>
                    <a:pt x="7792" y="799"/>
                  </a:lnTo>
                  <a:lnTo>
                    <a:pt x="7945" y="725"/>
                  </a:lnTo>
                  <a:lnTo>
                    <a:pt x="8130" y="720"/>
                  </a:lnTo>
                  <a:lnTo>
                    <a:pt x="8343" y="741"/>
                  </a:lnTo>
                  <a:lnTo>
                    <a:pt x="8508" y="799"/>
                  </a:lnTo>
                  <a:lnTo>
                    <a:pt x="8764" y="882"/>
                  </a:lnTo>
                  <a:lnTo>
                    <a:pt x="9015" y="958"/>
                  </a:lnTo>
                  <a:lnTo>
                    <a:pt x="9502" y="1062"/>
                  </a:lnTo>
                  <a:lnTo>
                    <a:pt x="9816" y="1193"/>
                  </a:lnTo>
                  <a:lnTo>
                    <a:pt x="9920" y="1317"/>
                  </a:lnTo>
                  <a:lnTo>
                    <a:pt x="10065" y="1399"/>
                  </a:lnTo>
                  <a:lnTo>
                    <a:pt x="10187" y="1473"/>
                  </a:lnTo>
                  <a:lnTo>
                    <a:pt x="10298" y="1576"/>
                  </a:lnTo>
                  <a:lnTo>
                    <a:pt x="10339" y="1679"/>
                  </a:lnTo>
                  <a:lnTo>
                    <a:pt x="10420" y="1769"/>
                  </a:lnTo>
                  <a:lnTo>
                    <a:pt x="10606" y="1887"/>
                  </a:lnTo>
                  <a:lnTo>
                    <a:pt x="10818" y="2000"/>
                  </a:lnTo>
                  <a:lnTo>
                    <a:pt x="11131" y="2123"/>
                  </a:lnTo>
                  <a:lnTo>
                    <a:pt x="11378" y="2178"/>
                  </a:lnTo>
                  <a:lnTo>
                    <a:pt x="11636" y="2243"/>
                  </a:lnTo>
                  <a:lnTo>
                    <a:pt x="11855" y="2243"/>
                  </a:lnTo>
                  <a:lnTo>
                    <a:pt x="11990" y="2181"/>
                  </a:lnTo>
                  <a:lnTo>
                    <a:pt x="12151" y="2160"/>
                  </a:lnTo>
                  <a:lnTo>
                    <a:pt x="12356" y="2167"/>
                  </a:lnTo>
                  <a:lnTo>
                    <a:pt x="12575" y="2208"/>
                  </a:lnTo>
                  <a:lnTo>
                    <a:pt x="12707" y="2236"/>
                  </a:lnTo>
                  <a:lnTo>
                    <a:pt x="12850" y="2254"/>
                  </a:lnTo>
                  <a:lnTo>
                    <a:pt x="12964" y="2298"/>
                  </a:lnTo>
                  <a:lnTo>
                    <a:pt x="13152" y="2421"/>
                  </a:lnTo>
                  <a:lnTo>
                    <a:pt x="13358" y="2525"/>
                  </a:lnTo>
                  <a:lnTo>
                    <a:pt x="13524" y="2594"/>
                  </a:lnTo>
                  <a:lnTo>
                    <a:pt x="13666" y="2651"/>
                  </a:lnTo>
                  <a:lnTo>
                    <a:pt x="13833" y="2742"/>
                  </a:lnTo>
                  <a:lnTo>
                    <a:pt x="13864" y="2891"/>
                  </a:lnTo>
                  <a:lnTo>
                    <a:pt x="13944" y="3025"/>
                  </a:lnTo>
                  <a:lnTo>
                    <a:pt x="14059" y="3126"/>
                  </a:lnTo>
                  <a:lnTo>
                    <a:pt x="14069" y="3246"/>
                  </a:lnTo>
                  <a:lnTo>
                    <a:pt x="14069" y="3383"/>
                  </a:lnTo>
                  <a:lnTo>
                    <a:pt x="14132" y="3485"/>
                  </a:lnTo>
                  <a:lnTo>
                    <a:pt x="14251" y="3544"/>
                  </a:lnTo>
                  <a:lnTo>
                    <a:pt x="14376" y="3565"/>
                  </a:lnTo>
                  <a:lnTo>
                    <a:pt x="14376" y="3654"/>
                  </a:lnTo>
                  <a:lnTo>
                    <a:pt x="14240" y="3723"/>
                  </a:lnTo>
                  <a:lnTo>
                    <a:pt x="14147" y="3806"/>
                  </a:lnTo>
                  <a:lnTo>
                    <a:pt x="14084" y="3898"/>
                  </a:lnTo>
                  <a:lnTo>
                    <a:pt x="14021" y="4015"/>
                  </a:lnTo>
                  <a:lnTo>
                    <a:pt x="13892" y="4050"/>
                  </a:lnTo>
                  <a:lnTo>
                    <a:pt x="13746" y="4071"/>
                  </a:lnTo>
                  <a:lnTo>
                    <a:pt x="13369" y="4317"/>
                  </a:lnTo>
                  <a:lnTo>
                    <a:pt x="13296" y="4414"/>
                  </a:lnTo>
                  <a:lnTo>
                    <a:pt x="13244" y="4544"/>
                  </a:lnTo>
                  <a:lnTo>
                    <a:pt x="13401" y="4640"/>
                  </a:lnTo>
                  <a:lnTo>
                    <a:pt x="13638" y="4623"/>
                  </a:lnTo>
                  <a:lnTo>
                    <a:pt x="13801" y="4475"/>
                  </a:lnTo>
                  <a:lnTo>
                    <a:pt x="14058" y="4319"/>
                  </a:lnTo>
                  <a:lnTo>
                    <a:pt x="14233" y="4211"/>
                  </a:lnTo>
                  <a:lnTo>
                    <a:pt x="14406" y="4124"/>
                  </a:lnTo>
                  <a:lnTo>
                    <a:pt x="14601" y="4061"/>
                  </a:lnTo>
                  <a:lnTo>
                    <a:pt x="14824" y="4068"/>
                  </a:lnTo>
                  <a:lnTo>
                    <a:pt x="14950" y="4135"/>
                  </a:lnTo>
                  <a:lnTo>
                    <a:pt x="15054" y="4245"/>
                  </a:lnTo>
                  <a:lnTo>
                    <a:pt x="15054" y="4370"/>
                  </a:lnTo>
                  <a:lnTo>
                    <a:pt x="14772" y="4500"/>
                  </a:lnTo>
                  <a:lnTo>
                    <a:pt x="14706" y="4615"/>
                  </a:lnTo>
                  <a:lnTo>
                    <a:pt x="14561" y="4643"/>
                  </a:lnTo>
                  <a:lnTo>
                    <a:pt x="14369" y="4636"/>
                  </a:lnTo>
                  <a:lnTo>
                    <a:pt x="14297" y="4713"/>
                  </a:lnTo>
                  <a:lnTo>
                    <a:pt x="14537" y="4754"/>
                  </a:lnTo>
                  <a:lnTo>
                    <a:pt x="14713" y="4770"/>
                  </a:lnTo>
                  <a:lnTo>
                    <a:pt x="14862" y="4841"/>
                  </a:lnTo>
                  <a:lnTo>
                    <a:pt x="15018" y="4770"/>
                  </a:lnTo>
                  <a:lnTo>
                    <a:pt x="15209" y="4692"/>
                  </a:lnTo>
                  <a:lnTo>
                    <a:pt x="15341" y="4566"/>
                  </a:lnTo>
                  <a:lnTo>
                    <a:pt x="15491" y="4466"/>
                  </a:lnTo>
                  <a:lnTo>
                    <a:pt x="15585" y="4369"/>
                  </a:lnTo>
                  <a:lnTo>
                    <a:pt x="15846" y="4342"/>
                  </a:lnTo>
                  <a:lnTo>
                    <a:pt x="16125" y="4370"/>
                  </a:lnTo>
                  <a:lnTo>
                    <a:pt x="16397" y="4508"/>
                  </a:lnTo>
                  <a:lnTo>
                    <a:pt x="16564" y="4666"/>
                  </a:lnTo>
                  <a:lnTo>
                    <a:pt x="16723" y="4714"/>
                  </a:lnTo>
                  <a:lnTo>
                    <a:pt x="16844" y="4787"/>
                  </a:lnTo>
                  <a:lnTo>
                    <a:pt x="16817" y="4904"/>
                  </a:lnTo>
                  <a:lnTo>
                    <a:pt x="16751" y="4982"/>
                  </a:lnTo>
                  <a:lnTo>
                    <a:pt x="16751" y="5058"/>
                  </a:lnTo>
                  <a:lnTo>
                    <a:pt x="16949" y="5154"/>
                  </a:lnTo>
                  <a:lnTo>
                    <a:pt x="17116" y="5085"/>
                  </a:lnTo>
                  <a:lnTo>
                    <a:pt x="17332" y="5023"/>
                  </a:lnTo>
                  <a:lnTo>
                    <a:pt x="17569" y="4982"/>
                  </a:lnTo>
                  <a:lnTo>
                    <a:pt x="17746" y="4988"/>
                  </a:lnTo>
                  <a:lnTo>
                    <a:pt x="18122" y="5071"/>
                  </a:lnTo>
                  <a:lnTo>
                    <a:pt x="18476" y="5071"/>
                  </a:lnTo>
                  <a:lnTo>
                    <a:pt x="18914" y="5085"/>
                  </a:lnTo>
                  <a:lnTo>
                    <a:pt x="19226" y="5085"/>
                  </a:lnTo>
                  <a:lnTo>
                    <a:pt x="19337" y="5145"/>
                  </a:lnTo>
                  <a:lnTo>
                    <a:pt x="19417" y="5245"/>
                  </a:lnTo>
                  <a:lnTo>
                    <a:pt x="19501" y="5384"/>
                  </a:lnTo>
                  <a:lnTo>
                    <a:pt x="19761" y="5515"/>
                  </a:lnTo>
                  <a:lnTo>
                    <a:pt x="20054" y="5632"/>
                  </a:lnTo>
                  <a:lnTo>
                    <a:pt x="20337" y="5763"/>
                  </a:lnTo>
                  <a:lnTo>
                    <a:pt x="20783" y="5818"/>
                  </a:lnTo>
                  <a:lnTo>
                    <a:pt x="21128" y="5832"/>
                  </a:lnTo>
                  <a:lnTo>
                    <a:pt x="21292" y="5922"/>
                  </a:lnTo>
                  <a:lnTo>
                    <a:pt x="21413" y="6000"/>
                  </a:lnTo>
                  <a:lnTo>
                    <a:pt x="21423" y="6110"/>
                  </a:lnTo>
                  <a:lnTo>
                    <a:pt x="21496" y="6233"/>
                  </a:lnTo>
                  <a:lnTo>
                    <a:pt x="21548" y="6335"/>
                  </a:lnTo>
                  <a:lnTo>
                    <a:pt x="21600" y="6459"/>
                  </a:lnTo>
                  <a:lnTo>
                    <a:pt x="21558" y="6567"/>
                  </a:lnTo>
                  <a:lnTo>
                    <a:pt x="21548" y="6744"/>
                  </a:lnTo>
                  <a:lnTo>
                    <a:pt x="21416" y="6872"/>
                  </a:lnTo>
                  <a:lnTo>
                    <a:pt x="21374" y="6999"/>
                  </a:lnTo>
                  <a:lnTo>
                    <a:pt x="21263" y="7141"/>
                  </a:lnTo>
                  <a:lnTo>
                    <a:pt x="20928" y="7257"/>
                  </a:lnTo>
                  <a:lnTo>
                    <a:pt x="20782" y="7498"/>
                  </a:lnTo>
                  <a:lnTo>
                    <a:pt x="20646" y="7643"/>
                  </a:lnTo>
                  <a:lnTo>
                    <a:pt x="20531" y="7747"/>
                  </a:lnTo>
                  <a:lnTo>
                    <a:pt x="20344" y="7910"/>
                  </a:lnTo>
                  <a:lnTo>
                    <a:pt x="20222" y="8109"/>
                  </a:lnTo>
                  <a:lnTo>
                    <a:pt x="19916" y="8196"/>
                  </a:lnTo>
                  <a:lnTo>
                    <a:pt x="19700" y="8360"/>
                  </a:lnTo>
                  <a:lnTo>
                    <a:pt x="19631" y="8498"/>
                  </a:lnTo>
                  <a:lnTo>
                    <a:pt x="19615" y="8867"/>
                  </a:lnTo>
                  <a:lnTo>
                    <a:pt x="19688" y="9089"/>
                  </a:lnTo>
                  <a:lnTo>
                    <a:pt x="19688" y="9302"/>
                  </a:lnTo>
                  <a:lnTo>
                    <a:pt x="19705" y="9546"/>
                  </a:lnTo>
                  <a:lnTo>
                    <a:pt x="19653" y="9772"/>
                  </a:lnTo>
                  <a:lnTo>
                    <a:pt x="19612" y="9950"/>
                  </a:lnTo>
                  <a:lnTo>
                    <a:pt x="19580" y="10104"/>
                  </a:lnTo>
                  <a:lnTo>
                    <a:pt x="19559" y="10281"/>
                  </a:lnTo>
                  <a:lnTo>
                    <a:pt x="19465" y="10449"/>
                  </a:lnTo>
                  <a:lnTo>
                    <a:pt x="19444" y="10661"/>
                  </a:lnTo>
                  <a:lnTo>
                    <a:pt x="19392" y="10797"/>
                  </a:lnTo>
                  <a:lnTo>
                    <a:pt x="19322" y="10935"/>
                  </a:lnTo>
                  <a:lnTo>
                    <a:pt x="19169" y="11064"/>
                  </a:lnTo>
                  <a:lnTo>
                    <a:pt x="19033" y="11278"/>
                  </a:lnTo>
                  <a:lnTo>
                    <a:pt x="18939" y="11393"/>
                  </a:lnTo>
                  <a:lnTo>
                    <a:pt x="18834" y="11511"/>
                  </a:lnTo>
                  <a:lnTo>
                    <a:pt x="18562" y="11665"/>
                  </a:lnTo>
                  <a:lnTo>
                    <a:pt x="18374" y="11762"/>
                  </a:lnTo>
                  <a:lnTo>
                    <a:pt x="18204" y="11755"/>
                  </a:lnTo>
                  <a:lnTo>
                    <a:pt x="18048" y="11735"/>
                  </a:lnTo>
                  <a:lnTo>
                    <a:pt x="17899" y="11638"/>
                  </a:lnTo>
                  <a:lnTo>
                    <a:pt x="17642" y="11707"/>
                  </a:lnTo>
                  <a:lnTo>
                    <a:pt x="17486" y="11796"/>
                  </a:lnTo>
                  <a:lnTo>
                    <a:pt x="17287" y="11941"/>
                  </a:lnTo>
                  <a:lnTo>
                    <a:pt x="17134" y="11969"/>
                  </a:lnTo>
                  <a:lnTo>
                    <a:pt x="16834" y="12015"/>
                  </a:lnTo>
                  <a:lnTo>
                    <a:pt x="16534" y="12077"/>
                  </a:lnTo>
                  <a:lnTo>
                    <a:pt x="16336" y="12167"/>
                  </a:lnTo>
                  <a:lnTo>
                    <a:pt x="16253" y="12270"/>
                  </a:lnTo>
                  <a:lnTo>
                    <a:pt x="16183" y="12325"/>
                  </a:lnTo>
                  <a:lnTo>
                    <a:pt x="16027" y="12380"/>
                  </a:lnTo>
                  <a:lnTo>
                    <a:pt x="15916" y="12449"/>
                  </a:lnTo>
                  <a:lnTo>
                    <a:pt x="15804" y="12518"/>
                  </a:lnTo>
                  <a:lnTo>
                    <a:pt x="15752" y="12629"/>
                  </a:lnTo>
                  <a:lnTo>
                    <a:pt x="15825" y="12724"/>
                  </a:lnTo>
                  <a:lnTo>
                    <a:pt x="15951" y="12849"/>
                  </a:lnTo>
                  <a:lnTo>
                    <a:pt x="15961" y="13008"/>
                  </a:lnTo>
                  <a:lnTo>
                    <a:pt x="15909" y="13192"/>
                  </a:lnTo>
                  <a:cubicBezTo>
                    <a:pt x="15880" y="13228"/>
                    <a:pt x="15856" y="13266"/>
                    <a:pt x="15840" y="13305"/>
                  </a:cubicBezTo>
                  <a:cubicBezTo>
                    <a:pt x="15812" y="13369"/>
                    <a:pt x="15801" y="13436"/>
                    <a:pt x="15809" y="13503"/>
                  </a:cubicBezTo>
                  <a:lnTo>
                    <a:pt x="15600" y="13652"/>
                  </a:lnTo>
                  <a:lnTo>
                    <a:pt x="15506" y="13742"/>
                  </a:lnTo>
                  <a:lnTo>
                    <a:pt x="15464" y="13846"/>
                  </a:lnTo>
                  <a:cubicBezTo>
                    <a:pt x="15464" y="13877"/>
                    <a:pt x="15464" y="13909"/>
                    <a:pt x="15464" y="13940"/>
                  </a:cubicBezTo>
                  <a:cubicBezTo>
                    <a:pt x="15464" y="13981"/>
                    <a:pt x="15464" y="14022"/>
                    <a:pt x="15464" y="14062"/>
                  </a:cubicBezTo>
                  <a:lnTo>
                    <a:pt x="15412" y="14177"/>
                  </a:lnTo>
                  <a:lnTo>
                    <a:pt x="15183" y="14308"/>
                  </a:lnTo>
                  <a:lnTo>
                    <a:pt x="15048" y="14443"/>
                  </a:lnTo>
                  <a:lnTo>
                    <a:pt x="14923" y="14578"/>
                  </a:lnTo>
                  <a:lnTo>
                    <a:pt x="14840" y="14707"/>
                  </a:lnTo>
                  <a:lnTo>
                    <a:pt x="14760" y="14868"/>
                  </a:lnTo>
                  <a:cubicBezTo>
                    <a:pt x="14740" y="14913"/>
                    <a:pt x="14716" y="14957"/>
                    <a:pt x="14687" y="14999"/>
                  </a:cubicBezTo>
                  <a:cubicBezTo>
                    <a:pt x="14660" y="15040"/>
                    <a:pt x="14629" y="15079"/>
                    <a:pt x="14593" y="15116"/>
                  </a:cubicBezTo>
                  <a:cubicBezTo>
                    <a:pt x="14565" y="15141"/>
                    <a:pt x="14538" y="15167"/>
                    <a:pt x="14510" y="15192"/>
                  </a:cubicBezTo>
                  <a:cubicBezTo>
                    <a:pt x="14469" y="15230"/>
                    <a:pt x="14429" y="15268"/>
                    <a:pt x="14390" y="15307"/>
                  </a:cubicBezTo>
                  <a:lnTo>
                    <a:pt x="14233" y="15431"/>
                  </a:lnTo>
                  <a:lnTo>
                    <a:pt x="14123" y="15518"/>
                  </a:lnTo>
                  <a:lnTo>
                    <a:pt x="13872" y="15628"/>
                  </a:lnTo>
                  <a:lnTo>
                    <a:pt x="13685" y="15663"/>
                  </a:lnTo>
                  <a:lnTo>
                    <a:pt x="13323" y="15670"/>
                  </a:lnTo>
                  <a:cubicBezTo>
                    <a:pt x="13286" y="15642"/>
                    <a:pt x="13245" y="15616"/>
                    <a:pt x="13201" y="15594"/>
                  </a:cubicBezTo>
                  <a:cubicBezTo>
                    <a:pt x="13122" y="15553"/>
                    <a:pt x="13034" y="15521"/>
                    <a:pt x="12939" y="15499"/>
                  </a:cubicBezTo>
                  <a:cubicBezTo>
                    <a:pt x="12851" y="15484"/>
                    <a:pt x="12764" y="15467"/>
                    <a:pt x="12678" y="15446"/>
                  </a:cubicBezTo>
                  <a:cubicBezTo>
                    <a:pt x="12585" y="15424"/>
                    <a:pt x="12495" y="15399"/>
                    <a:pt x="12406" y="15370"/>
                  </a:cubicBezTo>
                  <a:lnTo>
                    <a:pt x="12194" y="15426"/>
                  </a:lnTo>
                  <a:lnTo>
                    <a:pt x="12131" y="15541"/>
                  </a:lnTo>
                  <a:lnTo>
                    <a:pt x="12255" y="15615"/>
                  </a:lnTo>
                  <a:lnTo>
                    <a:pt x="12467" y="15700"/>
                  </a:lnTo>
                  <a:lnTo>
                    <a:pt x="12582" y="15762"/>
                  </a:lnTo>
                  <a:lnTo>
                    <a:pt x="12768" y="15886"/>
                  </a:lnTo>
                  <a:lnTo>
                    <a:pt x="12977" y="16065"/>
                  </a:lnTo>
                  <a:lnTo>
                    <a:pt x="13103" y="16201"/>
                  </a:lnTo>
                  <a:lnTo>
                    <a:pt x="13155" y="16372"/>
                  </a:lnTo>
                  <a:lnTo>
                    <a:pt x="13166" y="16545"/>
                  </a:lnTo>
                  <a:lnTo>
                    <a:pt x="13065" y="16676"/>
                  </a:lnTo>
                  <a:lnTo>
                    <a:pt x="12951" y="16779"/>
                  </a:lnTo>
                  <a:lnTo>
                    <a:pt x="12787" y="16862"/>
                  </a:lnTo>
                  <a:lnTo>
                    <a:pt x="12505" y="16924"/>
                  </a:lnTo>
                  <a:lnTo>
                    <a:pt x="12122" y="16970"/>
                  </a:lnTo>
                  <a:lnTo>
                    <a:pt x="11913" y="16977"/>
                  </a:lnTo>
                  <a:lnTo>
                    <a:pt x="11733" y="16982"/>
                  </a:lnTo>
                  <a:lnTo>
                    <a:pt x="11430" y="16982"/>
                  </a:lnTo>
                  <a:lnTo>
                    <a:pt x="11263" y="17044"/>
                  </a:lnTo>
                  <a:lnTo>
                    <a:pt x="11232" y="17116"/>
                  </a:lnTo>
                  <a:lnTo>
                    <a:pt x="11252" y="17235"/>
                  </a:lnTo>
                  <a:lnTo>
                    <a:pt x="11325" y="17332"/>
                  </a:lnTo>
                  <a:lnTo>
                    <a:pt x="11412" y="17380"/>
                  </a:lnTo>
                  <a:lnTo>
                    <a:pt x="11444" y="17498"/>
                  </a:lnTo>
                  <a:lnTo>
                    <a:pt x="11382" y="17567"/>
                  </a:lnTo>
                  <a:cubicBezTo>
                    <a:pt x="11322" y="17599"/>
                    <a:pt x="11279" y="17642"/>
                    <a:pt x="11257" y="17691"/>
                  </a:cubicBezTo>
                  <a:cubicBezTo>
                    <a:pt x="11240" y="17729"/>
                    <a:pt x="11236" y="17769"/>
                    <a:pt x="11246" y="17808"/>
                  </a:cubicBezTo>
                  <a:lnTo>
                    <a:pt x="11037" y="17802"/>
                  </a:lnTo>
                  <a:lnTo>
                    <a:pt x="10881" y="17726"/>
                  </a:lnTo>
                  <a:lnTo>
                    <a:pt x="10631" y="17622"/>
                  </a:lnTo>
                  <a:lnTo>
                    <a:pt x="10349" y="17581"/>
                  </a:lnTo>
                  <a:lnTo>
                    <a:pt x="10141" y="17677"/>
                  </a:lnTo>
                  <a:lnTo>
                    <a:pt x="10273" y="17815"/>
                  </a:lnTo>
                  <a:cubicBezTo>
                    <a:pt x="10359" y="17814"/>
                    <a:pt x="10437" y="17847"/>
                    <a:pt x="10472" y="17898"/>
                  </a:cubicBezTo>
                  <a:cubicBezTo>
                    <a:pt x="10504" y="17944"/>
                    <a:pt x="10496" y="17997"/>
                    <a:pt x="10451" y="18038"/>
                  </a:cubicBezTo>
                  <a:lnTo>
                    <a:pt x="10493" y="18142"/>
                  </a:lnTo>
                  <a:cubicBezTo>
                    <a:pt x="10535" y="18167"/>
                    <a:pt x="10583" y="18187"/>
                    <a:pt x="10636" y="18201"/>
                  </a:cubicBezTo>
                  <a:cubicBezTo>
                    <a:pt x="10678" y="18213"/>
                    <a:pt x="10723" y="18220"/>
                    <a:pt x="10768" y="18222"/>
                  </a:cubicBezTo>
                  <a:cubicBezTo>
                    <a:pt x="10824" y="18185"/>
                    <a:pt x="10918" y="18194"/>
                    <a:pt x="10956" y="18240"/>
                  </a:cubicBezTo>
                  <a:cubicBezTo>
                    <a:pt x="10983" y="18272"/>
                    <a:pt x="10969" y="18313"/>
                    <a:pt x="10925" y="18335"/>
                  </a:cubicBezTo>
                  <a:lnTo>
                    <a:pt x="10783" y="18390"/>
                  </a:lnTo>
                  <a:lnTo>
                    <a:pt x="10605" y="18448"/>
                  </a:lnTo>
                  <a:lnTo>
                    <a:pt x="10615" y="18589"/>
                  </a:lnTo>
                  <a:lnTo>
                    <a:pt x="10663" y="18651"/>
                  </a:lnTo>
                  <a:lnTo>
                    <a:pt x="10698" y="18740"/>
                  </a:lnTo>
                  <a:lnTo>
                    <a:pt x="10479" y="18860"/>
                  </a:lnTo>
                  <a:lnTo>
                    <a:pt x="10374" y="19045"/>
                  </a:lnTo>
                  <a:lnTo>
                    <a:pt x="10259" y="19180"/>
                  </a:lnTo>
                  <a:lnTo>
                    <a:pt x="10218" y="19263"/>
                  </a:lnTo>
                  <a:lnTo>
                    <a:pt x="10283" y="19367"/>
                  </a:lnTo>
                  <a:lnTo>
                    <a:pt x="10350" y="19544"/>
                  </a:lnTo>
                  <a:lnTo>
                    <a:pt x="10506" y="19579"/>
                  </a:lnTo>
                  <a:lnTo>
                    <a:pt x="10637" y="19689"/>
                  </a:lnTo>
                  <a:lnTo>
                    <a:pt x="10913" y="19767"/>
                  </a:lnTo>
                  <a:lnTo>
                    <a:pt x="11066" y="19942"/>
                  </a:lnTo>
                  <a:lnTo>
                    <a:pt x="11076" y="20069"/>
                  </a:lnTo>
                  <a:lnTo>
                    <a:pt x="10982" y="20241"/>
                  </a:lnTo>
                  <a:lnTo>
                    <a:pt x="10888" y="20363"/>
                  </a:lnTo>
                  <a:lnTo>
                    <a:pt x="10794" y="20527"/>
                  </a:lnTo>
                  <a:cubicBezTo>
                    <a:pt x="10712" y="20573"/>
                    <a:pt x="10646" y="20631"/>
                    <a:pt x="10600" y="20695"/>
                  </a:cubicBezTo>
                  <a:cubicBezTo>
                    <a:pt x="10553" y="20760"/>
                    <a:pt x="10528" y="20830"/>
                    <a:pt x="10526" y="20902"/>
                  </a:cubicBezTo>
                  <a:lnTo>
                    <a:pt x="10613" y="21051"/>
                  </a:lnTo>
                  <a:lnTo>
                    <a:pt x="10773" y="21173"/>
                  </a:lnTo>
                  <a:lnTo>
                    <a:pt x="10846" y="21254"/>
                  </a:lnTo>
                  <a:lnTo>
                    <a:pt x="10766" y="21359"/>
                  </a:lnTo>
                  <a:lnTo>
                    <a:pt x="10536" y="21440"/>
                  </a:lnTo>
                  <a:lnTo>
                    <a:pt x="10441" y="21536"/>
                  </a:lnTo>
                  <a:lnTo>
                    <a:pt x="10363" y="21600"/>
                  </a:lnTo>
                  <a:lnTo>
                    <a:pt x="10225" y="21595"/>
                  </a:lnTo>
                  <a:lnTo>
                    <a:pt x="9866" y="21480"/>
                  </a:lnTo>
                  <a:lnTo>
                    <a:pt x="9668" y="21506"/>
                  </a:lnTo>
                  <a:lnTo>
                    <a:pt x="9418" y="21531"/>
                  </a:lnTo>
                  <a:cubicBezTo>
                    <a:pt x="9428" y="21473"/>
                    <a:pt x="9417" y="21413"/>
                    <a:pt x="9386" y="21358"/>
                  </a:cubicBezTo>
                  <a:cubicBezTo>
                    <a:pt x="9350" y="21293"/>
                    <a:pt x="9286" y="21235"/>
                    <a:pt x="9202" y="21193"/>
                  </a:cubicBezTo>
                  <a:lnTo>
                    <a:pt x="8951" y="21172"/>
                  </a:lnTo>
                  <a:lnTo>
                    <a:pt x="8767" y="21096"/>
                  </a:lnTo>
                  <a:lnTo>
                    <a:pt x="8767" y="20966"/>
                  </a:lnTo>
                  <a:lnTo>
                    <a:pt x="8683" y="20814"/>
                  </a:lnTo>
                  <a:cubicBezTo>
                    <a:pt x="8625" y="20767"/>
                    <a:pt x="8560" y="20724"/>
                    <a:pt x="8489" y="20687"/>
                  </a:cubicBezTo>
                  <a:cubicBezTo>
                    <a:pt x="8402" y="20641"/>
                    <a:pt x="8307" y="20603"/>
                    <a:pt x="8206" y="20574"/>
                  </a:cubicBezTo>
                  <a:lnTo>
                    <a:pt x="8185" y="20340"/>
                  </a:lnTo>
                  <a:lnTo>
                    <a:pt x="8175" y="20091"/>
                  </a:lnTo>
                  <a:cubicBezTo>
                    <a:pt x="8118" y="20014"/>
                    <a:pt x="8052" y="19940"/>
                    <a:pt x="7977" y="19870"/>
                  </a:cubicBezTo>
                  <a:cubicBezTo>
                    <a:pt x="7874" y="19775"/>
                    <a:pt x="7755" y="19687"/>
                    <a:pt x="7622" y="19610"/>
                  </a:cubicBezTo>
                  <a:lnTo>
                    <a:pt x="7320" y="19591"/>
                  </a:lnTo>
                  <a:lnTo>
                    <a:pt x="7269" y="19491"/>
                  </a:lnTo>
                  <a:lnTo>
                    <a:pt x="7463" y="19422"/>
                  </a:lnTo>
                  <a:lnTo>
                    <a:pt x="7664" y="19293"/>
                  </a:lnTo>
                  <a:lnTo>
                    <a:pt x="7747" y="19155"/>
                  </a:lnTo>
                  <a:lnTo>
                    <a:pt x="7862" y="18947"/>
                  </a:lnTo>
                  <a:cubicBezTo>
                    <a:pt x="7859" y="18904"/>
                    <a:pt x="7841" y="18862"/>
                    <a:pt x="7810" y="18823"/>
                  </a:cubicBezTo>
                  <a:cubicBezTo>
                    <a:pt x="7763" y="18763"/>
                    <a:pt x="7687" y="18715"/>
                    <a:pt x="7594" y="18687"/>
                  </a:cubicBezTo>
                  <a:lnTo>
                    <a:pt x="7373" y="18531"/>
                  </a:lnTo>
                  <a:lnTo>
                    <a:pt x="7344" y="18427"/>
                  </a:lnTo>
                  <a:lnTo>
                    <a:pt x="7439" y="18291"/>
                  </a:lnTo>
                  <a:lnTo>
                    <a:pt x="7386" y="18128"/>
                  </a:lnTo>
                  <a:lnTo>
                    <a:pt x="7191" y="18036"/>
                  </a:lnTo>
                  <a:lnTo>
                    <a:pt x="6944" y="17872"/>
                  </a:lnTo>
                  <a:lnTo>
                    <a:pt x="6714" y="17722"/>
                  </a:lnTo>
                  <a:lnTo>
                    <a:pt x="6595" y="17655"/>
                  </a:lnTo>
                  <a:lnTo>
                    <a:pt x="6560" y="17485"/>
                  </a:lnTo>
                  <a:lnTo>
                    <a:pt x="6414" y="17372"/>
                  </a:lnTo>
                  <a:lnTo>
                    <a:pt x="6518" y="17199"/>
                  </a:lnTo>
                  <a:cubicBezTo>
                    <a:pt x="6570" y="17154"/>
                    <a:pt x="6593" y="17097"/>
                    <a:pt x="6581" y="17041"/>
                  </a:cubicBezTo>
                  <a:cubicBezTo>
                    <a:pt x="6561" y="16948"/>
                    <a:pt x="6457" y="16874"/>
                    <a:pt x="6320" y="16854"/>
                  </a:cubicBezTo>
                  <a:cubicBezTo>
                    <a:pt x="6272" y="16815"/>
                    <a:pt x="6237" y="16771"/>
                    <a:pt x="6215" y="16723"/>
                  </a:cubicBezTo>
                  <a:cubicBezTo>
                    <a:pt x="6159" y="16596"/>
                    <a:pt x="6202" y="16460"/>
                    <a:pt x="6330" y="16359"/>
                  </a:cubicBezTo>
                  <a:lnTo>
                    <a:pt x="6341" y="16207"/>
                  </a:lnTo>
                  <a:lnTo>
                    <a:pt x="6351" y="16005"/>
                  </a:lnTo>
                  <a:lnTo>
                    <a:pt x="6382" y="15534"/>
                  </a:lnTo>
                  <a:lnTo>
                    <a:pt x="6330" y="14960"/>
                  </a:lnTo>
                  <a:lnTo>
                    <a:pt x="6125" y="14624"/>
                  </a:lnTo>
                  <a:lnTo>
                    <a:pt x="6027" y="14310"/>
                  </a:lnTo>
                  <a:lnTo>
                    <a:pt x="5975" y="14131"/>
                  </a:lnTo>
                  <a:lnTo>
                    <a:pt x="5925" y="13492"/>
                  </a:lnTo>
                  <a:lnTo>
                    <a:pt x="5925" y="13243"/>
                  </a:lnTo>
                  <a:lnTo>
                    <a:pt x="6020" y="13001"/>
                  </a:lnTo>
                  <a:lnTo>
                    <a:pt x="6020" y="12755"/>
                  </a:lnTo>
                  <a:lnTo>
                    <a:pt x="5988" y="12469"/>
                  </a:lnTo>
                  <a:lnTo>
                    <a:pt x="5842" y="12317"/>
                  </a:lnTo>
                  <a:lnTo>
                    <a:pt x="5852" y="12041"/>
                  </a:lnTo>
                  <a:lnTo>
                    <a:pt x="5936" y="11755"/>
                  </a:lnTo>
                  <a:cubicBezTo>
                    <a:pt x="5963" y="11665"/>
                    <a:pt x="5977" y="11573"/>
                    <a:pt x="5978" y="11481"/>
                  </a:cubicBezTo>
                  <a:cubicBezTo>
                    <a:pt x="5979" y="11396"/>
                    <a:pt x="5968" y="11310"/>
                    <a:pt x="5946" y="11226"/>
                  </a:cubicBezTo>
                  <a:cubicBezTo>
                    <a:pt x="5920" y="11122"/>
                    <a:pt x="5877" y="11021"/>
                    <a:pt x="5817" y="10924"/>
                  </a:cubicBezTo>
                  <a:lnTo>
                    <a:pt x="5790" y="10657"/>
                  </a:lnTo>
                  <a:lnTo>
                    <a:pt x="5779" y="10588"/>
                  </a:lnTo>
                  <a:lnTo>
                    <a:pt x="5509" y="10273"/>
                  </a:lnTo>
                  <a:lnTo>
                    <a:pt x="5325" y="10025"/>
                  </a:lnTo>
                  <a:lnTo>
                    <a:pt x="5081" y="9901"/>
                  </a:lnTo>
                  <a:lnTo>
                    <a:pt x="4781" y="9783"/>
                  </a:lnTo>
                  <a:lnTo>
                    <a:pt x="4531" y="9611"/>
                  </a:lnTo>
                  <a:lnTo>
                    <a:pt x="4066" y="9506"/>
                  </a:lnTo>
                  <a:lnTo>
                    <a:pt x="3850" y="9416"/>
                  </a:lnTo>
                  <a:lnTo>
                    <a:pt x="3285" y="9256"/>
                  </a:lnTo>
                  <a:lnTo>
                    <a:pt x="3020" y="9164"/>
                  </a:lnTo>
                  <a:lnTo>
                    <a:pt x="2895" y="8913"/>
                  </a:lnTo>
                  <a:lnTo>
                    <a:pt x="2752" y="8757"/>
                  </a:lnTo>
                  <a:lnTo>
                    <a:pt x="2626" y="8512"/>
                  </a:lnTo>
                  <a:lnTo>
                    <a:pt x="2494" y="8355"/>
                  </a:lnTo>
                  <a:lnTo>
                    <a:pt x="2330" y="8219"/>
                  </a:lnTo>
                  <a:lnTo>
                    <a:pt x="2088" y="8047"/>
                  </a:lnTo>
                  <a:lnTo>
                    <a:pt x="1976" y="7929"/>
                  </a:lnTo>
                  <a:lnTo>
                    <a:pt x="1868" y="7775"/>
                  </a:lnTo>
                  <a:lnTo>
                    <a:pt x="1712" y="7713"/>
                  </a:lnTo>
                  <a:lnTo>
                    <a:pt x="1653" y="7630"/>
                  </a:lnTo>
                  <a:lnTo>
                    <a:pt x="1559" y="7481"/>
                  </a:lnTo>
                  <a:lnTo>
                    <a:pt x="1499" y="7363"/>
                  </a:lnTo>
                  <a:lnTo>
                    <a:pt x="1332" y="7016"/>
                  </a:lnTo>
                  <a:lnTo>
                    <a:pt x="1207" y="6813"/>
                  </a:lnTo>
                  <a:lnTo>
                    <a:pt x="1072" y="6654"/>
                  </a:lnTo>
                  <a:lnTo>
                    <a:pt x="958" y="6495"/>
                  </a:lnTo>
                  <a:lnTo>
                    <a:pt x="875" y="6420"/>
                  </a:lnTo>
                  <a:lnTo>
                    <a:pt x="683" y="6358"/>
                  </a:lnTo>
                  <a:lnTo>
                    <a:pt x="577" y="6210"/>
                  </a:lnTo>
                  <a:lnTo>
                    <a:pt x="392" y="6183"/>
                  </a:lnTo>
                  <a:lnTo>
                    <a:pt x="270" y="6084"/>
                  </a:lnTo>
                  <a:lnTo>
                    <a:pt x="131" y="5971"/>
                  </a:lnTo>
                  <a:lnTo>
                    <a:pt x="79" y="5813"/>
                  </a:lnTo>
                  <a:lnTo>
                    <a:pt x="38" y="5703"/>
                  </a:lnTo>
                  <a:lnTo>
                    <a:pt x="0" y="5602"/>
                  </a:lnTo>
                  <a:lnTo>
                    <a:pt x="115" y="5491"/>
                  </a:lnTo>
                  <a:lnTo>
                    <a:pt x="268" y="5348"/>
                  </a:lnTo>
                  <a:lnTo>
                    <a:pt x="330" y="5224"/>
                  </a:lnTo>
                  <a:lnTo>
                    <a:pt x="413" y="5153"/>
                  </a:lnTo>
                  <a:lnTo>
                    <a:pt x="602" y="5033"/>
                  </a:lnTo>
                  <a:lnTo>
                    <a:pt x="653" y="4916"/>
                  </a:lnTo>
                  <a:lnTo>
                    <a:pt x="542" y="4875"/>
                  </a:lnTo>
                  <a:lnTo>
                    <a:pt x="350" y="4849"/>
                  </a:lnTo>
                  <a:lnTo>
                    <a:pt x="233" y="4810"/>
                  </a:lnTo>
                  <a:lnTo>
                    <a:pt x="173" y="4693"/>
                  </a:lnTo>
                  <a:lnTo>
                    <a:pt x="132" y="4589"/>
                  </a:lnTo>
                  <a:lnTo>
                    <a:pt x="236" y="4435"/>
                  </a:lnTo>
                  <a:lnTo>
                    <a:pt x="363" y="4279"/>
                  </a:lnTo>
                  <a:lnTo>
                    <a:pt x="464" y="4141"/>
                  </a:lnTo>
                  <a:lnTo>
                    <a:pt x="722" y="3881"/>
                  </a:lnTo>
                  <a:lnTo>
                    <a:pt x="837" y="3725"/>
                  </a:lnTo>
                  <a:lnTo>
                    <a:pt x="878" y="3658"/>
                  </a:lnTo>
                  <a:lnTo>
                    <a:pt x="1105" y="3567"/>
                  </a:lnTo>
                  <a:lnTo>
                    <a:pt x="1275" y="3479"/>
                  </a:lnTo>
                  <a:lnTo>
                    <a:pt x="1338" y="3385"/>
                  </a:lnTo>
                  <a:lnTo>
                    <a:pt x="1359" y="3295"/>
                  </a:lnTo>
                  <a:lnTo>
                    <a:pt x="1523" y="3201"/>
                  </a:lnTo>
                  <a:lnTo>
                    <a:pt x="1707" y="3072"/>
                  </a:lnTo>
                  <a:cubicBezTo>
                    <a:pt x="1704" y="3016"/>
                    <a:pt x="1711" y="2960"/>
                    <a:pt x="1728" y="2906"/>
                  </a:cubicBezTo>
                  <a:cubicBezTo>
                    <a:pt x="1757" y="2814"/>
                    <a:pt x="1814" y="2727"/>
                    <a:pt x="1896" y="2650"/>
                  </a:cubicBezTo>
                  <a:cubicBezTo>
                    <a:pt x="1934" y="2572"/>
                    <a:pt x="1938" y="2488"/>
                    <a:pt x="1906" y="2408"/>
                  </a:cubicBezTo>
                  <a:cubicBezTo>
                    <a:pt x="1883" y="2352"/>
                    <a:pt x="1843" y="2298"/>
                    <a:pt x="1815" y="2242"/>
                  </a:cubicBezTo>
                  <a:cubicBezTo>
                    <a:pt x="1790" y="2191"/>
                    <a:pt x="1776" y="2138"/>
                    <a:pt x="1774" y="2083"/>
                  </a:cubicBezTo>
                  <a:lnTo>
                    <a:pt x="1774" y="1918"/>
                  </a:lnTo>
                  <a:lnTo>
                    <a:pt x="1753" y="1808"/>
                  </a:lnTo>
                  <a:lnTo>
                    <a:pt x="1638" y="1656"/>
                  </a:lnTo>
                  <a:lnTo>
                    <a:pt x="1493" y="1546"/>
                  </a:lnTo>
                  <a:lnTo>
                    <a:pt x="1587" y="1443"/>
                  </a:lnTo>
                  <a:lnTo>
                    <a:pt x="1656" y="1310"/>
                  </a:lnTo>
                  <a:lnTo>
                    <a:pt x="1459" y="1199"/>
                  </a:lnTo>
                  <a:lnTo>
                    <a:pt x="1280" y="1115"/>
                  </a:lnTo>
                  <a:lnTo>
                    <a:pt x="1083" y="1076"/>
                  </a:lnTo>
                  <a:lnTo>
                    <a:pt x="968" y="1103"/>
                  </a:lnTo>
                  <a:lnTo>
                    <a:pt x="869" y="1016"/>
                  </a:lnTo>
                  <a:close/>
                </a:path>
              </a:pathLst>
            </a:custGeom>
            <a:grpFill/>
            <a:ln w="25400" cap="flat">
              <a:noFill/>
              <a:prstDash val="solid"/>
              <a:miter lim="400000"/>
            </a:ln>
            <a:effectLst/>
          </p:spPr>
          <p:txBody>
            <a:bodyPr anchor="ctr"/>
            <a:lstStyle/>
            <a:p>
              <a:pPr algn="ctr"/>
              <a:endParaRPr/>
            </a:p>
          </p:txBody>
        </p:sp>
        <p:sp>
          <p:nvSpPr>
            <p:cNvPr id="247" name="任意多边形: 形状 246">
              <a:extLst>
                <a:ext uri="{FF2B5EF4-FFF2-40B4-BE49-F238E27FC236}">
                  <a16:creationId xmlns:a16="http://schemas.microsoft.com/office/drawing/2014/main" id="{B6E96CF0-7B23-4A06-9F86-3687AC890A45}"/>
                </a:ext>
              </a:extLst>
            </p:cNvPr>
            <p:cNvSpPr/>
            <p:nvPr/>
          </p:nvSpPr>
          <p:spPr>
            <a:xfrm>
              <a:off x="3559421" y="5995142"/>
              <a:ext cx="176422" cy="89842"/>
            </a:xfrm>
            <a:custGeom>
              <a:avLst/>
              <a:gdLst/>
              <a:ahLst/>
              <a:cxnLst>
                <a:cxn ang="0">
                  <a:pos x="wd2" y="hd2"/>
                </a:cxn>
                <a:cxn ang="5400000">
                  <a:pos x="wd2" y="hd2"/>
                </a:cxn>
                <a:cxn ang="10800000">
                  <a:pos x="wd2" y="hd2"/>
                </a:cxn>
                <a:cxn ang="16200000">
                  <a:pos x="wd2" y="hd2"/>
                </a:cxn>
              </a:cxnLst>
              <a:rect l="0" t="0" r="r" b="b"/>
              <a:pathLst>
                <a:path w="21600" h="21600" extrusionOk="0">
                  <a:moveTo>
                    <a:pt x="7225" y="3547"/>
                  </a:moveTo>
                  <a:lnTo>
                    <a:pt x="5676" y="1626"/>
                  </a:lnTo>
                  <a:lnTo>
                    <a:pt x="3209" y="0"/>
                  </a:lnTo>
                  <a:lnTo>
                    <a:pt x="1176" y="1709"/>
                  </a:lnTo>
                  <a:lnTo>
                    <a:pt x="993" y="6809"/>
                  </a:lnTo>
                  <a:lnTo>
                    <a:pt x="0" y="9230"/>
                  </a:lnTo>
                  <a:lnTo>
                    <a:pt x="146" y="11719"/>
                  </a:lnTo>
                  <a:lnTo>
                    <a:pt x="1232" y="14861"/>
                  </a:lnTo>
                  <a:lnTo>
                    <a:pt x="2757" y="16925"/>
                  </a:lnTo>
                  <a:lnTo>
                    <a:pt x="4617" y="16204"/>
                  </a:lnTo>
                  <a:lnTo>
                    <a:pt x="6205" y="18329"/>
                  </a:lnTo>
                  <a:lnTo>
                    <a:pt x="6765" y="21054"/>
                  </a:lnTo>
                  <a:lnTo>
                    <a:pt x="9338" y="21600"/>
                  </a:lnTo>
                  <a:lnTo>
                    <a:pt x="10638" y="20386"/>
                  </a:lnTo>
                  <a:lnTo>
                    <a:pt x="12868" y="19239"/>
                  </a:lnTo>
                  <a:cubicBezTo>
                    <a:pt x="13384" y="19258"/>
                    <a:pt x="13900" y="19258"/>
                    <a:pt x="14416" y="19239"/>
                  </a:cubicBezTo>
                  <a:cubicBezTo>
                    <a:pt x="15695" y="19193"/>
                    <a:pt x="16971" y="19031"/>
                    <a:pt x="18242" y="18754"/>
                  </a:cubicBezTo>
                  <a:lnTo>
                    <a:pt x="20946" y="19118"/>
                  </a:lnTo>
                  <a:lnTo>
                    <a:pt x="21600" y="16751"/>
                  </a:lnTo>
                  <a:lnTo>
                    <a:pt x="17600" y="16751"/>
                  </a:lnTo>
                  <a:lnTo>
                    <a:pt x="14802" y="15172"/>
                  </a:lnTo>
                  <a:lnTo>
                    <a:pt x="13214" y="10808"/>
                  </a:lnTo>
                  <a:lnTo>
                    <a:pt x="11408" y="9230"/>
                  </a:lnTo>
                  <a:lnTo>
                    <a:pt x="9731" y="7773"/>
                  </a:lnTo>
                  <a:lnTo>
                    <a:pt x="9139" y="5420"/>
                  </a:lnTo>
                  <a:lnTo>
                    <a:pt x="7225" y="3547"/>
                  </a:lnTo>
                  <a:close/>
                </a:path>
              </a:pathLst>
            </a:custGeom>
            <a:grpFill/>
            <a:ln w="25400" cap="flat">
              <a:noFill/>
              <a:prstDash val="solid"/>
              <a:miter lim="400000"/>
            </a:ln>
            <a:effectLst/>
          </p:spPr>
          <p:txBody>
            <a:bodyPr anchor="ctr"/>
            <a:lstStyle/>
            <a:p>
              <a:pPr algn="ctr"/>
              <a:endParaRPr/>
            </a:p>
          </p:txBody>
        </p:sp>
        <p:sp>
          <p:nvSpPr>
            <p:cNvPr id="248" name="任意多边形: 形状 247">
              <a:extLst>
                <a:ext uri="{FF2B5EF4-FFF2-40B4-BE49-F238E27FC236}">
                  <a16:creationId xmlns:a16="http://schemas.microsoft.com/office/drawing/2014/main" id="{3CBBDCCC-DCCF-49E4-A646-F14C229DA90B}"/>
                </a:ext>
              </a:extLst>
            </p:cNvPr>
            <p:cNvSpPr/>
            <p:nvPr/>
          </p:nvSpPr>
          <p:spPr>
            <a:xfrm>
              <a:off x="3768642" y="5937250"/>
              <a:ext cx="110098" cy="46701"/>
            </a:xfrm>
            <a:custGeom>
              <a:avLst/>
              <a:gdLst/>
              <a:ahLst/>
              <a:cxnLst>
                <a:cxn ang="0">
                  <a:pos x="wd2" y="hd2"/>
                </a:cxn>
                <a:cxn ang="5400000">
                  <a:pos x="wd2" y="hd2"/>
                </a:cxn>
                <a:cxn ang="10800000">
                  <a:pos x="wd2" y="hd2"/>
                </a:cxn>
                <a:cxn ang="16200000">
                  <a:pos x="wd2" y="hd2"/>
                </a:cxn>
              </a:cxnLst>
              <a:rect l="0" t="0" r="r" b="b"/>
              <a:pathLst>
                <a:path w="21600" h="21600" extrusionOk="0">
                  <a:moveTo>
                    <a:pt x="8319" y="0"/>
                  </a:moveTo>
                  <a:lnTo>
                    <a:pt x="5026" y="117"/>
                  </a:lnTo>
                  <a:cubicBezTo>
                    <a:pt x="4484" y="789"/>
                    <a:pt x="3941" y="1461"/>
                    <a:pt x="3399" y="2133"/>
                  </a:cubicBezTo>
                  <a:cubicBezTo>
                    <a:pt x="2857" y="2805"/>
                    <a:pt x="2314" y="3476"/>
                    <a:pt x="1772" y="4148"/>
                  </a:cubicBezTo>
                  <a:lnTo>
                    <a:pt x="4542" y="6577"/>
                  </a:lnTo>
                  <a:lnTo>
                    <a:pt x="3392" y="10753"/>
                  </a:lnTo>
                  <a:lnTo>
                    <a:pt x="0" y="11818"/>
                  </a:lnTo>
                  <a:lnTo>
                    <a:pt x="1581" y="16345"/>
                  </a:lnTo>
                  <a:lnTo>
                    <a:pt x="4913" y="16345"/>
                  </a:lnTo>
                  <a:lnTo>
                    <a:pt x="7757" y="19148"/>
                  </a:lnTo>
                  <a:lnTo>
                    <a:pt x="10993" y="21600"/>
                  </a:lnTo>
                  <a:lnTo>
                    <a:pt x="14223" y="19761"/>
                  </a:lnTo>
                  <a:lnTo>
                    <a:pt x="14972" y="14169"/>
                  </a:lnTo>
                  <a:lnTo>
                    <a:pt x="18108" y="8928"/>
                  </a:lnTo>
                  <a:lnTo>
                    <a:pt x="21600" y="7876"/>
                  </a:lnTo>
                  <a:lnTo>
                    <a:pt x="21600" y="3101"/>
                  </a:lnTo>
                  <a:lnTo>
                    <a:pt x="19411" y="1378"/>
                  </a:lnTo>
                  <a:lnTo>
                    <a:pt x="17621" y="692"/>
                  </a:lnTo>
                  <a:lnTo>
                    <a:pt x="12533" y="2093"/>
                  </a:lnTo>
                  <a:lnTo>
                    <a:pt x="10949" y="1393"/>
                  </a:lnTo>
                  <a:lnTo>
                    <a:pt x="8319" y="0"/>
                  </a:lnTo>
                  <a:close/>
                </a:path>
              </a:pathLst>
            </a:custGeom>
            <a:grpFill/>
            <a:ln w="25400" cap="flat">
              <a:noFill/>
              <a:prstDash val="solid"/>
              <a:miter lim="400000"/>
            </a:ln>
            <a:effectLst/>
          </p:spPr>
          <p:txBody>
            <a:bodyPr anchor="ctr"/>
            <a:lstStyle/>
            <a:p>
              <a:pPr algn="ctr"/>
              <a:endParaRPr/>
            </a:p>
          </p:txBody>
        </p:sp>
        <p:sp>
          <p:nvSpPr>
            <p:cNvPr id="249" name="任意多边形: 形状 248">
              <a:extLst>
                <a:ext uri="{FF2B5EF4-FFF2-40B4-BE49-F238E27FC236}">
                  <a16:creationId xmlns:a16="http://schemas.microsoft.com/office/drawing/2014/main" id="{F871B13A-3EB3-4622-A2C0-44135BE18E00}"/>
                </a:ext>
              </a:extLst>
            </p:cNvPr>
            <p:cNvSpPr/>
            <p:nvPr/>
          </p:nvSpPr>
          <p:spPr>
            <a:xfrm>
              <a:off x="4951705" y="2729160"/>
              <a:ext cx="2278812" cy="2612773"/>
            </a:xfrm>
            <a:custGeom>
              <a:avLst/>
              <a:gdLst/>
              <a:ahLst/>
              <a:cxnLst>
                <a:cxn ang="0">
                  <a:pos x="wd2" y="hd2"/>
                </a:cxn>
                <a:cxn ang="5400000">
                  <a:pos x="wd2" y="hd2"/>
                </a:cxn>
                <a:cxn ang="10800000">
                  <a:pos x="wd2" y="hd2"/>
                </a:cxn>
                <a:cxn ang="16200000">
                  <a:pos x="wd2" y="hd2"/>
                </a:cxn>
              </a:cxnLst>
              <a:rect l="0" t="0" r="r" b="b"/>
              <a:pathLst>
                <a:path w="21600" h="21600" extrusionOk="0">
                  <a:moveTo>
                    <a:pt x="11905" y="1298"/>
                  </a:moveTo>
                  <a:lnTo>
                    <a:pt x="11748" y="1386"/>
                  </a:lnTo>
                  <a:lnTo>
                    <a:pt x="11649" y="1501"/>
                  </a:lnTo>
                  <a:lnTo>
                    <a:pt x="11657" y="1629"/>
                  </a:lnTo>
                  <a:lnTo>
                    <a:pt x="11744" y="1704"/>
                  </a:lnTo>
                  <a:lnTo>
                    <a:pt x="11765" y="1791"/>
                  </a:lnTo>
                  <a:lnTo>
                    <a:pt x="11622" y="1915"/>
                  </a:lnTo>
                  <a:lnTo>
                    <a:pt x="11470" y="2059"/>
                  </a:lnTo>
                  <a:lnTo>
                    <a:pt x="11326" y="2096"/>
                  </a:lnTo>
                  <a:lnTo>
                    <a:pt x="11204" y="2078"/>
                  </a:lnTo>
                  <a:lnTo>
                    <a:pt x="10972" y="2003"/>
                  </a:lnTo>
                  <a:lnTo>
                    <a:pt x="10824" y="1959"/>
                  </a:lnTo>
                  <a:lnTo>
                    <a:pt x="10659" y="1903"/>
                  </a:lnTo>
                  <a:lnTo>
                    <a:pt x="10370" y="1872"/>
                  </a:lnTo>
                  <a:lnTo>
                    <a:pt x="10297" y="1768"/>
                  </a:lnTo>
                  <a:lnTo>
                    <a:pt x="10194" y="1639"/>
                  </a:lnTo>
                  <a:lnTo>
                    <a:pt x="10095" y="1497"/>
                  </a:lnTo>
                  <a:lnTo>
                    <a:pt x="9893" y="1403"/>
                  </a:lnTo>
                  <a:lnTo>
                    <a:pt x="9738" y="1384"/>
                  </a:lnTo>
                  <a:lnTo>
                    <a:pt x="9487" y="1311"/>
                  </a:lnTo>
                  <a:lnTo>
                    <a:pt x="9256" y="1311"/>
                  </a:lnTo>
                  <a:lnTo>
                    <a:pt x="9130" y="1305"/>
                  </a:lnTo>
                  <a:lnTo>
                    <a:pt x="9053" y="1242"/>
                  </a:lnTo>
                  <a:lnTo>
                    <a:pt x="8911" y="1116"/>
                  </a:lnTo>
                  <a:lnTo>
                    <a:pt x="8694" y="947"/>
                  </a:lnTo>
                  <a:lnTo>
                    <a:pt x="8636" y="849"/>
                  </a:lnTo>
                  <a:lnTo>
                    <a:pt x="8687" y="761"/>
                  </a:lnTo>
                  <a:lnTo>
                    <a:pt x="8783" y="636"/>
                  </a:lnTo>
                  <a:lnTo>
                    <a:pt x="8776" y="548"/>
                  </a:lnTo>
                  <a:lnTo>
                    <a:pt x="8704" y="440"/>
                  </a:lnTo>
                  <a:lnTo>
                    <a:pt x="8651" y="369"/>
                  </a:lnTo>
                  <a:lnTo>
                    <a:pt x="8694" y="263"/>
                  </a:lnTo>
                  <a:lnTo>
                    <a:pt x="8750" y="213"/>
                  </a:lnTo>
                  <a:lnTo>
                    <a:pt x="8706" y="120"/>
                  </a:lnTo>
                  <a:lnTo>
                    <a:pt x="8574" y="53"/>
                  </a:lnTo>
                  <a:lnTo>
                    <a:pt x="8473" y="0"/>
                  </a:lnTo>
                  <a:lnTo>
                    <a:pt x="8301" y="31"/>
                  </a:lnTo>
                  <a:lnTo>
                    <a:pt x="8038" y="123"/>
                  </a:lnTo>
                  <a:lnTo>
                    <a:pt x="7831" y="167"/>
                  </a:lnTo>
                  <a:lnTo>
                    <a:pt x="7542" y="204"/>
                  </a:lnTo>
                  <a:lnTo>
                    <a:pt x="7323" y="198"/>
                  </a:lnTo>
                  <a:lnTo>
                    <a:pt x="7098" y="173"/>
                  </a:lnTo>
                  <a:lnTo>
                    <a:pt x="6861" y="167"/>
                  </a:lnTo>
                  <a:lnTo>
                    <a:pt x="6735" y="117"/>
                  </a:lnTo>
                  <a:lnTo>
                    <a:pt x="6538" y="97"/>
                  </a:lnTo>
                  <a:lnTo>
                    <a:pt x="6405" y="145"/>
                  </a:lnTo>
                  <a:lnTo>
                    <a:pt x="6221" y="214"/>
                  </a:lnTo>
                  <a:lnTo>
                    <a:pt x="6040" y="224"/>
                  </a:lnTo>
                  <a:lnTo>
                    <a:pt x="5774" y="295"/>
                  </a:lnTo>
                  <a:lnTo>
                    <a:pt x="5503" y="389"/>
                  </a:lnTo>
                  <a:lnTo>
                    <a:pt x="5346" y="481"/>
                  </a:lnTo>
                  <a:lnTo>
                    <a:pt x="5159" y="600"/>
                  </a:lnTo>
                  <a:lnTo>
                    <a:pt x="4994" y="675"/>
                  </a:lnTo>
                  <a:cubicBezTo>
                    <a:pt x="4958" y="685"/>
                    <a:pt x="4920" y="693"/>
                    <a:pt x="4883" y="698"/>
                  </a:cubicBezTo>
                  <a:cubicBezTo>
                    <a:pt x="4849" y="702"/>
                    <a:pt x="4815" y="704"/>
                    <a:pt x="4781" y="704"/>
                  </a:cubicBezTo>
                  <a:lnTo>
                    <a:pt x="4638" y="679"/>
                  </a:lnTo>
                  <a:lnTo>
                    <a:pt x="4547" y="675"/>
                  </a:lnTo>
                  <a:lnTo>
                    <a:pt x="4417" y="656"/>
                  </a:lnTo>
                  <a:lnTo>
                    <a:pt x="4244" y="637"/>
                  </a:lnTo>
                  <a:lnTo>
                    <a:pt x="4107" y="562"/>
                  </a:lnTo>
                  <a:lnTo>
                    <a:pt x="3988" y="482"/>
                  </a:lnTo>
                  <a:lnTo>
                    <a:pt x="3873" y="464"/>
                  </a:lnTo>
                  <a:lnTo>
                    <a:pt x="3807" y="533"/>
                  </a:lnTo>
                  <a:lnTo>
                    <a:pt x="3751" y="608"/>
                  </a:lnTo>
                  <a:lnTo>
                    <a:pt x="3646" y="730"/>
                  </a:lnTo>
                  <a:lnTo>
                    <a:pt x="3580" y="822"/>
                  </a:lnTo>
                  <a:lnTo>
                    <a:pt x="3480" y="939"/>
                  </a:lnTo>
                  <a:lnTo>
                    <a:pt x="3212" y="1058"/>
                  </a:lnTo>
                  <a:lnTo>
                    <a:pt x="2961" y="1162"/>
                  </a:lnTo>
                  <a:lnTo>
                    <a:pt x="2882" y="1237"/>
                  </a:lnTo>
                  <a:lnTo>
                    <a:pt x="2746" y="1325"/>
                  </a:lnTo>
                  <a:lnTo>
                    <a:pt x="2704" y="1430"/>
                  </a:lnTo>
                  <a:lnTo>
                    <a:pt x="2576" y="1610"/>
                  </a:lnTo>
                  <a:lnTo>
                    <a:pt x="2532" y="1707"/>
                  </a:lnTo>
                  <a:lnTo>
                    <a:pt x="2566" y="1826"/>
                  </a:lnTo>
                  <a:lnTo>
                    <a:pt x="2573" y="1918"/>
                  </a:lnTo>
                  <a:lnTo>
                    <a:pt x="2559" y="2012"/>
                  </a:lnTo>
                  <a:lnTo>
                    <a:pt x="2544" y="2114"/>
                  </a:lnTo>
                  <a:lnTo>
                    <a:pt x="2436" y="2195"/>
                  </a:lnTo>
                  <a:lnTo>
                    <a:pt x="2269" y="2330"/>
                  </a:lnTo>
                  <a:lnTo>
                    <a:pt x="2091" y="2512"/>
                  </a:lnTo>
                  <a:lnTo>
                    <a:pt x="1925" y="2605"/>
                  </a:lnTo>
                  <a:lnTo>
                    <a:pt x="1797" y="2653"/>
                  </a:lnTo>
                  <a:lnTo>
                    <a:pt x="1647" y="2722"/>
                  </a:lnTo>
                  <a:lnTo>
                    <a:pt x="1528" y="2808"/>
                  </a:lnTo>
                  <a:lnTo>
                    <a:pt x="1447" y="2931"/>
                  </a:lnTo>
                  <a:lnTo>
                    <a:pt x="1332" y="3038"/>
                  </a:lnTo>
                  <a:lnTo>
                    <a:pt x="1173" y="3213"/>
                  </a:lnTo>
                  <a:lnTo>
                    <a:pt x="1030" y="3388"/>
                  </a:lnTo>
                  <a:lnTo>
                    <a:pt x="1001" y="3475"/>
                  </a:lnTo>
                  <a:lnTo>
                    <a:pt x="951" y="3585"/>
                  </a:lnTo>
                  <a:lnTo>
                    <a:pt x="845" y="3723"/>
                  </a:lnTo>
                  <a:lnTo>
                    <a:pt x="700" y="3911"/>
                  </a:lnTo>
                  <a:lnTo>
                    <a:pt x="650" y="4048"/>
                  </a:lnTo>
                  <a:lnTo>
                    <a:pt x="448" y="4221"/>
                  </a:lnTo>
                  <a:lnTo>
                    <a:pt x="410" y="4305"/>
                  </a:lnTo>
                  <a:lnTo>
                    <a:pt x="349" y="4386"/>
                  </a:lnTo>
                  <a:lnTo>
                    <a:pt x="269" y="4455"/>
                  </a:lnTo>
                  <a:lnTo>
                    <a:pt x="232" y="4555"/>
                  </a:lnTo>
                  <a:lnTo>
                    <a:pt x="226" y="4651"/>
                  </a:lnTo>
                  <a:lnTo>
                    <a:pt x="176" y="4751"/>
                  </a:lnTo>
                  <a:lnTo>
                    <a:pt x="156" y="4813"/>
                  </a:lnTo>
                  <a:lnTo>
                    <a:pt x="163" y="4888"/>
                  </a:lnTo>
                  <a:lnTo>
                    <a:pt x="220" y="5002"/>
                  </a:lnTo>
                  <a:lnTo>
                    <a:pt x="292" y="5121"/>
                  </a:lnTo>
                  <a:lnTo>
                    <a:pt x="355" y="5258"/>
                  </a:lnTo>
                  <a:lnTo>
                    <a:pt x="369" y="5453"/>
                  </a:lnTo>
                  <a:lnTo>
                    <a:pt x="413" y="5578"/>
                  </a:lnTo>
                  <a:lnTo>
                    <a:pt x="477" y="5695"/>
                  </a:lnTo>
                  <a:lnTo>
                    <a:pt x="477" y="5825"/>
                  </a:lnTo>
                  <a:lnTo>
                    <a:pt x="441" y="5944"/>
                  </a:lnTo>
                  <a:lnTo>
                    <a:pt x="405" y="6019"/>
                  </a:lnTo>
                  <a:lnTo>
                    <a:pt x="391" y="6138"/>
                  </a:lnTo>
                  <a:lnTo>
                    <a:pt x="355" y="6250"/>
                  </a:lnTo>
                  <a:lnTo>
                    <a:pt x="307" y="6323"/>
                  </a:lnTo>
                  <a:lnTo>
                    <a:pt x="280" y="6392"/>
                  </a:lnTo>
                  <a:lnTo>
                    <a:pt x="215" y="6459"/>
                  </a:lnTo>
                  <a:lnTo>
                    <a:pt x="80" y="6545"/>
                  </a:lnTo>
                  <a:lnTo>
                    <a:pt x="0" y="6592"/>
                  </a:lnTo>
                  <a:lnTo>
                    <a:pt x="0" y="6680"/>
                  </a:lnTo>
                  <a:lnTo>
                    <a:pt x="74" y="6761"/>
                  </a:lnTo>
                  <a:lnTo>
                    <a:pt x="110" y="6891"/>
                  </a:lnTo>
                  <a:lnTo>
                    <a:pt x="117" y="7009"/>
                  </a:lnTo>
                  <a:lnTo>
                    <a:pt x="117" y="7138"/>
                  </a:lnTo>
                  <a:lnTo>
                    <a:pt x="61" y="7213"/>
                  </a:lnTo>
                  <a:lnTo>
                    <a:pt x="54" y="7299"/>
                  </a:lnTo>
                  <a:lnTo>
                    <a:pt x="185" y="7447"/>
                  </a:lnTo>
                  <a:lnTo>
                    <a:pt x="278" y="7578"/>
                  </a:lnTo>
                  <a:lnTo>
                    <a:pt x="459" y="7641"/>
                  </a:lnTo>
                  <a:lnTo>
                    <a:pt x="564" y="7676"/>
                  </a:lnTo>
                  <a:lnTo>
                    <a:pt x="670" y="7805"/>
                  </a:lnTo>
                  <a:lnTo>
                    <a:pt x="779" y="7951"/>
                  </a:lnTo>
                  <a:lnTo>
                    <a:pt x="880" y="8070"/>
                  </a:lnTo>
                  <a:lnTo>
                    <a:pt x="1010" y="8216"/>
                  </a:lnTo>
                  <a:lnTo>
                    <a:pt x="1152" y="8321"/>
                  </a:lnTo>
                  <a:lnTo>
                    <a:pt x="1238" y="8546"/>
                  </a:lnTo>
                  <a:lnTo>
                    <a:pt x="1195" y="8652"/>
                  </a:lnTo>
                  <a:lnTo>
                    <a:pt x="1275" y="8822"/>
                  </a:lnTo>
                  <a:lnTo>
                    <a:pt x="1378" y="8876"/>
                  </a:lnTo>
                  <a:lnTo>
                    <a:pt x="1513" y="8970"/>
                  </a:lnTo>
                  <a:lnTo>
                    <a:pt x="1679" y="9195"/>
                  </a:lnTo>
                  <a:lnTo>
                    <a:pt x="1843" y="9284"/>
                  </a:lnTo>
                  <a:lnTo>
                    <a:pt x="1963" y="9393"/>
                  </a:lnTo>
                  <a:lnTo>
                    <a:pt x="2026" y="9468"/>
                  </a:lnTo>
                  <a:lnTo>
                    <a:pt x="2137" y="9480"/>
                  </a:lnTo>
                  <a:lnTo>
                    <a:pt x="2185" y="9549"/>
                  </a:lnTo>
                  <a:lnTo>
                    <a:pt x="2387" y="9655"/>
                  </a:lnTo>
                  <a:lnTo>
                    <a:pt x="2546" y="9722"/>
                  </a:lnTo>
                  <a:lnTo>
                    <a:pt x="2676" y="9747"/>
                  </a:lnTo>
                  <a:lnTo>
                    <a:pt x="2864" y="9801"/>
                  </a:lnTo>
                  <a:lnTo>
                    <a:pt x="3059" y="9868"/>
                  </a:lnTo>
                  <a:lnTo>
                    <a:pt x="3321" y="9803"/>
                  </a:lnTo>
                  <a:lnTo>
                    <a:pt x="3355" y="9741"/>
                  </a:lnTo>
                  <a:lnTo>
                    <a:pt x="3514" y="9656"/>
                  </a:lnTo>
                  <a:lnTo>
                    <a:pt x="3671" y="9656"/>
                  </a:lnTo>
                  <a:lnTo>
                    <a:pt x="3834" y="9668"/>
                  </a:lnTo>
                  <a:lnTo>
                    <a:pt x="3928" y="9618"/>
                  </a:lnTo>
                  <a:lnTo>
                    <a:pt x="4065" y="9568"/>
                  </a:lnTo>
                  <a:lnTo>
                    <a:pt x="4183" y="9562"/>
                  </a:lnTo>
                  <a:lnTo>
                    <a:pt x="4264" y="9614"/>
                  </a:lnTo>
                  <a:lnTo>
                    <a:pt x="4399" y="9656"/>
                  </a:lnTo>
                  <a:lnTo>
                    <a:pt x="4491" y="9685"/>
                  </a:lnTo>
                  <a:lnTo>
                    <a:pt x="4570" y="9697"/>
                  </a:lnTo>
                  <a:lnTo>
                    <a:pt x="4741" y="9672"/>
                  </a:lnTo>
                  <a:lnTo>
                    <a:pt x="4835" y="9629"/>
                  </a:lnTo>
                  <a:lnTo>
                    <a:pt x="5049" y="9541"/>
                  </a:lnTo>
                  <a:lnTo>
                    <a:pt x="5236" y="9504"/>
                  </a:lnTo>
                  <a:lnTo>
                    <a:pt x="5409" y="9560"/>
                  </a:lnTo>
                  <a:lnTo>
                    <a:pt x="5568" y="9456"/>
                  </a:lnTo>
                  <a:lnTo>
                    <a:pt x="5900" y="9362"/>
                  </a:lnTo>
                  <a:lnTo>
                    <a:pt x="6211" y="9231"/>
                  </a:lnTo>
                  <a:lnTo>
                    <a:pt x="6387" y="9206"/>
                  </a:lnTo>
                  <a:lnTo>
                    <a:pt x="6552" y="9212"/>
                  </a:lnTo>
                  <a:lnTo>
                    <a:pt x="6746" y="9256"/>
                  </a:lnTo>
                  <a:lnTo>
                    <a:pt x="6865" y="9309"/>
                  </a:lnTo>
                  <a:lnTo>
                    <a:pt x="6951" y="9353"/>
                  </a:lnTo>
                  <a:lnTo>
                    <a:pt x="7023" y="9409"/>
                  </a:lnTo>
                  <a:lnTo>
                    <a:pt x="7103" y="9497"/>
                  </a:lnTo>
                  <a:lnTo>
                    <a:pt x="7134" y="9626"/>
                  </a:lnTo>
                  <a:lnTo>
                    <a:pt x="7148" y="9713"/>
                  </a:lnTo>
                  <a:lnTo>
                    <a:pt x="7170" y="9786"/>
                  </a:lnTo>
                  <a:lnTo>
                    <a:pt x="7298" y="9829"/>
                  </a:lnTo>
                  <a:lnTo>
                    <a:pt x="7435" y="9842"/>
                  </a:lnTo>
                  <a:lnTo>
                    <a:pt x="7584" y="9786"/>
                  </a:lnTo>
                  <a:lnTo>
                    <a:pt x="7980" y="9786"/>
                  </a:lnTo>
                  <a:lnTo>
                    <a:pt x="8202" y="9831"/>
                  </a:lnTo>
                  <a:lnTo>
                    <a:pt x="8289" y="9968"/>
                  </a:lnTo>
                  <a:lnTo>
                    <a:pt x="8455" y="10087"/>
                  </a:lnTo>
                  <a:lnTo>
                    <a:pt x="8491" y="10175"/>
                  </a:lnTo>
                  <a:lnTo>
                    <a:pt x="8498" y="10323"/>
                  </a:lnTo>
                  <a:lnTo>
                    <a:pt x="8534" y="10455"/>
                  </a:lnTo>
                  <a:lnTo>
                    <a:pt x="8534" y="10567"/>
                  </a:lnTo>
                  <a:lnTo>
                    <a:pt x="8486" y="10709"/>
                  </a:lnTo>
                  <a:lnTo>
                    <a:pt x="8438" y="10877"/>
                  </a:lnTo>
                  <a:lnTo>
                    <a:pt x="8421" y="11008"/>
                  </a:lnTo>
                  <a:lnTo>
                    <a:pt x="8356" y="11171"/>
                  </a:lnTo>
                  <a:lnTo>
                    <a:pt x="8236" y="11348"/>
                  </a:lnTo>
                  <a:lnTo>
                    <a:pt x="8272" y="11458"/>
                  </a:lnTo>
                  <a:lnTo>
                    <a:pt x="8279" y="11545"/>
                  </a:lnTo>
                  <a:lnTo>
                    <a:pt x="8322" y="11649"/>
                  </a:lnTo>
                  <a:lnTo>
                    <a:pt x="8387" y="11749"/>
                  </a:lnTo>
                  <a:lnTo>
                    <a:pt x="8437" y="11849"/>
                  </a:lnTo>
                  <a:lnTo>
                    <a:pt x="8567" y="11936"/>
                  </a:lnTo>
                  <a:lnTo>
                    <a:pt x="8726" y="12086"/>
                  </a:lnTo>
                  <a:lnTo>
                    <a:pt x="8935" y="12257"/>
                  </a:lnTo>
                  <a:lnTo>
                    <a:pt x="9193" y="12538"/>
                  </a:lnTo>
                  <a:lnTo>
                    <a:pt x="9222" y="12667"/>
                  </a:lnTo>
                  <a:lnTo>
                    <a:pt x="9215" y="12761"/>
                  </a:lnTo>
                  <a:lnTo>
                    <a:pt x="9229" y="12888"/>
                  </a:lnTo>
                  <a:lnTo>
                    <a:pt x="9266" y="13018"/>
                  </a:lnTo>
                  <a:lnTo>
                    <a:pt x="9302" y="13097"/>
                  </a:lnTo>
                  <a:lnTo>
                    <a:pt x="9403" y="13235"/>
                  </a:lnTo>
                  <a:lnTo>
                    <a:pt x="9453" y="13316"/>
                  </a:lnTo>
                  <a:lnTo>
                    <a:pt x="9566" y="13451"/>
                  </a:lnTo>
                  <a:lnTo>
                    <a:pt x="9766" y="13633"/>
                  </a:lnTo>
                  <a:lnTo>
                    <a:pt x="9692" y="13770"/>
                  </a:lnTo>
                  <a:lnTo>
                    <a:pt x="9591" y="13864"/>
                  </a:lnTo>
                  <a:lnTo>
                    <a:pt x="9591" y="13962"/>
                  </a:lnTo>
                  <a:lnTo>
                    <a:pt x="9620" y="14068"/>
                  </a:lnTo>
                  <a:lnTo>
                    <a:pt x="9710" y="14197"/>
                  </a:lnTo>
                  <a:lnTo>
                    <a:pt x="9780" y="14370"/>
                  </a:lnTo>
                  <a:lnTo>
                    <a:pt x="9795" y="14482"/>
                  </a:lnTo>
                  <a:lnTo>
                    <a:pt x="9802" y="14588"/>
                  </a:lnTo>
                  <a:lnTo>
                    <a:pt x="9775" y="14690"/>
                  </a:lnTo>
                  <a:lnTo>
                    <a:pt x="9739" y="14790"/>
                  </a:lnTo>
                  <a:lnTo>
                    <a:pt x="9667" y="14915"/>
                  </a:lnTo>
                  <a:lnTo>
                    <a:pt x="9609" y="15021"/>
                  </a:lnTo>
                  <a:lnTo>
                    <a:pt x="9530" y="15132"/>
                  </a:lnTo>
                  <a:lnTo>
                    <a:pt x="9479" y="15276"/>
                  </a:lnTo>
                  <a:lnTo>
                    <a:pt x="9395" y="15443"/>
                  </a:lnTo>
                  <a:lnTo>
                    <a:pt x="9345" y="15586"/>
                  </a:lnTo>
                  <a:lnTo>
                    <a:pt x="9275" y="15726"/>
                  </a:lnTo>
                  <a:lnTo>
                    <a:pt x="9162" y="15929"/>
                  </a:lnTo>
                  <a:lnTo>
                    <a:pt x="9125" y="16060"/>
                  </a:lnTo>
                  <a:lnTo>
                    <a:pt x="9118" y="16204"/>
                  </a:lnTo>
                  <a:lnTo>
                    <a:pt x="9133" y="16366"/>
                  </a:lnTo>
                  <a:lnTo>
                    <a:pt x="9145" y="16558"/>
                  </a:lnTo>
                  <a:lnTo>
                    <a:pt x="9224" y="16671"/>
                  </a:lnTo>
                  <a:lnTo>
                    <a:pt x="9275" y="16808"/>
                  </a:lnTo>
                  <a:lnTo>
                    <a:pt x="9364" y="16942"/>
                  </a:lnTo>
                  <a:lnTo>
                    <a:pt x="9448" y="17105"/>
                  </a:lnTo>
                  <a:lnTo>
                    <a:pt x="9540" y="17211"/>
                  </a:lnTo>
                  <a:lnTo>
                    <a:pt x="9663" y="17399"/>
                  </a:lnTo>
                  <a:lnTo>
                    <a:pt x="9739" y="17522"/>
                  </a:lnTo>
                  <a:lnTo>
                    <a:pt x="9826" y="17703"/>
                  </a:lnTo>
                  <a:lnTo>
                    <a:pt x="9978" y="17846"/>
                  </a:lnTo>
                  <a:lnTo>
                    <a:pt x="9978" y="17984"/>
                  </a:lnTo>
                  <a:lnTo>
                    <a:pt x="10014" y="18084"/>
                  </a:lnTo>
                  <a:lnTo>
                    <a:pt x="10050" y="18240"/>
                  </a:lnTo>
                  <a:lnTo>
                    <a:pt x="10081" y="18371"/>
                  </a:lnTo>
                  <a:lnTo>
                    <a:pt x="10146" y="18518"/>
                  </a:lnTo>
                  <a:lnTo>
                    <a:pt x="10197" y="18674"/>
                  </a:lnTo>
                  <a:lnTo>
                    <a:pt x="10223" y="18828"/>
                  </a:lnTo>
                  <a:lnTo>
                    <a:pt x="10173" y="18905"/>
                  </a:lnTo>
                  <a:cubicBezTo>
                    <a:pt x="10161" y="18932"/>
                    <a:pt x="10154" y="18960"/>
                    <a:pt x="10154" y="18989"/>
                  </a:cubicBezTo>
                  <a:cubicBezTo>
                    <a:pt x="10153" y="19050"/>
                    <a:pt x="10179" y="19109"/>
                    <a:pt x="10226" y="19154"/>
                  </a:cubicBezTo>
                  <a:lnTo>
                    <a:pt x="10226" y="19319"/>
                  </a:lnTo>
                  <a:lnTo>
                    <a:pt x="10198" y="19438"/>
                  </a:lnTo>
                  <a:lnTo>
                    <a:pt x="10205" y="19569"/>
                  </a:lnTo>
                  <a:lnTo>
                    <a:pt x="10335" y="19657"/>
                  </a:lnTo>
                  <a:cubicBezTo>
                    <a:pt x="10390" y="19680"/>
                    <a:pt x="10437" y="19714"/>
                    <a:pt x="10472" y="19757"/>
                  </a:cubicBezTo>
                  <a:cubicBezTo>
                    <a:pt x="10520" y="19816"/>
                    <a:pt x="10543" y="19887"/>
                    <a:pt x="10537" y="19959"/>
                  </a:cubicBezTo>
                  <a:cubicBezTo>
                    <a:pt x="10582" y="19972"/>
                    <a:pt x="10624" y="19991"/>
                    <a:pt x="10662" y="20015"/>
                  </a:cubicBezTo>
                  <a:cubicBezTo>
                    <a:pt x="10709" y="20045"/>
                    <a:pt x="10748" y="20083"/>
                    <a:pt x="10778" y="20126"/>
                  </a:cubicBezTo>
                  <a:lnTo>
                    <a:pt x="10833" y="20258"/>
                  </a:lnTo>
                  <a:lnTo>
                    <a:pt x="10886" y="20443"/>
                  </a:lnTo>
                  <a:lnTo>
                    <a:pt x="10987" y="20518"/>
                  </a:lnTo>
                  <a:lnTo>
                    <a:pt x="11146" y="20643"/>
                  </a:lnTo>
                  <a:lnTo>
                    <a:pt x="11228" y="20767"/>
                  </a:lnTo>
                  <a:lnTo>
                    <a:pt x="11192" y="20929"/>
                  </a:lnTo>
                  <a:lnTo>
                    <a:pt x="11116" y="20979"/>
                  </a:lnTo>
                  <a:lnTo>
                    <a:pt x="11094" y="21129"/>
                  </a:lnTo>
                  <a:lnTo>
                    <a:pt x="11138" y="21216"/>
                  </a:lnTo>
                  <a:lnTo>
                    <a:pt x="11232" y="21323"/>
                  </a:lnTo>
                  <a:lnTo>
                    <a:pt x="11296" y="21404"/>
                  </a:lnTo>
                  <a:lnTo>
                    <a:pt x="11398" y="21485"/>
                  </a:lnTo>
                  <a:lnTo>
                    <a:pt x="11510" y="21554"/>
                  </a:lnTo>
                  <a:lnTo>
                    <a:pt x="11611" y="21600"/>
                  </a:lnTo>
                  <a:lnTo>
                    <a:pt x="11710" y="21587"/>
                  </a:lnTo>
                  <a:lnTo>
                    <a:pt x="11885" y="21519"/>
                  </a:lnTo>
                  <a:lnTo>
                    <a:pt x="12056" y="21494"/>
                  </a:lnTo>
                  <a:lnTo>
                    <a:pt x="12201" y="21481"/>
                  </a:lnTo>
                  <a:lnTo>
                    <a:pt x="12338" y="21418"/>
                  </a:lnTo>
                  <a:lnTo>
                    <a:pt x="12439" y="21389"/>
                  </a:lnTo>
                  <a:lnTo>
                    <a:pt x="12576" y="21408"/>
                  </a:lnTo>
                  <a:lnTo>
                    <a:pt x="12739" y="21426"/>
                  </a:lnTo>
                  <a:lnTo>
                    <a:pt x="12983" y="21499"/>
                  </a:lnTo>
                  <a:lnTo>
                    <a:pt x="13082" y="21535"/>
                  </a:lnTo>
                  <a:lnTo>
                    <a:pt x="13262" y="21478"/>
                  </a:lnTo>
                  <a:lnTo>
                    <a:pt x="13457" y="21372"/>
                  </a:lnTo>
                  <a:lnTo>
                    <a:pt x="13645" y="21293"/>
                  </a:lnTo>
                  <a:lnTo>
                    <a:pt x="13855" y="21184"/>
                  </a:lnTo>
                  <a:lnTo>
                    <a:pt x="13917" y="21124"/>
                  </a:lnTo>
                  <a:lnTo>
                    <a:pt x="14020" y="21112"/>
                  </a:lnTo>
                  <a:lnTo>
                    <a:pt x="14140" y="20918"/>
                  </a:lnTo>
                  <a:lnTo>
                    <a:pt x="14308" y="20841"/>
                  </a:lnTo>
                  <a:lnTo>
                    <a:pt x="14496" y="20735"/>
                  </a:lnTo>
                  <a:lnTo>
                    <a:pt x="14532" y="20631"/>
                  </a:lnTo>
                  <a:cubicBezTo>
                    <a:pt x="14523" y="20597"/>
                    <a:pt x="14526" y="20563"/>
                    <a:pt x="14539" y="20531"/>
                  </a:cubicBezTo>
                  <a:cubicBezTo>
                    <a:pt x="14575" y="20440"/>
                    <a:pt x="14682" y="20384"/>
                    <a:pt x="14791" y="20399"/>
                  </a:cubicBezTo>
                  <a:lnTo>
                    <a:pt x="14996" y="20260"/>
                  </a:lnTo>
                  <a:lnTo>
                    <a:pt x="15107" y="20110"/>
                  </a:lnTo>
                  <a:lnTo>
                    <a:pt x="15150" y="19997"/>
                  </a:lnTo>
                  <a:lnTo>
                    <a:pt x="15186" y="19891"/>
                  </a:lnTo>
                  <a:lnTo>
                    <a:pt x="15369" y="19792"/>
                  </a:lnTo>
                  <a:lnTo>
                    <a:pt x="15454" y="19676"/>
                  </a:lnTo>
                  <a:lnTo>
                    <a:pt x="15576" y="19632"/>
                  </a:lnTo>
                  <a:lnTo>
                    <a:pt x="15638" y="19549"/>
                  </a:lnTo>
                  <a:lnTo>
                    <a:pt x="15609" y="19482"/>
                  </a:lnTo>
                  <a:lnTo>
                    <a:pt x="15554" y="19391"/>
                  </a:lnTo>
                  <a:lnTo>
                    <a:pt x="15540" y="19247"/>
                  </a:lnTo>
                  <a:lnTo>
                    <a:pt x="15594" y="18994"/>
                  </a:lnTo>
                  <a:lnTo>
                    <a:pt x="15680" y="18888"/>
                  </a:lnTo>
                  <a:lnTo>
                    <a:pt x="15783" y="18803"/>
                  </a:lnTo>
                  <a:lnTo>
                    <a:pt x="16108" y="18703"/>
                  </a:lnTo>
                  <a:lnTo>
                    <a:pt x="16294" y="18563"/>
                  </a:lnTo>
                  <a:lnTo>
                    <a:pt x="16356" y="18482"/>
                  </a:lnTo>
                  <a:lnTo>
                    <a:pt x="16450" y="18419"/>
                  </a:lnTo>
                  <a:lnTo>
                    <a:pt x="16505" y="18325"/>
                  </a:lnTo>
                  <a:lnTo>
                    <a:pt x="16541" y="18156"/>
                  </a:lnTo>
                  <a:lnTo>
                    <a:pt x="16548" y="18043"/>
                  </a:lnTo>
                  <a:lnTo>
                    <a:pt x="16548" y="17943"/>
                  </a:lnTo>
                  <a:lnTo>
                    <a:pt x="16457" y="17826"/>
                  </a:lnTo>
                  <a:lnTo>
                    <a:pt x="16334" y="17670"/>
                  </a:lnTo>
                  <a:lnTo>
                    <a:pt x="16240" y="17538"/>
                  </a:lnTo>
                  <a:lnTo>
                    <a:pt x="16254" y="17449"/>
                  </a:lnTo>
                  <a:lnTo>
                    <a:pt x="16304" y="17342"/>
                  </a:lnTo>
                  <a:lnTo>
                    <a:pt x="16369" y="17186"/>
                  </a:lnTo>
                  <a:lnTo>
                    <a:pt x="16451" y="17084"/>
                  </a:lnTo>
                  <a:lnTo>
                    <a:pt x="16585" y="16986"/>
                  </a:lnTo>
                  <a:lnTo>
                    <a:pt x="16672" y="16904"/>
                  </a:lnTo>
                  <a:lnTo>
                    <a:pt x="16819" y="16806"/>
                  </a:lnTo>
                  <a:lnTo>
                    <a:pt x="16908" y="16667"/>
                  </a:lnTo>
                  <a:lnTo>
                    <a:pt x="17014" y="16561"/>
                  </a:lnTo>
                  <a:lnTo>
                    <a:pt x="17093" y="16492"/>
                  </a:lnTo>
                  <a:lnTo>
                    <a:pt x="17208" y="16417"/>
                  </a:lnTo>
                  <a:lnTo>
                    <a:pt x="17512" y="16298"/>
                  </a:lnTo>
                  <a:lnTo>
                    <a:pt x="17764" y="16173"/>
                  </a:lnTo>
                  <a:lnTo>
                    <a:pt x="17834" y="16130"/>
                  </a:lnTo>
                  <a:lnTo>
                    <a:pt x="18026" y="15990"/>
                  </a:lnTo>
                  <a:cubicBezTo>
                    <a:pt x="18082" y="15956"/>
                    <a:pt x="18127" y="15911"/>
                    <a:pt x="18157" y="15859"/>
                  </a:cubicBezTo>
                  <a:cubicBezTo>
                    <a:pt x="18188" y="15803"/>
                    <a:pt x="18203" y="15741"/>
                    <a:pt x="18198" y="15679"/>
                  </a:cubicBezTo>
                  <a:lnTo>
                    <a:pt x="18246" y="15583"/>
                  </a:lnTo>
                  <a:lnTo>
                    <a:pt x="18366" y="15487"/>
                  </a:lnTo>
                  <a:lnTo>
                    <a:pt x="18345" y="15404"/>
                  </a:lnTo>
                  <a:lnTo>
                    <a:pt x="18243" y="15335"/>
                  </a:lnTo>
                  <a:lnTo>
                    <a:pt x="18279" y="15179"/>
                  </a:lnTo>
                  <a:lnTo>
                    <a:pt x="18265" y="15022"/>
                  </a:lnTo>
                  <a:lnTo>
                    <a:pt x="18188" y="14962"/>
                  </a:lnTo>
                  <a:cubicBezTo>
                    <a:pt x="18199" y="14916"/>
                    <a:pt x="18210" y="14869"/>
                    <a:pt x="18222" y="14823"/>
                  </a:cubicBezTo>
                  <a:cubicBezTo>
                    <a:pt x="18246" y="14730"/>
                    <a:pt x="18271" y="14638"/>
                    <a:pt x="18299" y="14547"/>
                  </a:cubicBezTo>
                  <a:lnTo>
                    <a:pt x="18285" y="14483"/>
                  </a:lnTo>
                  <a:lnTo>
                    <a:pt x="18215" y="14353"/>
                  </a:lnTo>
                  <a:lnTo>
                    <a:pt x="18136" y="14247"/>
                  </a:lnTo>
                  <a:lnTo>
                    <a:pt x="18078" y="14173"/>
                  </a:lnTo>
                  <a:lnTo>
                    <a:pt x="18002" y="14079"/>
                  </a:lnTo>
                  <a:lnTo>
                    <a:pt x="17843" y="13717"/>
                  </a:lnTo>
                  <a:lnTo>
                    <a:pt x="17758" y="13550"/>
                  </a:lnTo>
                  <a:lnTo>
                    <a:pt x="17758" y="13409"/>
                  </a:lnTo>
                  <a:lnTo>
                    <a:pt x="17751" y="13334"/>
                  </a:lnTo>
                  <a:lnTo>
                    <a:pt x="17751" y="13215"/>
                  </a:lnTo>
                  <a:lnTo>
                    <a:pt x="17758" y="13096"/>
                  </a:lnTo>
                  <a:lnTo>
                    <a:pt x="17763" y="12990"/>
                  </a:lnTo>
                  <a:lnTo>
                    <a:pt x="17785" y="12871"/>
                  </a:lnTo>
                  <a:lnTo>
                    <a:pt x="17806" y="12777"/>
                  </a:lnTo>
                  <a:lnTo>
                    <a:pt x="17847" y="12656"/>
                  </a:lnTo>
                  <a:lnTo>
                    <a:pt x="17869" y="12508"/>
                  </a:lnTo>
                  <a:lnTo>
                    <a:pt x="17948" y="12397"/>
                  </a:lnTo>
                  <a:lnTo>
                    <a:pt x="17975" y="12341"/>
                  </a:lnTo>
                  <a:lnTo>
                    <a:pt x="18025" y="12266"/>
                  </a:lnTo>
                  <a:lnTo>
                    <a:pt x="18119" y="12160"/>
                  </a:lnTo>
                  <a:lnTo>
                    <a:pt x="18213" y="12103"/>
                  </a:lnTo>
                  <a:lnTo>
                    <a:pt x="18266" y="11989"/>
                  </a:lnTo>
                  <a:lnTo>
                    <a:pt x="18374" y="11916"/>
                  </a:lnTo>
                  <a:lnTo>
                    <a:pt x="18483" y="11840"/>
                  </a:lnTo>
                  <a:lnTo>
                    <a:pt x="18706" y="11666"/>
                  </a:lnTo>
                  <a:lnTo>
                    <a:pt x="18844" y="11494"/>
                  </a:lnTo>
                  <a:lnTo>
                    <a:pt x="18938" y="11331"/>
                  </a:lnTo>
                  <a:lnTo>
                    <a:pt x="19010" y="11281"/>
                  </a:lnTo>
                  <a:lnTo>
                    <a:pt x="19096" y="11194"/>
                  </a:lnTo>
                  <a:lnTo>
                    <a:pt x="19175" y="11131"/>
                  </a:lnTo>
                  <a:lnTo>
                    <a:pt x="19282" y="10996"/>
                  </a:lnTo>
                  <a:lnTo>
                    <a:pt x="19324" y="10940"/>
                  </a:lnTo>
                  <a:lnTo>
                    <a:pt x="19389" y="10872"/>
                  </a:lnTo>
                  <a:lnTo>
                    <a:pt x="19524" y="10799"/>
                  </a:lnTo>
                  <a:cubicBezTo>
                    <a:pt x="19560" y="10778"/>
                    <a:pt x="19596" y="10758"/>
                    <a:pt x="19632" y="10738"/>
                  </a:cubicBezTo>
                  <a:cubicBezTo>
                    <a:pt x="19704" y="10698"/>
                    <a:pt x="19777" y="10660"/>
                    <a:pt x="19849" y="10621"/>
                  </a:cubicBezTo>
                  <a:lnTo>
                    <a:pt x="20001" y="10465"/>
                  </a:lnTo>
                  <a:lnTo>
                    <a:pt x="20044" y="10396"/>
                  </a:lnTo>
                  <a:lnTo>
                    <a:pt x="20145" y="10315"/>
                  </a:lnTo>
                  <a:lnTo>
                    <a:pt x="20246" y="10299"/>
                  </a:lnTo>
                  <a:lnTo>
                    <a:pt x="20366" y="10226"/>
                  </a:lnTo>
                  <a:cubicBezTo>
                    <a:pt x="20392" y="10200"/>
                    <a:pt x="20416" y="10173"/>
                    <a:pt x="20438" y="10144"/>
                  </a:cubicBezTo>
                  <a:cubicBezTo>
                    <a:pt x="20479" y="10093"/>
                    <a:pt x="20513" y="10038"/>
                    <a:pt x="20540" y="9980"/>
                  </a:cubicBezTo>
                  <a:lnTo>
                    <a:pt x="20669" y="9713"/>
                  </a:lnTo>
                  <a:lnTo>
                    <a:pt x="20763" y="9627"/>
                  </a:lnTo>
                  <a:lnTo>
                    <a:pt x="20850" y="9427"/>
                  </a:lnTo>
                  <a:lnTo>
                    <a:pt x="21053" y="9218"/>
                  </a:lnTo>
                  <a:lnTo>
                    <a:pt x="21106" y="9101"/>
                  </a:lnTo>
                  <a:lnTo>
                    <a:pt x="21207" y="8920"/>
                  </a:lnTo>
                  <a:lnTo>
                    <a:pt x="21270" y="8773"/>
                  </a:lnTo>
                  <a:lnTo>
                    <a:pt x="21345" y="8665"/>
                  </a:lnTo>
                  <a:lnTo>
                    <a:pt x="21410" y="8525"/>
                  </a:lnTo>
                  <a:lnTo>
                    <a:pt x="21516" y="8371"/>
                  </a:lnTo>
                  <a:lnTo>
                    <a:pt x="21542" y="8283"/>
                  </a:lnTo>
                  <a:lnTo>
                    <a:pt x="21600" y="8133"/>
                  </a:lnTo>
                  <a:lnTo>
                    <a:pt x="21600" y="8003"/>
                  </a:lnTo>
                  <a:lnTo>
                    <a:pt x="21549" y="7866"/>
                  </a:lnTo>
                  <a:lnTo>
                    <a:pt x="21537" y="7747"/>
                  </a:lnTo>
                  <a:lnTo>
                    <a:pt x="21528" y="7674"/>
                  </a:lnTo>
                  <a:lnTo>
                    <a:pt x="21417" y="7699"/>
                  </a:lnTo>
                  <a:lnTo>
                    <a:pt x="21251" y="7784"/>
                  </a:lnTo>
                  <a:lnTo>
                    <a:pt x="20953" y="7845"/>
                  </a:lnTo>
                  <a:lnTo>
                    <a:pt x="20707" y="7931"/>
                  </a:lnTo>
                  <a:lnTo>
                    <a:pt x="20477" y="7987"/>
                  </a:lnTo>
                  <a:lnTo>
                    <a:pt x="20226" y="8018"/>
                  </a:lnTo>
                  <a:lnTo>
                    <a:pt x="19987" y="8056"/>
                  </a:lnTo>
                  <a:lnTo>
                    <a:pt x="19901" y="8080"/>
                  </a:lnTo>
                  <a:lnTo>
                    <a:pt x="19803" y="8110"/>
                  </a:lnTo>
                  <a:lnTo>
                    <a:pt x="19721" y="8116"/>
                  </a:lnTo>
                  <a:lnTo>
                    <a:pt x="19490" y="8053"/>
                  </a:lnTo>
                  <a:cubicBezTo>
                    <a:pt x="19444" y="8038"/>
                    <a:pt x="19398" y="8022"/>
                    <a:pt x="19353" y="8003"/>
                  </a:cubicBezTo>
                  <a:cubicBezTo>
                    <a:pt x="19301" y="7982"/>
                    <a:pt x="19251" y="7959"/>
                    <a:pt x="19202" y="7934"/>
                  </a:cubicBezTo>
                  <a:lnTo>
                    <a:pt x="19144" y="7826"/>
                  </a:lnTo>
                  <a:lnTo>
                    <a:pt x="19151" y="7733"/>
                  </a:lnTo>
                  <a:lnTo>
                    <a:pt x="19091" y="7614"/>
                  </a:lnTo>
                  <a:lnTo>
                    <a:pt x="19062" y="7518"/>
                  </a:lnTo>
                  <a:lnTo>
                    <a:pt x="19033" y="7385"/>
                  </a:lnTo>
                  <a:lnTo>
                    <a:pt x="18862" y="7343"/>
                  </a:lnTo>
                  <a:lnTo>
                    <a:pt x="18805" y="7243"/>
                  </a:lnTo>
                  <a:lnTo>
                    <a:pt x="18783" y="7166"/>
                  </a:lnTo>
                  <a:lnTo>
                    <a:pt x="18632" y="7073"/>
                  </a:lnTo>
                  <a:lnTo>
                    <a:pt x="18605" y="6906"/>
                  </a:lnTo>
                  <a:lnTo>
                    <a:pt x="18519" y="6897"/>
                  </a:lnTo>
                  <a:cubicBezTo>
                    <a:pt x="18492" y="6901"/>
                    <a:pt x="18465" y="6899"/>
                    <a:pt x="18439" y="6891"/>
                  </a:cubicBezTo>
                  <a:cubicBezTo>
                    <a:pt x="18366" y="6870"/>
                    <a:pt x="18317" y="6810"/>
                    <a:pt x="18316" y="6743"/>
                  </a:cubicBezTo>
                  <a:cubicBezTo>
                    <a:pt x="18302" y="6716"/>
                    <a:pt x="18283" y="6691"/>
                    <a:pt x="18261" y="6668"/>
                  </a:cubicBezTo>
                  <a:cubicBezTo>
                    <a:pt x="18230" y="6636"/>
                    <a:pt x="18191" y="6609"/>
                    <a:pt x="18148" y="6589"/>
                  </a:cubicBezTo>
                  <a:lnTo>
                    <a:pt x="18030" y="6579"/>
                  </a:lnTo>
                  <a:lnTo>
                    <a:pt x="17871" y="6463"/>
                  </a:lnTo>
                  <a:lnTo>
                    <a:pt x="17771" y="6355"/>
                  </a:lnTo>
                  <a:lnTo>
                    <a:pt x="17792" y="6247"/>
                  </a:lnTo>
                  <a:lnTo>
                    <a:pt x="17721" y="6185"/>
                  </a:lnTo>
                  <a:lnTo>
                    <a:pt x="17713" y="6087"/>
                  </a:lnTo>
                  <a:lnTo>
                    <a:pt x="17711" y="6006"/>
                  </a:lnTo>
                  <a:lnTo>
                    <a:pt x="17530" y="5908"/>
                  </a:lnTo>
                  <a:lnTo>
                    <a:pt x="17460" y="5774"/>
                  </a:lnTo>
                  <a:lnTo>
                    <a:pt x="17402" y="5680"/>
                  </a:lnTo>
                  <a:lnTo>
                    <a:pt x="17258" y="5530"/>
                  </a:lnTo>
                  <a:lnTo>
                    <a:pt x="17183" y="5451"/>
                  </a:lnTo>
                  <a:lnTo>
                    <a:pt x="17082" y="5351"/>
                  </a:lnTo>
                  <a:lnTo>
                    <a:pt x="17048" y="5222"/>
                  </a:lnTo>
                  <a:lnTo>
                    <a:pt x="17048" y="5089"/>
                  </a:lnTo>
                  <a:cubicBezTo>
                    <a:pt x="17065" y="5018"/>
                    <a:pt x="17060" y="4945"/>
                    <a:pt x="17034" y="4876"/>
                  </a:cubicBezTo>
                  <a:cubicBezTo>
                    <a:pt x="17013" y="4820"/>
                    <a:pt x="16978" y="4769"/>
                    <a:pt x="16933" y="4726"/>
                  </a:cubicBezTo>
                  <a:lnTo>
                    <a:pt x="16889" y="4630"/>
                  </a:lnTo>
                  <a:lnTo>
                    <a:pt x="16775" y="4458"/>
                  </a:lnTo>
                  <a:lnTo>
                    <a:pt x="16501" y="4341"/>
                  </a:lnTo>
                  <a:lnTo>
                    <a:pt x="16472" y="4199"/>
                  </a:lnTo>
                  <a:cubicBezTo>
                    <a:pt x="16470" y="4140"/>
                    <a:pt x="16461" y="4082"/>
                    <a:pt x="16443" y="4024"/>
                  </a:cubicBezTo>
                  <a:cubicBezTo>
                    <a:pt x="16425" y="3965"/>
                    <a:pt x="16398" y="3909"/>
                    <a:pt x="16363" y="3855"/>
                  </a:cubicBezTo>
                  <a:lnTo>
                    <a:pt x="16291" y="3674"/>
                  </a:lnTo>
                  <a:cubicBezTo>
                    <a:pt x="16289" y="3647"/>
                    <a:pt x="16285" y="3621"/>
                    <a:pt x="16277" y="3595"/>
                  </a:cubicBezTo>
                  <a:cubicBezTo>
                    <a:pt x="16256" y="3522"/>
                    <a:pt x="16213" y="3455"/>
                    <a:pt x="16154" y="3401"/>
                  </a:cubicBezTo>
                  <a:lnTo>
                    <a:pt x="16039" y="3250"/>
                  </a:lnTo>
                  <a:lnTo>
                    <a:pt x="15769" y="2894"/>
                  </a:lnTo>
                  <a:lnTo>
                    <a:pt x="15611" y="2670"/>
                  </a:lnTo>
                  <a:lnTo>
                    <a:pt x="15517" y="2564"/>
                  </a:lnTo>
                  <a:lnTo>
                    <a:pt x="15445" y="2442"/>
                  </a:lnTo>
                  <a:lnTo>
                    <a:pt x="15435" y="2351"/>
                  </a:lnTo>
                  <a:lnTo>
                    <a:pt x="15507" y="2268"/>
                  </a:lnTo>
                  <a:lnTo>
                    <a:pt x="15557" y="2174"/>
                  </a:lnTo>
                  <a:lnTo>
                    <a:pt x="15579" y="2095"/>
                  </a:lnTo>
                  <a:lnTo>
                    <a:pt x="15476" y="1983"/>
                  </a:lnTo>
                  <a:lnTo>
                    <a:pt x="15276" y="1854"/>
                  </a:lnTo>
                  <a:lnTo>
                    <a:pt x="15163" y="1798"/>
                  </a:lnTo>
                  <a:lnTo>
                    <a:pt x="15004" y="1798"/>
                  </a:lnTo>
                  <a:lnTo>
                    <a:pt x="14882" y="1810"/>
                  </a:lnTo>
                  <a:lnTo>
                    <a:pt x="14680" y="1867"/>
                  </a:lnTo>
                  <a:lnTo>
                    <a:pt x="14502" y="1898"/>
                  </a:lnTo>
                  <a:lnTo>
                    <a:pt x="14335" y="1902"/>
                  </a:lnTo>
                  <a:lnTo>
                    <a:pt x="14156" y="1858"/>
                  </a:lnTo>
                  <a:lnTo>
                    <a:pt x="13954" y="1827"/>
                  </a:lnTo>
                  <a:lnTo>
                    <a:pt x="13826" y="1795"/>
                  </a:lnTo>
                  <a:lnTo>
                    <a:pt x="13650" y="1741"/>
                  </a:lnTo>
                  <a:lnTo>
                    <a:pt x="13521" y="1716"/>
                  </a:lnTo>
                  <a:lnTo>
                    <a:pt x="13389" y="1716"/>
                  </a:lnTo>
                  <a:lnTo>
                    <a:pt x="13240" y="1681"/>
                  </a:lnTo>
                  <a:lnTo>
                    <a:pt x="13103" y="1668"/>
                  </a:lnTo>
                  <a:lnTo>
                    <a:pt x="12934" y="1606"/>
                  </a:lnTo>
                  <a:lnTo>
                    <a:pt x="12749" y="1481"/>
                  </a:lnTo>
                  <a:lnTo>
                    <a:pt x="12590" y="1418"/>
                  </a:lnTo>
                  <a:lnTo>
                    <a:pt x="12457" y="1374"/>
                  </a:lnTo>
                  <a:lnTo>
                    <a:pt x="12308" y="1331"/>
                  </a:lnTo>
                  <a:lnTo>
                    <a:pt x="12072" y="1318"/>
                  </a:lnTo>
                  <a:lnTo>
                    <a:pt x="11905" y="1298"/>
                  </a:lnTo>
                  <a:close/>
                </a:path>
              </a:pathLst>
            </a:custGeom>
            <a:grpFill/>
            <a:ln w="25400" cap="flat">
              <a:noFill/>
              <a:prstDash val="solid"/>
              <a:miter lim="400000"/>
            </a:ln>
            <a:effectLst/>
          </p:spPr>
          <p:txBody>
            <a:bodyPr anchor="ctr"/>
            <a:lstStyle/>
            <a:p>
              <a:pPr algn="ctr"/>
              <a:endParaRPr/>
            </a:p>
          </p:txBody>
        </p:sp>
        <p:sp>
          <p:nvSpPr>
            <p:cNvPr id="250" name="任意多边形: 形状 249">
              <a:extLst>
                <a:ext uri="{FF2B5EF4-FFF2-40B4-BE49-F238E27FC236}">
                  <a16:creationId xmlns:a16="http://schemas.microsoft.com/office/drawing/2014/main" id="{983BEE73-A464-4A5A-81E0-1AA69FC4B3D7}"/>
                </a:ext>
              </a:extLst>
            </p:cNvPr>
            <p:cNvSpPr/>
            <p:nvPr/>
          </p:nvSpPr>
          <p:spPr>
            <a:xfrm>
              <a:off x="7392962" y="4263491"/>
              <a:ext cx="22472" cy="27321"/>
            </a:xfrm>
            <a:custGeom>
              <a:avLst/>
              <a:gdLst/>
              <a:ahLst/>
              <a:cxnLst>
                <a:cxn ang="0">
                  <a:pos x="wd2" y="hd2"/>
                </a:cxn>
                <a:cxn ang="5400000">
                  <a:pos x="wd2" y="hd2"/>
                </a:cxn>
                <a:cxn ang="10800000">
                  <a:pos x="wd2" y="hd2"/>
                </a:cxn>
                <a:cxn ang="16200000">
                  <a:pos x="wd2" y="hd2"/>
                </a:cxn>
              </a:cxnLst>
              <a:rect l="0" t="0" r="r" b="b"/>
              <a:pathLst>
                <a:path w="21600" h="21600" extrusionOk="0">
                  <a:moveTo>
                    <a:pt x="6326" y="0"/>
                  </a:moveTo>
                  <a:lnTo>
                    <a:pt x="0" y="9333"/>
                  </a:lnTo>
                  <a:lnTo>
                    <a:pt x="1832" y="16236"/>
                  </a:lnTo>
                  <a:lnTo>
                    <a:pt x="15030" y="21600"/>
                  </a:lnTo>
                  <a:lnTo>
                    <a:pt x="21600" y="15013"/>
                  </a:lnTo>
                  <a:lnTo>
                    <a:pt x="21600" y="3233"/>
                  </a:lnTo>
                  <a:lnTo>
                    <a:pt x="6326" y="0"/>
                  </a:lnTo>
                  <a:close/>
                </a:path>
              </a:pathLst>
            </a:custGeom>
            <a:grpFill/>
            <a:ln w="25400" cap="flat">
              <a:noFill/>
              <a:prstDash val="solid"/>
              <a:miter lim="400000"/>
            </a:ln>
            <a:effectLst/>
          </p:spPr>
          <p:txBody>
            <a:bodyPr anchor="ctr"/>
            <a:lstStyle/>
            <a:p>
              <a:pPr algn="ctr"/>
              <a:endParaRPr/>
            </a:p>
          </p:txBody>
        </p:sp>
        <p:sp>
          <p:nvSpPr>
            <p:cNvPr id="251" name="任意多边形: 形状 250">
              <a:extLst>
                <a:ext uri="{FF2B5EF4-FFF2-40B4-BE49-F238E27FC236}">
                  <a16:creationId xmlns:a16="http://schemas.microsoft.com/office/drawing/2014/main" id="{AE991B44-FD98-4C9E-A99B-2D5D61E18855}"/>
                </a:ext>
              </a:extLst>
            </p:cNvPr>
            <p:cNvSpPr/>
            <p:nvPr/>
          </p:nvSpPr>
          <p:spPr>
            <a:xfrm>
              <a:off x="6950702" y="4538501"/>
              <a:ext cx="248466" cy="475742"/>
            </a:xfrm>
            <a:custGeom>
              <a:avLst/>
              <a:gdLst/>
              <a:ahLst/>
              <a:cxnLst>
                <a:cxn ang="0">
                  <a:pos x="wd2" y="hd2"/>
                </a:cxn>
                <a:cxn ang="5400000">
                  <a:pos x="wd2" y="hd2"/>
                </a:cxn>
                <a:cxn ang="10800000">
                  <a:pos x="wd2" y="hd2"/>
                </a:cxn>
                <a:cxn ang="16200000">
                  <a:pos x="wd2" y="hd2"/>
                </a:cxn>
              </a:cxnLst>
              <a:rect l="0" t="0" r="r" b="b"/>
              <a:pathLst>
                <a:path w="21600" h="21600" extrusionOk="0">
                  <a:moveTo>
                    <a:pt x="18696" y="0"/>
                  </a:moveTo>
                  <a:lnTo>
                    <a:pt x="19918" y="733"/>
                  </a:lnTo>
                  <a:lnTo>
                    <a:pt x="20738" y="1839"/>
                  </a:lnTo>
                  <a:lnTo>
                    <a:pt x="21268" y="2687"/>
                  </a:lnTo>
                  <a:lnTo>
                    <a:pt x="21600" y="3981"/>
                  </a:lnTo>
                  <a:lnTo>
                    <a:pt x="20826" y="5023"/>
                  </a:lnTo>
                  <a:cubicBezTo>
                    <a:pt x="20609" y="5376"/>
                    <a:pt x="20366" y="5724"/>
                    <a:pt x="20097" y="6066"/>
                  </a:cubicBezTo>
                  <a:cubicBezTo>
                    <a:pt x="19662" y="6621"/>
                    <a:pt x="19160" y="7160"/>
                    <a:pt x="18594" y="7681"/>
                  </a:cubicBezTo>
                  <a:lnTo>
                    <a:pt x="17802" y="9136"/>
                  </a:lnTo>
                  <a:lnTo>
                    <a:pt x="17031" y="10592"/>
                  </a:lnTo>
                  <a:cubicBezTo>
                    <a:pt x="16764" y="10920"/>
                    <a:pt x="16499" y="11249"/>
                    <a:pt x="16235" y="11578"/>
                  </a:cubicBezTo>
                  <a:cubicBezTo>
                    <a:pt x="15888" y="12012"/>
                    <a:pt x="15544" y="12446"/>
                    <a:pt x="15203" y="12881"/>
                  </a:cubicBezTo>
                  <a:lnTo>
                    <a:pt x="14606" y="13728"/>
                  </a:lnTo>
                  <a:lnTo>
                    <a:pt x="14010" y="14760"/>
                  </a:lnTo>
                  <a:lnTo>
                    <a:pt x="13215" y="16308"/>
                  </a:lnTo>
                  <a:lnTo>
                    <a:pt x="12950" y="17339"/>
                  </a:lnTo>
                  <a:lnTo>
                    <a:pt x="12553" y="18473"/>
                  </a:lnTo>
                  <a:lnTo>
                    <a:pt x="11359" y="19536"/>
                  </a:lnTo>
                  <a:lnTo>
                    <a:pt x="10161" y="20327"/>
                  </a:lnTo>
                  <a:lnTo>
                    <a:pt x="8567" y="20671"/>
                  </a:lnTo>
                  <a:lnTo>
                    <a:pt x="6435" y="21394"/>
                  </a:lnTo>
                  <a:lnTo>
                    <a:pt x="5446" y="21600"/>
                  </a:lnTo>
                  <a:cubicBezTo>
                    <a:pt x="4959" y="21573"/>
                    <a:pt x="4489" y="21491"/>
                    <a:pt x="4070" y="21359"/>
                  </a:cubicBezTo>
                  <a:cubicBezTo>
                    <a:pt x="3557" y="21198"/>
                    <a:pt x="3137" y="20969"/>
                    <a:pt x="2852" y="20696"/>
                  </a:cubicBezTo>
                  <a:cubicBezTo>
                    <a:pt x="2444" y="20653"/>
                    <a:pt x="2063" y="20558"/>
                    <a:pt x="1743" y="20420"/>
                  </a:cubicBezTo>
                  <a:cubicBezTo>
                    <a:pt x="1252" y="20209"/>
                    <a:pt x="932" y="19911"/>
                    <a:pt x="844" y="19584"/>
                  </a:cubicBezTo>
                  <a:cubicBezTo>
                    <a:pt x="905" y="19197"/>
                    <a:pt x="866" y="18807"/>
                    <a:pt x="730" y="18426"/>
                  </a:cubicBezTo>
                  <a:cubicBezTo>
                    <a:pt x="598" y="18058"/>
                    <a:pt x="376" y="17701"/>
                    <a:pt x="69" y="17362"/>
                  </a:cubicBezTo>
                  <a:lnTo>
                    <a:pt x="0" y="16892"/>
                  </a:lnTo>
                  <a:lnTo>
                    <a:pt x="534" y="16137"/>
                  </a:lnTo>
                  <a:lnTo>
                    <a:pt x="1656" y="15246"/>
                  </a:lnTo>
                  <a:lnTo>
                    <a:pt x="2695" y="14432"/>
                  </a:lnTo>
                  <a:lnTo>
                    <a:pt x="3422" y="13745"/>
                  </a:lnTo>
                  <a:lnTo>
                    <a:pt x="4350" y="12713"/>
                  </a:lnTo>
                  <a:cubicBezTo>
                    <a:pt x="4439" y="12532"/>
                    <a:pt x="4506" y="12348"/>
                    <a:pt x="4549" y="12163"/>
                  </a:cubicBezTo>
                  <a:cubicBezTo>
                    <a:pt x="4652" y="11728"/>
                    <a:pt x="4630" y="11288"/>
                    <a:pt x="4483" y="10857"/>
                  </a:cubicBezTo>
                  <a:lnTo>
                    <a:pt x="3687" y="9791"/>
                  </a:lnTo>
                  <a:cubicBezTo>
                    <a:pt x="3616" y="9483"/>
                    <a:pt x="3616" y="9171"/>
                    <a:pt x="3687" y="8862"/>
                  </a:cubicBezTo>
                  <a:cubicBezTo>
                    <a:pt x="3777" y="8475"/>
                    <a:pt x="3978" y="8097"/>
                    <a:pt x="4284" y="7740"/>
                  </a:cubicBezTo>
                  <a:lnTo>
                    <a:pt x="4594" y="6756"/>
                  </a:lnTo>
                  <a:lnTo>
                    <a:pt x="5588" y="5967"/>
                  </a:lnTo>
                  <a:cubicBezTo>
                    <a:pt x="5955" y="5974"/>
                    <a:pt x="6322" y="5974"/>
                    <a:pt x="6688" y="5967"/>
                  </a:cubicBezTo>
                  <a:cubicBezTo>
                    <a:pt x="7526" y="5953"/>
                    <a:pt x="8361" y="5907"/>
                    <a:pt x="9186" y="5830"/>
                  </a:cubicBezTo>
                  <a:lnTo>
                    <a:pt x="11131" y="5176"/>
                  </a:lnTo>
                  <a:lnTo>
                    <a:pt x="12454" y="4236"/>
                  </a:lnTo>
                  <a:cubicBezTo>
                    <a:pt x="12687" y="3853"/>
                    <a:pt x="13251" y="3548"/>
                    <a:pt x="13980" y="3411"/>
                  </a:cubicBezTo>
                  <a:cubicBezTo>
                    <a:pt x="14318" y="3347"/>
                    <a:pt x="14680" y="3324"/>
                    <a:pt x="15038" y="3342"/>
                  </a:cubicBezTo>
                  <a:cubicBezTo>
                    <a:pt x="15356" y="3221"/>
                    <a:pt x="15665" y="3095"/>
                    <a:pt x="15966" y="2964"/>
                  </a:cubicBezTo>
                  <a:cubicBezTo>
                    <a:pt x="16733" y="2629"/>
                    <a:pt x="17443" y="2261"/>
                    <a:pt x="18088" y="1863"/>
                  </a:cubicBezTo>
                  <a:lnTo>
                    <a:pt x="18685" y="866"/>
                  </a:lnTo>
                  <a:lnTo>
                    <a:pt x="18354" y="341"/>
                  </a:lnTo>
                  <a:lnTo>
                    <a:pt x="18696" y="0"/>
                  </a:lnTo>
                  <a:close/>
                </a:path>
              </a:pathLst>
            </a:custGeom>
            <a:grpFill/>
            <a:ln w="25400" cap="flat">
              <a:noFill/>
              <a:prstDash val="solid"/>
              <a:miter lim="400000"/>
            </a:ln>
            <a:effectLst/>
          </p:spPr>
          <p:txBody>
            <a:bodyPr anchor="ctr"/>
            <a:lstStyle/>
            <a:p>
              <a:pPr algn="ctr"/>
              <a:endParaRPr/>
            </a:p>
          </p:txBody>
        </p:sp>
        <p:sp>
          <p:nvSpPr>
            <p:cNvPr id="252" name="任意多边形: 形状 251">
              <a:extLst>
                <a:ext uri="{FF2B5EF4-FFF2-40B4-BE49-F238E27FC236}">
                  <a16:creationId xmlns:a16="http://schemas.microsoft.com/office/drawing/2014/main" id="{187B9652-C19F-459D-A518-24F2C9C7F279}"/>
                </a:ext>
              </a:extLst>
            </p:cNvPr>
            <p:cNvSpPr/>
            <p:nvPr/>
          </p:nvSpPr>
          <p:spPr>
            <a:xfrm>
              <a:off x="7015877" y="4582107"/>
              <a:ext cx="16360" cy="25666"/>
            </a:xfrm>
            <a:custGeom>
              <a:avLst/>
              <a:gdLst/>
              <a:ahLst/>
              <a:cxnLst>
                <a:cxn ang="0">
                  <a:pos x="wd2" y="hd2"/>
                </a:cxn>
                <a:cxn ang="5400000">
                  <a:pos x="wd2" y="hd2"/>
                </a:cxn>
                <a:cxn ang="10800000">
                  <a:pos x="wd2" y="hd2"/>
                </a:cxn>
                <a:cxn ang="16200000">
                  <a:pos x="wd2" y="hd2"/>
                </a:cxn>
              </a:cxnLst>
              <a:rect l="0" t="0" r="r" b="b"/>
              <a:pathLst>
                <a:path w="21600" h="21600" extrusionOk="0">
                  <a:moveTo>
                    <a:pt x="18802" y="0"/>
                  </a:moveTo>
                  <a:lnTo>
                    <a:pt x="4813" y="1913"/>
                  </a:lnTo>
                  <a:lnTo>
                    <a:pt x="0" y="12064"/>
                  </a:lnTo>
                  <a:lnTo>
                    <a:pt x="5083" y="21600"/>
                  </a:lnTo>
                  <a:lnTo>
                    <a:pt x="21600" y="9513"/>
                  </a:lnTo>
                  <a:lnTo>
                    <a:pt x="18802" y="0"/>
                  </a:lnTo>
                  <a:close/>
                </a:path>
              </a:pathLst>
            </a:custGeom>
            <a:grpFill/>
            <a:ln w="25400" cap="flat">
              <a:noFill/>
              <a:prstDash val="solid"/>
              <a:miter lim="400000"/>
            </a:ln>
            <a:effectLst/>
          </p:spPr>
          <p:txBody>
            <a:bodyPr anchor="ctr"/>
            <a:lstStyle/>
            <a:p>
              <a:pPr algn="ctr"/>
              <a:endParaRPr/>
            </a:p>
          </p:txBody>
        </p:sp>
        <p:sp>
          <p:nvSpPr>
            <p:cNvPr id="253" name="任意多边形: 形状 252">
              <a:extLst>
                <a:ext uri="{FF2B5EF4-FFF2-40B4-BE49-F238E27FC236}">
                  <a16:creationId xmlns:a16="http://schemas.microsoft.com/office/drawing/2014/main" id="{A612A679-F058-4ADB-899F-585B9ED59C6F}"/>
                </a:ext>
              </a:extLst>
            </p:cNvPr>
            <p:cNvSpPr/>
            <p:nvPr/>
          </p:nvSpPr>
          <p:spPr>
            <a:xfrm>
              <a:off x="6990181" y="4542570"/>
              <a:ext cx="21071" cy="20646"/>
            </a:xfrm>
            <a:custGeom>
              <a:avLst/>
              <a:gdLst/>
              <a:ahLst/>
              <a:cxnLst>
                <a:cxn ang="0">
                  <a:pos x="wd2" y="hd2"/>
                </a:cxn>
                <a:cxn ang="5400000">
                  <a:pos x="wd2" y="hd2"/>
                </a:cxn>
                <a:cxn ang="10800000">
                  <a:pos x="wd2" y="hd2"/>
                </a:cxn>
                <a:cxn ang="16200000">
                  <a:pos x="wd2" y="hd2"/>
                </a:cxn>
              </a:cxnLst>
              <a:rect l="0" t="0" r="r" b="b"/>
              <a:pathLst>
                <a:path w="21600" h="21600" extrusionOk="0">
                  <a:moveTo>
                    <a:pt x="18128" y="8886"/>
                  </a:moveTo>
                  <a:lnTo>
                    <a:pt x="8318" y="0"/>
                  </a:lnTo>
                  <a:lnTo>
                    <a:pt x="0" y="6625"/>
                  </a:lnTo>
                  <a:lnTo>
                    <a:pt x="9071" y="16880"/>
                  </a:lnTo>
                  <a:lnTo>
                    <a:pt x="21600" y="21600"/>
                  </a:lnTo>
                  <a:lnTo>
                    <a:pt x="18128" y="8886"/>
                  </a:lnTo>
                  <a:close/>
                </a:path>
              </a:pathLst>
            </a:custGeom>
            <a:grpFill/>
            <a:ln w="25400" cap="flat">
              <a:noFill/>
              <a:prstDash val="solid"/>
              <a:miter lim="400000"/>
            </a:ln>
            <a:effectLst/>
          </p:spPr>
          <p:txBody>
            <a:bodyPr anchor="ctr"/>
            <a:lstStyle/>
            <a:p>
              <a:pPr algn="ctr"/>
              <a:endParaRPr/>
            </a:p>
          </p:txBody>
        </p:sp>
        <p:sp>
          <p:nvSpPr>
            <p:cNvPr id="254" name="任意多边形: 形状 253">
              <a:extLst>
                <a:ext uri="{FF2B5EF4-FFF2-40B4-BE49-F238E27FC236}">
                  <a16:creationId xmlns:a16="http://schemas.microsoft.com/office/drawing/2014/main" id="{E382F91D-F6BD-408E-A3D2-416A44443AD4}"/>
                </a:ext>
              </a:extLst>
            </p:cNvPr>
            <p:cNvSpPr/>
            <p:nvPr/>
          </p:nvSpPr>
          <p:spPr>
            <a:xfrm>
              <a:off x="6964606" y="4555580"/>
              <a:ext cx="20339" cy="16639"/>
            </a:xfrm>
            <a:custGeom>
              <a:avLst/>
              <a:gdLst/>
              <a:ahLst/>
              <a:cxnLst>
                <a:cxn ang="0">
                  <a:pos x="wd2" y="hd2"/>
                </a:cxn>
                <a:cxn ang="5400000">
                  <a:pos x="wd2" y="hd2"/>
                </a:cxn>
                <a:cxn ang="10800000">
                  <a:pos x="wd2" y="hd2"/>
                </a:cxn>
                <a:cxn ang="16200000">
                  <a:pos x="wd2" y="hd2"/>
                </a:cxn>
              </a:cxnLst>
              <a:rect l="0" t="0" r="r" b="b"/>
              <a:pathLst>
                <a:path w="21600" h="21600" extrusionOk="0">
                  <a:moveTo>
                    <a:pt x="7800" y="0"/>
                  </a:moveTo>
                  <a:lnTo>
                    <a:pt x="0" y="2623"/>
                  </a:lnTo>
                  <a:lnTo>
                    <a:pt x="9524" y="21600"/>
                  </a:lnTo>
                  <a:lnTo>
                    <a:pt x="21600" y="20616"/>
                  </a:lnTo>
                  <a:lnTo>
                    <a:pt x="19979" y="3243"/>
                  </a:lnTo>
                  <a:lnTo>
                    <a:pt x="7800" y="0"/>
                  </a:lnTo>
                  <a:close/>
                </a:path>
              </a:pathLst>
            </a:custGeom>
            <a:grpFill/>
            <a:ln w="25400" cap="flat">
              <a:noFill/>
              <a:prstDash val="solid"/>
              <a:miter lim="400000"/>
            </a:ln>
            <a:effectLst/>
          </p:spPr>
          <p:txBody>
            <a:bodyPr anchor="ctr"/>
            <a:lstStyle/>
            <a:p>
              <a:pPr algn="ctr"/>
              <a:endParaRPr/>
            </a:p>
          </p:txBody>
        </p:sp>
        <p:sp>
          <p:nvSpPr>
            <p:cNvPr id="255" name="任意多边形: 形状 254">
              <a:extLst>
                <a:ext uri="{FF2B5EF4-FFF2-40B4-BE49-F238E27FC236}">
                  <a16:creationId xmlns:a16="http://schemas.microsoft.com/office/drawing/2014/main" id="{4F59C527-8CB4-40D6-993B-F0D090979023}"/>
                </a:ext>
              </a:extLst>
            </p:cNvPr>
            <p:cNvSpPr/>
            <p:nvPr/>
          </p:nvSpPr>
          <p:spPr>
            <a:xfrm>
              <a:off x="6946134" y="4515244"/>
              <a:ext cx="16360" cy="24039"/>
            </a:xfrm>
            <a:custGeom>
              <a:avLst/>
              <a:gdLst/>
              <a:ahLst/>
              <a:cxnLst>
                <a:cxn ang="0">
                  <a:pos x="wd2" y="hd2"/>
                </a:cxn>
                <a:cxn ang="5400000">
                  <a:pos x="wd2" y="hd2"/>
                </a:cxn>
                <a:cxn ang="10800000">
                  <a:pos x="wd2" y="hd2"/>
                </a:cxn>
                <a:cxn ang="16200000">
                  <a:pos x="wd2" y="hd2"/>
                </a:cxn>
              </a:cxnLst>
              <a:rect l="0" t="0" r="r" b="b"/>
              <a:pathLst>
                <a:path w="21600" h="21600" extrusionOk="0">
                  <a:moveTo>
                    <a:pt x="13062" y="0"/>
                  </a:moveTo>
                  <a:lnTo>
                    <a:pt x="3048" y="6808"/>
                  </a:lnTo>
                  <a:lnTo>
                    <a:pt x="0" y="16890"/>
                  </a:lnTo>
                  <a:lnTo>
                    <a:pt x="17411" y="21600"/>
                  </a:lnTo>
                  <a:lnTo>
                    <a:pt x="21600" y="12326"/>
                  </a:lnTo>
                  <a:lnTo>
                    <a:pt x="13062" y="0"/>
                  </a:lnTo>
                  <a:close/>
                </a:path>
              </a:pathLst>
            </a:custGeom>
            <a:grpFill/>
            <a:ln w="25400" cap="flat">
              <a:noFill/>
              <a:prstDash val="solid"/>
              <a:miter lim="400000"/>
            </a:ln>
            <a:effectLst/>
          </p:spPr>
          <p:txBody>
            <a:bodyPr anchor="ctr"/>
            <a:lstStyle/>
            <a:p>
              <a:pPr algn="ctr"/>
              <a:endParaRPr/>
            </a:p>
          </p:txBody>
        </p:sp>
        <p:sp>
          <p:nvSpPr>
            <p:cNvPr id="256" name="任意多边形: 形状 255">
              <a:extLst>
                <a:ext uri="{FF2B5EF4-FFF2-40B4-BE49-F238E27FC236}">
                  <a16:creationId xmlns:a16="http://schemas.microsoft.com/office/drawing/2014/main" id="{A355CEDA-4CE2-43E9-8765-F0FA355FA55C}"/>
                </a:ext>
              </a:extLst>
            </p:cNvPr>
            <p:cNvSpPr/>
            <p:nvPr/>
          </p:nvSpPr>
          <p:spPr>
            <a:xfrm>
              <a:off x="7355849" y="4831107"/>
              <a:ext cx="26760" cy="35791"/>
            </a:xfrm>
            <a:custGeom>
              <a:avLst/>
              <a:gdLst/>
              <a:ahLst/>
              <a:cxnLst>
                <a:cxn ang="0">
                  <a:pos x="wd2" y="hd2"/>
                </a:cxn>
                <a:cxn ang="5400000">
                  <a:pos x="wd2" y="hd2"/>
                </a:cxn>
                <a:cxn ang="10800000">
                  <a:pos x="wd2" y="hd2"/>
                </a:cxn>
                <a:cxn ang="16200000">
                  <a:pos x="wd2" y="hd2"/>
                </a:cxn>
              </a:cxnLst>
              <a:rect l="0" t="0" r="r" b="b"/>
              <a:pathLst>
                <a:path w="21600" h="21600" extrusionOk="0">
                  <a:moveTo>
                    <a:pt x="9532" y="0"/>
                  </a:moveTo>
                  <a:lnTo>
                    <a:pt x="1397" y="5278"/>
                  </a:lnTo>
                  <a:lnTo>
                    <a:pt x="0" y="13559"/>
                  </a:lnTo>
                  <a:lnTo>
                    <a:pt x="6822" y="21600"/>
                  </a:lnTo>
                  <a:lnTo>
                    <a:pt x="21600" y="17485"/>
                  </a:lnTo>
                  <a:lnTo>
                    <a:pt x="21600" y="7445"/>
                  </a:lnTo>
                  <a:lnTo>
                    <a:pt x="9532" y="0"/>
                  </a:lnTo>
                  <a:close/>
                </a:path>
              </a:pathLst>
            </a:custGeom>
            <a:grpFill/>
            <a:ln w="25400" cap="flat">
              <a:noFill/>
              <a:prstDash val="solid"/>
              <a:miter lim="400000"/>
            </a:ln>
            <a:effectLst/>
          </p:spPr>
          <p:txBody>
            <a:bodyPr anchor="ctr"/>
            <a:lstStyle/>
            <a:p>
              <a:pPr algn="ctr"/>
              <a:endParaRPr/>
            </a:p>
          </p:txBody>
        </p:sp>
        <p:sp>
          <p:nvSpPr>
            <p:cNvPr id="257" name="任意多边形: 形状 256">
              <a:extLst>
                <a:ext uri="{FF2B5EF4-FFF2-40B4-BE49-F238E27FC236}">
                  <a16:creationId xmlns:a16="http://schemas.microsoft.com/office/drawing/2014/main" id="{4BB06549-768C-43D5-A41F-D62ED1AB6A47}"/>
                </a:ext>
              </a:extLst>
            </p:cNvPr>
            <p:cNvSpPr/>
            <p:nvPr/>
          </p:nvSpPr>
          <p:spPr>
            <a:xfrm>
              <a:off x="7418815" y="4803555"/>
              <a:ext cx="16360" cy="23507"/>
            </a:xfrm>
            <a:custGeom>
              <a:avLst/>
              <a:gdLst/>
              <a:ahLst/>
              <a:cxnLst>
                <a:cxn ang="0">
                  <a:pos x="wd2" y="hd2"/>
                </a:cxn>
                <a:cxn ang="5400000">
                  <a:pos x="wd2" y="hd2"/>
                </a:cxn>
                <a:cxn ang="10800000">
                  <a:pos x="wd2" y="hd2"/>
                </a:cxn>
                <a:cxn ang="16200000">
                  <a:pos x="wd2" y="hd2"/>
                </a:cxn>
              </a:cxnLst>
              <a:rect l="0" t="0" r="r" b="b"/>
              <a:pathLst>
                <a:path w="21600" h="21600" extrusionOk="0">
                  <a:moveTo>
                    <a:pt x="17956" y="0"/>
                  </a:moveTo>
                  <a:lnTo>
                    <a:pt x="1750" y="4177"/>
                  </a:lnTo>
                  <a:lnTo>
                    <a:pt x="0" y="18148"/>
                  </a:lnTo>
                  <a:lnTo>
                    <a:pt x="21600" y="21600"/>
                  </a:lnTo>
                  <a:lnTo>
                    <a:pt x="21555" y="10257"/>
                  </a:lnTo>
                  <a:lnTo>
                    <a:pt x="17956" y="0"/>
                  </a:lnTo>
                  <a:close/>
                </a:path>
              </a:pathLst>
            </a:custGeom>
            <a:grpFill/>
            <a:ln w="25400" cap="flat">
              <a:noFill/>
              <a:prstDash val="solid"/>
              <a:miter lim="400000"/>
            </a:ln>
            <a:effectLst/>
          </p:spPr>
          <p:txBody>
            <a:bodyPr anchor="ctr"/>
            <a:lstStyle/>
            <a:p>
              <a:pPr algn="ctr"/>
              <a:endParaRPr/>
            </a:p>
          </p:txBody>
        </p:sp>
        <p:sp>
          <p:nvSpPr>
            <p:cNvPr id="258" name="任意多边形: 形状 257">
              <a:extLst>
                <a:ext uri="{FF2B5EF4-FFF2-40B4-BE49-F238E27FC236}">
                  <a16:creationId xmlns:a16="http://schemas.microsoft.com/office/drawing/2014/main" id="{F266AE91-80A1-409F-8534-878A69961C76}"/>
                </a:ext>
              </a:extLst>
            </p:cNvPr>
            <p:cNvSpPr/>
            <p:nvPr/>
          </p:nvSpPr>
          <p:spPr>
            <a:xfrm>
              <a:off x="5322768" y="4656828"/>
              <a:ext cx="31865" cy="30264"/>
            </a:xfrm>
            <a:custGeom>
              <a:avLst/>
              <a:gdLst/>
              <a:ahLst/>
              <a:cxnLst>
                <a:cxn ang="0">
                  <a:pos x="wd2" y="hd2"/>
                </a:cxn>
                <a:cxn ang="5400000">
                  <a:pos x="wd2" y="hd2"/>
                </a:cxn>
                <a:cxn ang="10800000">
                  <a:pos x="wd2" y="hd2"/>
                </a:cxn>
                <a:cxn ang="16200000">
                  <a:pos x="wd2" y="hd2"/>
                </a:cxn>
              </a:cxnLst>
              <a:rect l="0" t="0" r="r" b="b"/>
              <a:pathLst>
                <a:path w="21600" h="21600" extrusionOk="0">
                  <a:moveTo>
                    <a:pt x="9397" y="0"/>
                  </a:moveTo>
                  <a:lnTo>
                    <a:pt x="0" y="19826"/>
                  </a:lnTo>
                  <a:lnTo>
                    <a:pt x="21600" y="21600"/>
                  </a:lnTo>
                  <a:lnTo>
                    <a:pt x="9397" y="0"/>
                  </a:lnTo>
                  <a:close/>
                </a:path>
              </a:pathLst>
            </a:custGeom>
            <a:grpFill/>
            <a:ln w="25400" cap="flat">
              <a:noFill/>
              <a:prstDash val="solid"/>
              <a:miter lim="400000"/>
            </a:ln>
            <a:effectLst/>
          </p:spPr>
          <p:txBody>
            <a:bodyPr anchor="ctr"/>
            <a:lstStyle/>
            <a:p>
              <a:pPr algn="ctr"/>
              <a:endParaRPr/>
            </a:p>
          </p:txBody>
        </p:sp>
        <p:sp>
          <p:nvSpPr>
            <p:cNvPr id="259" name="任意多边形: 形状 258">
              <a:extLst>
                <a:ext uri="{FF2B5EF4-FFF2-40B4-BE49-F238E27FC236}">
                  <a16:creationId xmlns:a16="http://schemas.microsoft.com/office/drawing/2014/main" id="{B3F09B90-E2E7-415F-955E-9EE6F52718CC}"/>
                </a:ext>
              </a:extLst>
            </p:cNvPr>
            <p:cNvSpPr/>
            <p:nvPr/>
          </p:nvSpPr>
          <p:spPr>
            <a:xfrm>
              <a:off x="5724659" y="4042992"/>
              <a:ext cx="23245" cy="2134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824" y="4121"/>
                  </a:lnTo>
                  <a:lnTo>
                    <a:pt x="0" y="11667"/>
                  </a:lnTo>
                  <a:lnTo>
                    <a:pt x="9389" y="21600"/>
                  </a:lnTo>
                  <a:lnTo>
                    <a:pt x="20674" y="10869"/>
                  </a:lnTo>
                  <a:lnTo>
                    <a:pt x="21600" y="0"/>
                  </a:lnTo>
                  <a:close/>
                </a:path>
              </a:pathLst>
            </a:custGeom>
            <a:grpFill/>
            <a:ln w="25400" cap="flat">
              <a:noFill/>
              <a:prstDash val="solid"/>
              <a:miter lim="400000"/>
            </a:ln>
            <a:effectLst/>
          </p:spPr>
          <p:txBody>
            <a:bodyPr anchor="ctr"/>
            <a:lstStyle/>
            <a:p>
              <a:pPr algn="ctr"/>
              <a:endParaRPr/>
            </a:p>
          </p:txBody>
        </p:sp>
        <p:sp>
          <p:nvSpPr>
            <p:cNvPr id="260" name="任意多边形: 形状 259">
              <a:extLst>
                <a:ext uri="{FF2B5EF4-FFF2-40B4-BE49-F238E27FC236}">
                  <a16:creationId xmlns:a16="http://schemas.microsoft.com/office/drawing/2014/main" id="{2237E8BC-7D4F-48B2-B116-F25CA0CBE5AD}"/>
                </a:ext>
              </a:extLst>
            </p:cNvPr>
            <p:cNvSpPr/>
            <p:nvPr/>
          </p:nvSpPr>
          <p:spPr>
            <a:xfrm>
              <a:off x="5797850" y="3949493"/>
              <a:ext cx="20701" cy="16360"/>
            </a:xfrm>
            <a:custGeom>
              <a:avLst/>
              <a:gdLst/>
              <a:ahLst/>
              <a:cxnLst>
                <a:cxn ang="0">
                  <a:pos x="wd2" y="hd2"/>
                </a:cxn>
                <a:cxn ang="5400000">
                  <a:pos x="wd2" y="hd2"/>
                </a:cxn>
                <a:cxn ang="10800000">
                  <a:pos x="wd2" y="hd2"/>
                </a:cxn>
                <a:cxn ang="16200000">
                  <a:pos x="wd2" y="hd2"/>
                </a:cxn>
              </a:cxnLst>
              <a:rect l="0" t="0" r="r" b="b"/>
              <a:pathLst>
                <a:path w="21600" h="21600" extrusionOk="0">
                  <a:moveTo>
                    <a:pt x="11047" y="0"/>
                  </a:moveTo>
                  <a:lnTo>
                    <a:pt x="0" y="5982"/>
                  </a:lnTo>
                  <a:lnTo>
                    <a:pt x="2019" y="20443"/>
                  </a:lnTo>
                  <a:lnTo>
                    <a:pt x="15499" y="21600"/>
                  </a:lnTo>
                  <a:lnTo>
                    <a:pt x="21600" y="4412"/>
                  </a:lnTo>
                  <a:lnTo>
                    <a:pt x="11047" y="0"/>
                  </a:lnTo>
                  <a:close/>
                </a:path>
              </a:pathLst>
            </a:custGeom>
            <a:grpFill/>
            <a:ln w="25400" cap="flat">
              <a:noFill/>
              <a:prstDash val="solid"/>
              <a:miter lim="400000"/>
            </a:ln>
            <a:effectLst/>
          </p:spPr>
          <p:txBody>
            <a:bodyPr anchor="ctr"/>
            <a:lstStyle/>
            <a:p>
              <a:pPr algn="ctr"/>
              <a:endParaRPr/>
            </a:p>
          </p:txBody>
        </p:sp>
        <p:sp>
          <p:nvSpPr>
            <p:cNvPr id="261" name="任意多边形: 形状 260">
              <a:extLst>
                <a:ext uri="{FF2B5EF4-FFF2-40B4-BE49-F238E27FC236}">
                  <a16:creationId xmlns:a16="http://schemas.microsoft.com/office/drawing/2014/main" id="{2D388D31-2D76-4470-B594-088A52E0C42D}"/>
                </a:ext>
              </a:extLst>
            </p:cNvPr>
            <p:cNvSpPr/>
            <p:nvPr/>
          </p:nvSpPr>
          <p:spPr>
            <a:xfrm>
              <a:off x="5771093" y="4007307"/>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7211" y="0"/>
                  </a:moveTo>
                  <a:lnTo>
                    <a:pt x="0" y="9014"/>
                  </a:lnTo>
                  <a:lnTo>
                    <a:pt x="7385" y="21600"/>
                  </a:lnTo>
                  <a:lnTo>
                    <a:pt x="21600" y="12069"/>
                  </a:lnTo>
                  <a:lnTo>
                    <a:pt x="17567" y="1769"/>
                  </a:lnTo>
                  <a:lnTo>
                    <a:pt x="7211" y="0"/>
                  </a:lnTo>
                  <a:close/>
                </a:path>
              </a:pathLst>
            </a:custGeom>
            <a:grpFill/>
            <a:ln w="25400" cap="flat">
              <a:noFill/>
              <a:prstDash val="solid"/>
              <a:miter lim="400000"/>
            </a:ln>
            <a:effectLst/>
          </p:spPr>
          <p:txBody>
            <a:bodyPr anchor="ctr"/>
            <a:lstStyle/>
            <a:p>
              <a:pPr algn="ctr"/>
              <a:endParaRPr/>
            </a:p>
          </p:txBody>
        </p:sp>
        <p:sp>
          <p:nvSpPr>
            <p:cNvPr id="262" name="任意多边形: 形状 261">
              <a:extLst>
                <a:ext uri="{FF2B5EF4-FFF2-40B4-BE49-F238E27FC236}">
                  <a16:creationId xmlns:a16="http://schemas.microsoft.com/office/drawing/2014/main" id="{3B7B661E-4DE0-4568-8438-68ECBCA197E2}"/>
                </a:ext>
              </a:extLst>
            </p:cNvPr>
            <p:cNvSpPr/>
            <p:nvPr/>
          </p:nvSpPr>
          <p:spPr>
            <a:xfrm>
              <a:off x="4744799" y="3515700"/>
              <a:ext cx="23569" cy="20839"/>
            </a:xfrm>
            <a:custGeom>
              <a:avLst/>
              <a:gdLst/>
              <a:ahLst/>
              <a:cxnLst>
                <a:cxn ang="0">
                  <a:pos x="wd2" y="hd2"/>
                </a:cxn>
                <a:cxn ang="5400000">
                  <a:pos x="wd2" y="hd2"/>
                </a:cxn>
                <a:cxn ang="10800000">
                  <a:pos x="wd2" y="hd2"/>
                </a:cxn>
                <a:cxn ang="16200000">
                  <a:pos x="wd2" y="hd2"/>
                </a:cxn>
              </a:cxnLst>
              <a:rect l="0" t="0" r="r" b="b"/>
              <a:pathLst>
                <a:path w="21600" h="21600" extrusionOk="0">
                  <a:moveTo>
                    <a:pt x="18240" y="3109"/>
                  </a:moveTo>
                  <a:lnTo>
                    <a:pt x="7082" y="0"/>
                  </a:lnTo>
                  <a:lnTo>
                    <a:pt x="0" y="4651"/>
                  </a:lnTo>
                  <a:lnTo>
                    <a:pt x="2157" y="15611"/>
                  </a:lnTo>
                  <a:lnTo>
                    <a:pt x="14637" y="21600"/>
                  </a:lnTo>
                  <a:lnTo>
                    <a:pt x="21600" y="17214"/>
                  </a:lnTo>
                  <a:lnTo>
                    <a:pt x="18240" y="3109"/>
                  </a:lnTo>
                  <a:close/>
                </a:path>
              </a:pathLst>
            </a:custGeom>
            <a:grpFill/>
            <a:ln w="25400" cap="flat">
              <a:noFill/>
              <a:prstDash val="solid"/>
              <a:miter lim="400000"/>
            </a:ln>
            <a:effectLst/>
          </p:spPr>
          <p:txBody>
            <a:bodyPr anchor="ctr"/>
            <a:lstStyle/>
            <a:p>
              <a:pPr algn="ctr"/>
              <a:endParaRPr/>
            </a:p>
          </p:txBody>
        </p:sp>
        <p:sp>
          <p:nvSpPr>
            <p:cNvPr id="263" name="任意多边形: 形状 262">
              <a:extLst>
                <a:ext uri="{FF2B5EF4-FFF2-40B4-BE49-F238E27FC236}">
                  <a16:creationId xmlns:a16="http://schemas.microsoft.com/office/drawing/2014/main" id="{849794A1-1627-421C-A84D-97DEEA43DE12}"/>
                </a:ext>
              </a:extLst>
            </p:cNvPr>
            <p:cNvSpPr/>
            <p:nvPr/>
          </p:nvSpPr>
          <p:spPr>
            <a:xfrm>
              <a:off x="4718288" y="3519867"/>
              <a:ext cx="18421" cy="17929"/>
            </a:xfrm>
            <a:custGeom>
              <a:avLst/>
              <a:gdLst/>
              <a:ahLst/>
              <a:cxnLst>
                <a:cxn ang="0">
                  <a:pos x="wd2" y="hd2"/>
                </a:cxn>
                <a:cxn ang="5400000">
                  <a:pos x="wd2" y="hd2"/>
                </a:cxn>
                <a:cxn ang="10800000">
                  <a:pos x="wd2" y="hd2"/>
                </a:cxn>
                <a:cxn ang="16200000">
                  <a:pos x="wd2" y="hd2"/>
                </a:cxn>
              </a:cxnLst>
              <a:rect l="0" t="0" r="r" b="b"/>
              <a:pathLst>
                <a:path w="21600" h="21600" extrusionOk="0">
                  <a:moveTo>
                    <a:pt x="10002" y="0"/>
                  </a:moveTo>
                  <a:lnTo>
                    <a:pt x="2249" y="4561"/>
                  </a:lnTo>
                  <a:lnTo>
                    <a:pt x="0" y="15210"/>
                  </a:lnTo>
                  <a:lnTo>
                    <a:pt x="16269" y="21600"/>
                  </a:lnTo>
                  <a:lnTo>
                    <a:pt x="21600" y="9771"/>
                  </a:lnTo>
                  <a:lnTo>
                    <a:pt x="10002" y="0"/>
                  </a:lnTo>
                  <a:close/>
                </a:path>
              </a:pathLst>
            </a:custGeom>
            <a:grpFill/>
            <a:ln w="25400" cap="flat">
              <a:noFill/>
              <a:prstDash val="solid"/>
              <a:miter lim="400000"/>
            </a:ln>
            <a:effectLst/>
          </p:spPr>
          <p:txBody>
            <a:bodyPr anchor="ctr"/>
            <a:lstStyle/>
            <a:p>
              <a:pPr algn="ctr"/>
              <a:endParaRPr/>
            </a:p>
          </p:txBody>
        </p:sp>
        <p:sp>
          <p:nvSpPr>
            <p:cNvPr id="264" name="任意多边形: 形状 263">
              <a:extLst>
                <a:ext uri="{FF2B5EF4-FFF2-40B4-BE49-F238E27FC236}">
                  <a16:creationId xmlns:a16="http://schemas.microsoft.com/office/drawing/2014/main" id="{FBB8CCE5-CCD6-4BFA-9E13-D5EF01D81DEC}"/>
                </a:ext>
              </a:extLst>
            </p:cNvPr>
            <p:cNvSpPr/>
            <p:nvPr/>
          </p:nvSpPr>
          <p:spPr>
            <a:xfrm>
              <a:off x="4711539" y="3478504"/>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5567" y="0"/>
                  </a:moveTo>
                  <a:lnTo>
                    <a:pt x="0" y="5790"/>
                  </a:lnTo>
                  <a:lnTo>
                    <a:pt x="269" y="21257"/>
                  </a:lnTo>
                  <a:lnTo>
                    <a:pt x="21600" y="21600"/>
                  </a:lnTo>
                  <a:lnTo>
                    <a:pt x="15567" y="0"/>
                  </a:lnTo>
                  <a:close/>
                </a:path>
              </a:pathLst>
            </a:custGeom>
            <a:grpFill/>
            <a:ln w="25400" cap="flat">
              <a:noFill/>
              <a:prstDash val="solid"/>
              <a:miter lim="400000"/>
            </a:ln>
            <a:effectLst/>
          </p:spPr>
          <p:txBody>
            <a:bodyPr anchor="ctr"/>
            <a:lstStyle/>
            <a:p>
              <a:pPr algn="ctr"/>
              <a:endParaRPr/>
            </a:p>
          </p:txBody>
        </p:sp>
        <p:sp>
          <p:nvSpPr>
            <p:cNvPr id="265" name="任意多边形: 形状 264">
              <a:extLst>
                <a:ext uri="{FF2B5EF4-FFF2-40B4-BE49-F238E27FC236}">
                  <a16:creationId xmlns:a16="http://schemas.microsoft.com/office/drawing/2014/main" id="{EB21986E-F983-420E-93F3-DD75180A089F}"/>
                </a:ext>
              </a:extLst>
            </p:cNvPr>
            <p:cNvSpPr/>
            <p:nvPr/>
          </p:nvSpPr>
          <p:spPr>
            <a:xfrm>
              <a:off x="4753604" y="348042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788" y="13213"/>
                  </a:lnTo>
                  <a:lnTo>
                    <a:pt x="15312" y="21600"/>
                  </a:lnTo>
                  <a:lnTo>
                    <a:pt x="21600" y="1906"/>
                  </a:lnTo>
                  <a:lnTo>
                    <a:pt x="0" y="0"/>
                  </a:lnTo>
                  <a:close/>
                </a:path>
              </a:pathLst>
            </a:custGeom>
            <a:grpFill/>
            <a:ln w="25400" cap="flat">
              <a:noFill/>
              <a:prstDash val="solid"/>
              <a:miter lim="400000"/>
            </a:ln>
            <a:effectLst/>
          </p:spPr>
          <p:txBody>
            <a:bodyPr anchor="ctr"/>
            <a:lstStyle/>
            <a:p>
              <a:pPr algn="ctr"/>
              <a:endParaRPr/>
            </a:p>
          </p:txBody>
        </p:sp>
        <p:sp>
          <p:nvSpPr>
            <p:cNvPr id="266" name="任意多边形: 形状 265">
              <a:extLst>
                <a:ext uri="{FF2B5EF4-FFF2-40B4-BE49-F238E27FC236}">
                  <a16:creationId xmlns:a16="http://schemas.microsoft.com/office/drawing/2014/main" id="{48E1BAAF-A4CF-4E5C-BC45-4C22CB078F18}"/>
                </a:ext>
              </a:extLst>
            </p:cNvPr>
            <p:cNvSpPr/>
            <p:nvPr/>
          </p:nvSpPr>
          <p:spPr>
            <a:xfrm>
              <a:off x="4664619" y="3447009"/>
              <a:ext cx="16360" cy="22098"/>
            </a:xfrm>
            <a:custGeom>
              <a:avLst/>
              <a:gdLst/>
              <a:ahLst/>
              <a:cxnLst>
                <a:cxn ang="0">
                  <a:pos x="wd2" y="hd2"/>
                </a:cxn>
                <a:cxn ang="5400000">
                  <a:pos x="wd2" y="hd2"/>
                </a:cxn>
                <a:cxn ang="10800000">
                  <a:pos x="wd2" y="hd2"/>
                </a:cxn>
                <a:cxn ang="16200000">
                  <a:pos x="wd2" y="hd2"/>
                </a:cxn>
              </a:cxnLst>
              <a:rect l="0" t="0" r="r" b="b"/>
              <a:pathLst>
                <a:path w="21600" h="21600" extrusionOk="0">
                  <a:moveTo>
                    <a:pt x="0" y="3742"/>
                  </a:moveTo>
                  <a:lnTo>
                    <a:pt x="4329" y="14327"/>
                  </a:lnTo>
                  <a:lnTo>
                    <a:pt x="16819" y="21600"/>
                  </a:lnTo>
                  <a:lnTo>
                    <a:pt x="21600" y="10493"/>
                  </a:lnTo>
                  <a:lnTo>
                    <a:pt x="13195" y="0"/>
                  </a:lnTo>
                  <a:lnTo>
                    <a:pt x="0" y="3742"/>
                  </a:lnTo>
                  <a:close/>
                </a:path>
              </a:pathLst>
            </a:custGeom>
            <a:grpFill/>
            <a:ln w="25400" cap="flat">
              <a:noFill/>
              <a:prstDash val="solid"/>
              <a:miter lim="400000"/>
            </a:ln>
            <a:effectLst/>
          </p:spPr>
          <p:txBody>
            <a:bodyPr anchor="ctr"/>
            <a:lstStyle/>
            <a:p>
              <a:pPr algn="ctr"/>
              <a:endParaRPr/>
            </a:p>
          </p:txBody>
        </p:sp>
        <p:sp>
          <p:nvSpPr>
            <p:cNvPr id="267" name="任意多边形: 形状 266">
              <a:extLst>
                <a:ext uri="{FF2B5EF4-FFF2-40B4-BE49-F238E27FC236}">
                  <a16:creationId xmlns:a16="http://schemas.microsoft.com/office/drawing/2014/main" id="{365532CF-B65B-46F4-BD23-53503EF19A20}"/>
                </a:ext>
              </a:extLst>
            </p:cNvPr>
            <p:cNvSpPr/>
            <p:nvPr/>
          </p:nvSpPr>
          <p:spPr>
            <a:xfrm>
              <a:off x="6355015" y="1385657"/>
              <a:ext cx="4055030" cy="2652259"/>
            </a:xfrm>
            <a:custGeom>
              <a:avLst/>
              <a:gdLst/>
              <a:ahLst/>
              <a:cxnLst>
                <a:cxn ang="0">
                  <a:pos x="wd2" y="hd2"/>
                </a:cxn>
                <a:cxn ang="5400000">
                  <a:pos x="wd2" y="hd2"/>
                </a:cxn>
                <a:cxn ang="10800000">
                  <a:pos x="wd2" y="hd2"/>
                </a:cxn>
                <a:cxn ang="16200000">
                  <a:pos x="wd2" y="hd2"/>
                </a:cxn>
              </a:cxnLst>
              <a:rect l="0" t="0" r="r" b="b"/>
              <a:pathLst>
                <a:path w="21600" h="21600" extrusionOk="0">
                  <a:moveTo>
                    <a:pt x="3888" y="10223"/>
                  </a:moveTo>
                  <a:lnTo>
                    <a:pt x="3759" y="10132"/>
                  </a:lnTo>
                  <a:lnTo>
                    <a:pt x="3569" y="10003"/>
                  </a:lnTo>
                  <a:lnTo>
                    <a:pt x="3374" y="9884"/>
                  </a:lnTo>
                  <a:lnTo>
                    <a:pt x="3246" y="9786"/>
                  </a:lnTo>
                  <a:lnTo>
                    <a:pt x="3076" y="9629"/>
                  </a:lnTo>
                  <a:lnTo>
                    <a:pt x="2911" y="9493"/>
                  </a:lnTo>
                  <a:lnTo>
                    <a:pt x="2761" y="9429"/>
                  </a:lnTo>
                  <a:lnTo>
                    <a:pt x="2496" y="9413"/>
                  </a:lnTo>
                  <a:lnTo>
                    <a:pt x="2488" y="9536"/>
                  </a:lnTo>
                  <a:lnTo>
                    <a:pt x="2488" y="9685"/>
                  </a:lnTo>
                  <a:lnTo>
                    <a:pt x="2440" y="9710"/>
                  </a:lnTo>
                  <a:lnTo>
                    <a:pt x="2438" y="9806"/>
                  </a:lnTo>
                  <a:lnTo>
                    <a:pt x="2404" y="9868"/>
                  </a:lnTo>
                  <a:lnTo>
                    <a:pt x="2281" y="9898"/>
                  </a:lnTo>
                  <a:lnTo>
                    <a:pt x="2204" y="9935"/>
                  </a:lnTo>
                  <a:lnTo>
                    <a:pt x="2136" y="9972"/>
                  </a:lnTo>
                  <a:lnTo>
                    <a:pt x="2027" y="9972"/>
                  </a:lnTo>
                  <a:lnTo>
                    <a:pt x="2002" y="9923"/>
                  </a:lnTo>
                  <a:lnTo>
                    <a:pt x="1910" y="9911"/>
                  </a:lnTo>
                  <a:lnTo>
                    <a:pt x="1838" y="9882"/>
                  </a:lnTo>
                  <a:lnTo>
                    <a:pt x="1737" y="9753"/>
                  </a:lnTo>
                  <a:lnTo>
                    <a:pt x="1662" y="9674"/>
                  </a:lnTo>
                  <a:lnTo>
                    <a:pt x="1566" y="9632"/>
                  </a:lnTo>
                  <a:lnTo>
                    <a:pt x="1456" y="9632"/>
                  </a:lnTo>
                  <a:lnTo>
                    <a:pt x="1311" y="9556"/>
                  </a:lnTo>
                  <a:lnTo>
                    <a:pt x="1142" y="9550"/>
                  </a:lnTo>
                  <a:lnTo>
                    <a:pt x="1029" y="9601"/>
                  </a:lnTo>
                  <a:lnTo>
                    <a:pt x="892" y="9755"/>
                  </a:lnTo>
                  <a:lnTo>
                    <a:pt x="746" y="9853"/>
                  </a:lnTo>
                  <a:lnTo>
                    <a:pt x="686" y="9775"/>
                  </a:lnTo>
                  <a:lnTo>
                    <a:pt x="637" y="9781"/>
                  </a:lnTo>
                  <a:lnTo>
                    <a:pt x="517" y="9840"/>
                  </a:lnTo>
                  <a:lnTo>
                    <a:pt x="497" y="9942"/>
                  </a:lnTo>
                  <a:lnTo>
                    <a:pt x="434" y="10016"/>
                  </a:lnTo>
                  <a:lnTo>
                    <a:pt x="372" y="10094"/>
                  </a:lnTo>
                  <a:lnTo>
                    <a:pt x="333" y="10172"/>
                  </a:lnTo>
                  <a:lnTo>
                    <a:pt x="266" y="10168"/>
                  </a:lnTo>
                  <a:lnTo>
                    <a:pt x="217" y="10086"/>
                  </a:lnTo>
                  <a:lnTo>
                    <a:pt x="134" y="10086"/>
                  </a:lnTo>
                  <a:lnTo>
                    <a:pt x="77" y="10159"/>
                  </a:lnTo>
                  <a:lnTo>
                    <a:pt x="17" y="10178"/>
                  </a:lnTo>
                  <a:lnTo>
                    <a:pt x="0" y="10303"/>
                  </a:lnTo>
                  <a:lnTo>
                    <a:pt x="78" y="10326"/>
                  </a:lnTo>
                  <a:lnTo>
                    <a:pt x="133" y="10326"/>
                  </a:lnTo>
                  <a:lnTo>
                    <a:pt x="213" y="10443"/>
                  </a:lnTo>
                  <a:lnTo>
                    <a:pt x="190" y="10662"/>
                  </a:lnTo>
                  <a:lnTo>
                    <a:pt x="231" y="10788"/>
                  </a:lnTo>
                  <a:lnTo>
                    <a:pt x="262" y="10847"/>
                  </a:lnTo>
                  <a:lnTo>
                    <a:pt x="282" y="10968"/>
                  </a:lnTo>
                  <a:lnTo>
                    <a:pt x="337" y="11040"/>
                  </a:lnTo>
                  <a:lnTo>
                    <a:pt x="424" y="11071"/>
                  </a:lnTo>
                  <a:lnTo>
                    <a:pt x="465" y="11186"/>
                  </a:lnTo>
                  <a:lnTo>
                    <a:pt x="540" y="11180"/>
                  </a:lnTo>
                  <a:lnTo>
                    <a:pt x="596" y="11201"/>
                  </a:lnTo>
                  <a:lnTo>
                    <a:pt x="645" y="11223"/>
                  </a:lnTo>
                  <a:lnTo>
                    <a:pt x="735" y="11198"/>
                  </a:lnTo>
                  <a:lnTo>
                    <a:pt x="776" y="11089"/>
                  </a:lnTo>
                  <a:lnTo>
                    <a:pt x="857" y="11047"/>
                  </a:lnTo>
                  <a:lnTo>
                    <a:pt x="954" y="11071"/>
                  </a:lnTo>
                  <a:lnTo>
                    <a:pt x="993" y="11139"/>
                  </a:lnTo>
                  <a:lnTo>
                    <a:pt x="1119" y="11238"/>
                  </a:lnTo>
                  <a:lnTo>
                    <a:pt x="1269" y="11219"/>
                  </a:lnTo>
                  <a:lnTo>
                    <a:pt x="1313" y="11207"/>
                  </a:lnTo>
                  <a:lnTo>
                    <a:pt x="1390" y="11119"/>
                  </a:lnTo>
                  <a:lnTo>
                    <a:pt x="1486" y="11040"/>
                  </a:lnTo>
                  <a:lnTo>
                    <a:pt x="1581" y="11016"/>
                  </a:lnTo>
                  <a:lnTo>
                    <a:pt x="1654" y="11065"/>
                  </a:lnTo>
                  <a:lnTo>
                    <a:pt x="1739" y="11096"/>
                  </a:lnTo>
                  <a:lnTo>
                    <a:pt x="1739" y="11260"/>
                  </a:lnTo>
                  <a:lnTo>
                    <a:pt x="1702" y="11340"/>
                  </a:lnTo>
                  <a:lnTo>
                    <a:pt x="1719" y="11558"/>
                  </a:lnTo>
                  <a:lnTo>
                    <a:pt x="1711" y="11714"/>
                  </a:lnTo>
                  <a:lnTo>
                    <a:pt x="1701" y="11890"/>
                  </a:lnTo>
                  <a:lnTo>
                    <a:pt x="1645" y="12051"/>
                  </a:lnTo>
                  <a:lnTo>
                    <a:pt x="1657" y="12205"/>
                  </a:lnTo>
                  <a:cubicBezTo>
                    <a:pt x="1663" y="12254"/>
                    <a:pt x="1664" y="12305"/>
                    <a:pt x="1661" y="12355"/>
                  </a:cubicBezTo>
                  <a:cubicBezTo>
                    <a:pt x="1657" y="12420"/>
                    <a:pt x="1645" y="12483"/>
                    <a:pt x="1626" y="12542"/>
                  </a:cubicBezTo>
                  <a:lnTo>
                    <a:pt x="1585" y="12622"/>
                  </a:lnTo>
                  <a:lnTo>
                    <a:pt x="1546" y="12708"/>
                  </a:lnTo>
                  <a:lnTo>
                    <a:pt x="1479" y="12732"/>
                  </a:lnTo>
                  <a:lnTo>
                    <a:pt x="1386" y="12744"/>
                  </a:lnTo>
                  <a:lnTo>
                    <a:pt x="1285" y="12855"/>
                  </a:lnTo>
                  <a:lnTo>
                    <a:pt x="1201" y="12825"/>
                  </a:lnTo>
                  <a:lnTo>
                    <a:pt x="1164" y="12855"/>
                  </a:lnTo>
                  <a:lnTo>
                    <a:pt x="1228" y="12954"/>
                  </a:lnTo>
                  <a:lnTo>
                    <a:pt x="1263" y="13016"/>
                  </a:lnTo>
                  <a:lnTo>
                    <a:pt x="1239" y="13122"/>
                  </a:lnTo>
                  <a:lnTo>
                    <a:pt x="1307" y="13243"/>
                  </a:lnTo>
                  <a:lnTo>
                    <a:pt x="1359" y="13286"/>
                  </a:lnTo>
                  <a:lnTo>
                    <a:pt x="1408" y="13345"/>
                  </a:lnTo>
                  <a:lnTo>
                    <a:pt x="1404" y="13429"/>
                  </a:lnTo>
                  <a:lnTo>
                    <a:pt x="1404" y="13509"/>
                  </a:lnTo>
                  <a:lnTo>
                    <a:pt x="1481" y="13572"/>
                  </a:lnTo>
                  <a:lnTo>
                    <a:pt x="1558" y="13731"/>
                  </a:lnTo>
                  <a:lnTo>
                    <a:pt x="1602" y="13657"/>
                  </a:lnTo>
                  <a:lnTo>
                    <a:pt x="1602" y="13398"/>
                  </a:lnTo>
                  <a:lnTo>
                    <a:pt x="1659" y="13331"/>
                  </a:lnTo>
                  <a:lnTo>
                    <a:pt x="1705" y="13420"/>
                  </a:lnTo>
                  <a:lnTo>
                    <a:pt x="1741" y="13555"/>
                  </a:lnTo>
                  <a:lnTo>
                    <a:pt x="1778" y="13837"/>
                  </a:lnTo>
                  <a:lnTo>
                    <a:pt x="1857" y="13946"/>
                  </a:lnTo>
                  <a:lnTo>
                    <a:pt x="1897" y="14113"/>
                  </a:lnTo>
                  <a:lnTo>
                    <a:pt x="1945" y="14215"/>
                  </a:lnTo>
                  <a:lnTo>
                    <a:pt x="1995" y="14373"/>
                  </a:lnTo>
                  <a:lnTo>
                    <a:pt x="2107" y="14477"/>
                  </a:lnTo>
                  <a:lnTo>
                    <a:pt x="2161" y="14557"/>
                  </a:lnTo>
                  <a:lnTo>
                    <a:pt x="2205" y="14753"/>
                  </a:lnTo>
                  <a:lnTo>
                    <a:pt x="2226" y="14836"/>
                  </a:lnTo>
                  <a:lnTo>
                    <a:pt x="2263" y="14879"/>
                  </a:lnTo>
                  <a:lnTo>
                    <a:pt x="2376" y="14996"/>
                  </a:lnTo>
                  <a:cubicBezTo>
                    <a:pt x="2426" y="15014"/>
                    <a:pt x="2466" y="15070"/>
                    <a:pt x="2482" y="15144"/>
                  </a:cubicBezTo>
                  <a:cubicBezTo>
                    <a:pt x="2497" y="15214"/>
                    <a:pt x="2488" y="15290"/>
                    <a:pt x="2459" y="15348"/>
                  </a:cubicBezTo>
                  <a:lnTo>
                    <a:pt x="2471" y="15538"/>
                  </a:lnTo>
                  <a:lnTo>
                    <a:pt x="2507" y="15643"/>
                  </a:lnTo>
                  <a:lnTo>
                    <a:pt x="2572" y="15815"/>
                  </a:lnTo>
                  <a:lnTo>
                    <a:pt x="2569" y="15885"/>
                  </a:lnTo>
                  <a:lnTo>
                    <a:pt x="2642" y="16007"/>
                  </a:lnTo>
                  <a:lnTo>
                    <a:pt x="2642" y="16132"/>
                  </a:lnTo>
                  <a:lnTo>
                    <a:pt x="2752" y="16182"/>
                  </a:lnTo>
                  <a:lnTo>
                    <a:pt x="2832" y="16227"/>
                  </a:lnTo>
                  <a:lnTo>
                    <a:pt x="2913" y="16387"/>
                  </a:lnTo>
                  <a:lnTo>
                    <a:pt x="2927" y="16529"/>
                  </a:lnTo>
                  <a:lnTo>
                    <a:pt x="2966" y="16723"/>
                  </a:lnTo>
                  <a:lnTo>
                    <a:pt x="3043" y="16785"/>
                  </a:lnTo>
                  <a:lnTo>
                    <a:pt x="3087" y="16846"/>
                  </a:lnTo>
                  <a:lnTo>
                    <a:pt x="3139" y="16957"/>
                  </a:lnTo>
                  <a:lnTo>
                    <a:pt x="3191" y="17089"/>
                  </a:lnTo>
                  <a:lnTo>
                    <a:pt x="3118" y="17304"/>
                  </a:lnTo>
                  <a:lnTo>
                    <a:pt x="3139" y="17419"/>
                  </a:lnTo>
                  <a:lnTo>
                    <a:pt x="3194" y="17508"/>
                  </a:lnTo>
                  <a:lnTo>
                    <a:pt x="3227" y="17680"/>
                  </a:lnTo>
                  <a:lnTo>
                    <a:pt x="3227" y="17814"/>
                  </a:lnTo>
                  <a:lnTo>
                    <a:pt x="3293" y="17911"/>
                  </a:lnTo>
                  <a:lnTo>
                    <a:pt x="3336" y="18030"/>
                  </a:lnTo>
                  <a:lnTo>
                    <a:pt x="3409" y="18178"/>
                  </a:lnTo>
                  <a:lnTo>
                    <a:pt x="3565" y="18190"/>
                  </a:lnTo>
                  <a:lnTo>
                    <a:pt x="3748" y="18135"/>
                  </a:lnTo>
                  <a:lnTo>
                    <a:pt x="3935" y="18014"/>
                  </a:lnTo>
                  <a:lnTo>
                    <a:pt x="4073" y="17896"/>
                  </a:lnTo>
                  <a:lnTo>
                    <a:pt x="4184" y="17812"/>
                  </a:lnTo>
                  <a:cubicBezTo>
                    <a:pt x="4199" y="17796"/>
                    <a:pt x="4214" y="17780"/>
                    <a:pt x="4230" y="17765"/>
                  </a:cubicBezTo>
                  <a:cubicBezTo>
                    <a:pt x="4287" y="17711"/>
                    <a:pt x="4350" y="17669"/>
                    <a:pt x="4415" y="17640"/>
                  </a:cubicBezTo>
                  <a:lnTo>
                    <a:pt x="4544" y="17598"/>
                  </a:lnTo>
                  <a:lnTo>
                    <a:pt x="4658" y="17456"/>
                  </a:lnTo>
                  <a:lnTo>
                    <a:pt x="4758" y="17382"/>
                  </a:lnTo>
                  <a:lnTo>
                    <a:pt x="4839" y="17253"/>
                  </a:lnTo>
                  <a:lnTo>
                    <a:pt x="4875" y="17128"/>
                  </a:lnTo>
                  <a:lnTo>
                    <a:pt x="4961" y="17019"/>
                  </a:lnTo>
                  <a:cubicBezTo>
                    <a:pt x="4995" y="16986"/>
                    <a:pt x="5032" y="16960"/>
                    <a:pt x="5070" y="16941"/>
                  </a:cubicBezTo>
                  <a:cubicBezTo>
                    <a:pt x="5110" y="16921"/>
                    <a:pt x="5151" y="16908"/>
                    <a:pt x="5192" y="16903"/>
                  </a:cubicBezTo>
                  <a:cubicBezTo>
                    <a:pt x="5225" y="16899"/>
                    <a:pt x="5257" y="16887"/>
                    <a:pt x="5288" y="16869"/>
                  </a:cubicBezTo>
                  <a:cubicBezTo>
                    <a:pt x="5328" y="16844"/>
                    <a:pt x="5365" y="16809"/>
                    <a:pt x="5396" y="16764"/>
                  </a:cubicBezTo>
                  <a:lnTo>
                    <a:pt x="5451" y="16651"/>
                  </a:lnTo>
                  <a:lnTo>
                    <a:pt x="5538" y="16468"/>
                  </a:lnTo>
                  <a:lnTo>
                    <a:pt x="5657" y="16322"/>
                  </a:lnTo>
                  <a:cubicBezTo>
                    <a:pt x="5670" y="16286"/>
                    <a:pt x="5682" y="16249"/>
                    <a:pt x="5694" y="16212"/>
                  </a:cubicBezTo>
                  <a:cubicBezTo>
                    <a:pt x="5710" y="16157"/>
                    <a:pt x="5726" y="16102"/>
                    <a:pt x="5740" y="16045"/>
                  </a:cubicBezTo>
                  <a:lnTo>
                    <a:pt x="5776" y="15879"/>
                  </a:lnTo>
                  <a:cubicBezTo>
                    <a:pt x="5808" y="15838"/>
                    <a:pt x="5839" y="15797"/>
                    <a:pt x="5869" y="15756"/>
                  </a:cubicBezTo>
                  <a:cubicBezTo>
                    <a:pt x="5901" y="15713"/>
                    <a:pt x="5933" y="15670"/>
                    <a:pt x="5964" y="15626"/>
                  </a:cubicBezTo>
                  <a:lnTo>
                    <a:pt x="6029" y="15553"/>
                  </a:lnTo>
                  <a:lnTo>
                    <a:pt x="6063" y="15485"/>
                  </a:lnTo>
                  <a:lnTo>
                    <a:pt x="6063" y="15401"/>
                  </a:lnTo>
                  <a:lnTo>
                    <a:pt x="5965" y="15268"/>
                  </a:lnTo>
                  <a:lnTo>
                    <a:pt x="5871" y="15159"/>
                  </a:lnTo>
                  <a:lnTo>
                    <a:pt x="5830" y="15003"/>
                  </a:lnTo>
                  <a:lnTo>
                    <a:pt x="5748" y="14940"/>
                  </a:lnTo>
                  <a:lnTo>
                    <a:pt x="5631" y="14861"/>
                  </a:lnTo>
                  <a:lnTo>
                    <a:pt x="5505" y="14786"/>
                  </a:lnTo>
                  <a:lnTo>
                    <a:pt x="5437" y="14638"/>
                  </a:lnTo>
                  <a:lnTo>
                    <a:pt x="5414" y="14547"/>
                  </a:lnTo>
                  <a:lnTo>
                    <a:pt x="5434" y="14455"/>
                  </a:lnTo>
                  <a:lnTo>
                    <a:pt x="5487" y="14377"/>
                  </a:lnTo>
                  <a:lnTo>
                    <a:pt x="5436" y="14294"/>
                  </a:lnTo>
                  <a:lnTo>
                    <a:pt x="5436" y="14214"/>
                  </a:lnTo>
                  <a:lnTo>
                    <a:pt x="5394" y="14183"/>
                  </a:lnTo>
                  <a:lnTo>
                    <a:pt x="5375" y="14243"/>
                  </a:lnTo>
                  <a:lnTo>
                    <a:pt x="5340" y="14329"/>
                  </a:lnTo>
                  <a:lnTo>
                    <a:pt x="5256" y="14499"/>
                  </a:lnTo>
                  <a:lnTo>
                    <a:pt x="5091" y="14727"/>
                  </a:lnTo>
                  <a:lnTo>
                    <a:pt x="5056" y="14801"/>
                  </a:lnTo>
                  <a:lnTo>
                    <a:pt x="4994" y="14801"/>
                  </a:lnTo>
                  <a:lnTo>
                    <a:pt x="4947" y="14807"/>
                  </a:lnTo>
                  <a:lnTo>
                    <a:pt x="4906" y="14856"/>
                  </a:lnTo>
                  <a:lnTo>
                    <a:pt x="4740" y="14875"/>
                  </a:lnTo>
                  <a:lnTo>
                    <a:pt x="4692" y="14807"/>
                  </a:lnTo>
                  <a:lnTo>
                    <a:pt x="4634" y="14766"/>
                  </a:lnTo>
                  <a:lnTo>
                    <a:pt x="4581" y="14679"/>
                  </a:lnTo>
                  <a:lnTo>
                    <a:pt x="4674" y="14568"/>
                  </a:lnTo>
                  <a:lnTo>
                    <a:pt x="4648" y="14475"/>
                  </a:lnTo>
                  <a:lnTo>
                    <a:pt x="4550" y="14438"/>
                  </a:lnTo>
                  <a:lnTo>
                    <a:pt x="4562" y="14367"/>
                  </a:lnTo>
                  <a:lnTo>
                    <a:pt x="4522" y="14348"/>
                  </a:lnTo>
                  <a:lnTo>
                    <a:pt x="4490" y="14410"/>
                  </a:lnTo>
                  <a:lnTo>
                    <a:pt x="4462" y="14502"/>
                  </a:lnTo>
                  <a:lnTo>
                    <a:pt x="4337" y="14533"/>
                  </a:lnTo>
                  <a:cubicBezTo>
                    <a:pt x="4331" y="14498"/>
                    <a:pt x="4323" y="14463"/>
                    <a:pt x="4314" y="14428"/>
                  </a:cubicBezTo>
                  <a:cubicBezTo>
                    <a:pt x="4298" y="14362"/>
                    <a:pt x="4278" y="14299"/>
                    <a:pt x="4255" y="14237"/>
                  </a:cubicBezTo>
                  <a:lnTo>
                    <a:pt x="4234" y="14018"/>
                  </a:lnTo>
                  <a:lnTo>
                    <a:pt x="4191" y="13904"/>
                  </a:lnTo>
                  <a:lnTo>
                    <a:pt x="4136" y="13783"/>
                  </a:lnTo>
                  <a:lnTo>
                    <a:pt x="4036" y="13581"/>
                  </a:lnTo>
                  <a:lnTo>
                    <a:pt x="3967" y="13457"/>
                  </a:lnTo>
                  <a:lnTo>
                    <a:pt x="3917" y="13357"/>
                  </a:lnTo>
                  <a:lnTo>
                    <a:pt x="3910" y="13265"/>
                  </a:lnTo>
                  <a:lnTo>
                    <a:pt x="3970" y="13125"/>
                  </a:lnTo>
                  <a:lnTo>
                    <a:pt x="3985" y="13013"/>
                  </a:lnTo>
                  <a:lnTo>
                    <a:pt x="4029" y="12939"/>
                  </a:lnTo>
                  <a:lnTo>
                    <a:pt x="4100" y="12939"/>
                  </a:lnTo>
                  <a:lnTo>
                    <a:pt x="4187" y="12956"/>
                  </a:lnTo>
                  <a:lnTo>
                    <a:pt x="4248" y="13017"/>
                  </a:lnTo>
                  <a:lnTo>
                    <a:pt x="4344" y="13091"/>
                  </a:lnTo>
                  <a:lnTo>
                    <a:pt x="4365" y="13162"/>
                  </a:lnTo>
                  <a:lnTo>
                    <a:pt x="4421" y="13266"/>
                  </a:lnTo>
                  <a:cubicBezTo>
                    <a:pt x="4450" y="13317"/>
                    <a:pt x="4470" y="13379"/>
                    <a:pt x="4479" y="13445"/>
                  </a:cubicBezTo>
                  <a:cubicBezTo>
                    <a:pt x="4485" y="13493"/>
                    <a:pt x="4485" y="13543"/>
                    <a:pt x="4479" y="13591"/>
                  </a:cubicBezTo>
                  <a:lnTo>
                    <a:pt x="4511" y="13696"/>
                  </a:lnTo>
                  <a:lnTo>
                    <a:pt x="4660" y="13788"/>
                  </a:lnTo>
                  <a:lnTo>
                    <a:pt x="4794" y="13899"/>
                  </a:lnTo>
                  <a:lnTo>
                    <a:pt x="4994" y="14024"/>
                  </a:lnTo>
                  <a:lnTo>
                    <a:pt x="5100" y="14092"/>
                  </a:lnTo>
                  <a:lnTo>
                    <a:pt x="5224" y="14082"/>
                  </a:lnTo>
                  <a:lnTo>
                    <a:pt x="5261" y="14033"/>
                  </a:lnTo>
                  <a:lnTo>
                    <a:pt x="5374" y="13959"/>
                  </a:lnTo>
                  <a:lnTo>
                    <a:pt x="5431" y="13947"/>
                  </a:lnTo>
                  <a:lnTo>
                    <a:pt x="5522" y="14062"/>
                  </a:lnTo>
                  <a:cubicBezTo>
                    <a:pt x="5537" y="14073"/>
                    <a:pt x="5550" y="14086"/>
                    <a:pt x="5562" y="14103"/>
                  </a:cubicBezTo>
                  <a:cubicBezTo>
                    <a:pt x="5586" y="14136"/>
                    <a:pt x="5605" y="14180"/>
                    <a:pt x="5614" y="14228"/>
                  </a:cubicBezTo>
                  <a:lnTo>
                    <a:pt x="5643" y="14331"/>
                  </a:lnTo>
                  <a:lnTo>
                    <a:pt x="5698" y="14433"/>
                  </a:lnTo>
                  <a:lnTo>
                    <a:pt x="5848" y="14477"/>
                  </a:lnTo>
                  <a:lnTo>
                    <a:pt x="6003" y="14470"/>
                  </a:lnTo>
                  <a:cubicBezTo>
                    <a:pt x="6040" y="14472"/>
                    <a:pt x="6077" y="14481"/>
                    <a:pt x="6112" y="14497"/>
                  </a:cubicBezTo>
                  <a:cubicBezTo>
                    <a:pt x="6145" y="14512"/>
                    <a:pt x="6176" y="14533"/>
                    <a:pt x="6206" y="14559"/>
                  </a:cubicBezTo>
                  <a:lnTo>
                    <a:pt x="6303" y="14547"/>
                  </a:lnTo>
                  <a:lnTo>
                    <a:pt x="6419" y="14487"/>
                  </a:lnTo>
                  <a:lnTo>
                    <a:pt x="6603" y="14487"/>
                  </a:lnTo>
                  <a:lnTo>
                    <a:pt x="6724" y="14567"/>
                  </a:lnTo>
                  <a:lnTo>
                    <a:pt x="6879" y="14555"/>
                  </a:lnTo>
                  <a:lnTo>
                    <a:pt x="6977" y="14489"/>
                  </a:lnTo>
                  <a:lnTo>
                    <a:pt x="7070" y="14403"/>
                  </a:lnTo>
                  <a:lnTo>
                    <a:pt x="7147" y="14409"/>
                  </a:lnTo>
                  <a:lnTo>
                    <a:pt x="7209" y="14502"/>
                  </a:lnTo>
                  <a:lnTo>
                    <a:pt x="7315" y="14543"/>
                  </a:lnTo>
                  <a:lnTo>
                    <a:pt x="7340" y="14604"/>
                  </a:lnTo>
                  <a:lnTo>
                    <a:pt x="7368" y="14721"/>
                  </a:lnTo>
                  <a:lnTo>
                    <a:pt x="7407" y="14857"/>
                  </a:lnTo>
                  <a:lnTo>
                    <a:pt x="7550" y="14913"/>
                  </a:lnTo>
                  <a:lnTo>
                    <a:pt x="7601" y="14995"/>
                  </a:lnTo>
                  <a:lnTo>
                    <a:pt x="7666" y="15131"/>
                  </a:lnTo>
                  <a:lnTo>
                    <a:pt x="7730" y="15227"/>
                  </a:lnTo>
                  <a:lnTo>
                    <a:pt x="7824" y="15221"/>
                  </a:lnTo>
                  <a:lnTo>
                    <a:pt x="7928" y="15166"/>
                  </a:lnTo>
                  <a:lnTo>
                    <a:pt x="7948" y="15245"/>
                  </a:lnTo>
                  <a:lnTo>
                    <a:pt x="7920" y="15356"/>
                  </a:lnTo>
                  <a:lnTo>
                    <a:pt x="7861" y="15391"/>
                  </a:lnTo>
                  <a:lnTo>
                    <a:pt x="7781" y="15366"/>
                  </a:lnTo>
                  <a:lnTo>
                    <a:pt x="7730" y="15391"/>
                  </a:lnTo>
                  <a:lnTo>
                    <a:pt x="7758" y="15489"/>
                  </a:lnTo>
                  <a:lnTo>
                    <a:pt x="7847" y="15538"/>
                  </a:lnTo>
                  <a:lnTo>
                    <a:pt x="7873" y="15682"/>
                  </a:lnTo>
                  <a:lnTo>
                    <a:pt x="7941" y="15770"/>
                  </a:lnTo>
                  <a:lnTo>
                    <a:pt x="8042" y="15801"/>
                  </a:lnTo>
                  <a:lnTo>
                    <a:pt x="8140" y="15801"/>
                  </a:lnTo>
                  <a:lnTo>
                    <a:pt x="8215" y="15735"/>
                  </a:lnTo>
                  <a:lnTo>
                    <a:pt x="8215" y="15647"/>
                  </a:lnTo>
                  <a:lnTo>
                    <a:pt x="8207" y="15558"/>
                  </a:lnTo>
                  <a:lnTo>
                    <a:pt x="8244" y="15441"/>
                  </a:lnTo>
                  <a:cubicBezTo>
                    <a:pt x="8257" y="15421"/>
                    <a:pt x="8274" y="15406"/>
                    <a:pt x="8293" y="15398"/>
                  </a:cubicBezTo>
                  <a:cubicBezTo>
                    <a:pt x="8324" y="15385"/>
                    <a:pt x="8357" y="15392"/>
                    <a:pt x="8385" y="15417"/>
                  </a:cubicBezTo>
                  <a:lnTo>
                    <a:pt x="8429" y="15521"/>
                  </a:lnTo>
                  <a:lnTo>
                    <a:pt x="8417" y="15693"/>
                  </a:lnTo>
                  <a:lnTo>
                    <a:pt x="8397" y="15792"/>
                  </a:lnTo>
                  <a:lnTo>
                    <a:pt x="8386" y="15933"/>
                  </a:lnTo>
                  <a:lnTo>
                    <a:pt x="8386" y="16079"/>
                  </a:lnTo>
                  <a:lnTo>
                    <a:pt x="8398" y="16182"/>
                  </a:lnTo>
                  <a:lnTo>
                    <a:pt x="8473" y="16441"/>
                  </a:lnTo>
                  <a:lnTo>
                    <a:pt x="8502" y="16728"/>
                  </a:lnTo>
                  <a:lnTo>
                    <a:pt x="8510" y="16868"/>
                  </a:lnTo>
                  <a:lnTo>
                    <a:pt x="8607" y="17022"/>
                  </a:lnTo>
                  <a:lnTo>
                    <a:pt x="8663" y="17133"/>
                  </a:lnTo>
                  <a:lnTo>
                    <a:pt x="8679" y="17303"/>
                  </a:lnTo>
                  <a:lnTo>
                    <a:pt x="8703" y="17418"/>
                  </a:lnTo>
                  <a:lnTo>
                    <a:pt x="8759" y="17603"/>
                  </a:lnTo>
                  <a:lnTo>
                    <a:pt x="8799" y="17688"/>
                  </a:lnTo>
                  <a:lnTo>
                    <a:pt x="8858" y="17815"/>
                  </a:lnTo>
                  <a:lnTo>
                    <a:pt x="8894" y="17957"/>
                  </a:lnTo>
                  <a:lnTo>
                    <a:pt x="8919" y="18076"/>
                  </a:lnTo>
                  <a:lnTo>
                    <a:pt x="8963" y="18226"/>
                  </a:lnTo>
                  <a:lnTo>
                    <a:pt x="9034" y="18456"/>
                  </a:lnTo>
                  <a:lnTo>
                    <a:pt x="9088" y="18673"/>
                  </a:lnTo>
                  <a:lnTo>
                    <a:pt x="9120" y="18766"/>
                  </a:lnTo>
                  <a:lnTo>
                    <a:pt x="9157" y="18876"/>
                  </a:lnTo>
                  <a:lnTo>
                    <a:pt x="9165" y="18992"/>
                  </a:lnTo>
                  <a:lnTo>
                    <a:pt x="9224" y="19229"/>
                  </a:lnTo>
                  <a:lnTo>
                    <a:pt x="9265" y="19340"/>
                  </a:lnTo>
                  <a:lnTo>
                    <a:pt x="9335" y="19401"/>
                  </a:lnTo>
                  <a:lnTo>
                    <a:pt x="9398" y="19455"/>
                  </a:lnTo>
                  <a:lnTo>
                    <a:pt x="9435" y="19534"/>
                  </a:lnTo>
                  <a:lnTo>
                    <a:pt x="9499" y="19529"/>
                  </a:lnTo>
                  <a:cubicBezTo>
                    <a:pt x="9505" y="19494"/>
                    <a:pt x="9512" y="19459"/>
                    <a:pt x="9519" y="19424"/>
                  </a:cubicBezTo>
                  <a:cubicBezTo>
                    <a:pt x="9525" y="19391"/>
                    <a:pt x="9532" y="19357"/>
                    <a:pt x="9539" y="19324"/>
                  </a:cubicBezTo>
                  <a:cubicBezTo>
                    <a:pt x="9570" y="19289"/>
                    <a:pt x="9599" y="19249"/>
                    <a:pt x="9625" y="19204"/>
                  </a:cubicBezTo>
                  <a:cubicBezTo>
                    <a:pt x="9647" y="19167"/>
                    <a:pt x="9667" y="19127"/>
                    <a:pt x="9684" y="19085"/>
                  </a:cubicBezTo>
                  <a:cubicBezTo>
                    <a:pt x="9697" y="19045"/>
                    <a:pt x="9711" y="19006"/>
                    <a:pt x="9726" y="18966"/>
                  </a:cubicBezTo>
                  <a:cubicBezTo>
                    <a:pt x="9741" y="18924"/>
                    <a:pt x="9756" y="18882"/>
                    <a:pt x="9772" y="18841"/>
                  </a:cubicBezTo>
                  <a:cubicBezTo>
                    <a:pt x="9774" y="18775"/>
                    <a:pt x="9777" y="18710"/>
                    <a:pt x="9780" y="18644"/>
                  </a:cubicBezTo>
                  <a:cubicBezTo>
                    <a:pt x="9783" y="18560"/>
                    <a:pt x="9787" y="18477"/>
                    <a:pt x="9791" y="18393"/>
                  </a:cubicBezTo>
                  <a:lnTo>
                    <a:pt x="9799" y="18288"/>
                  </a:lnTo>
                  <a:cubicBezTo>
                    <a:pt x="9805" y="18246"/>
                    <a:pt x="9812" y="18203"/>
                    <a:pt x="9819" y="18161"/>
                  </a:cubicBezTo>
                  <a:cubicBezTo>
                    <a:pt x="9829" y="18099"/>
                    <a:pt x="9840" y="18037"/>
                    <a:pt x="9852" y="17976"/>
                  </a:cubicBezTo>
                  <a:lnTo>
                    <a:pt x="9839" y="17816"/>
                  </a:lnTo>
                  <a:lnTo>
                    <a:pt x="9791" y="17643"/>
                  </a:lnTo>
                  <a:lnTo>
                    <a:pt x="9831" y="17391"/>
                  </a:lnTo>
                  <a:lnTo>
                    <a:pt x="9876" y="17301"/>
                  </a:lnTo>
                  <a:lnTo>
                    <a:pt x="10002" y="17165"/>
                  </a:lnTo>
                  <a:lnTo>
                    <a:pt x="10132" y="17023"/>
                  </a:lnTo>
                  <a:lnTo>
                    <a:pt x="10237" y="16902"/>
                  </a:lnTo>
                  <a:lnTo>
                    <a:pt x="10262" y="16723"/>
                  </a:lnTo>
                  <a:lnTo>
                    <a:pt x="10286" y="16610"/>
                  </a:lnTo>
                  <a:lnTo>
                    <a:pt x="10412" y="16555"/>
                  </a:lnTo>
                  <a:lnTo>
                    <a:pt x="10492" y="16493"/>
                  </a:lnTo>
                  <a:lnTo>
                    <a:pt x="10549" y="16327"/>
                  </a:lnTo>
                  <a:cubicBezTo>
                    <a:pt x="10554" y="16271"/>
                    <a:pt x="10568" y="16218"/>
                    <a:pt x="10590" y="16173"/>
                  </a:cubicBezTo>
                  <a:cubicBezTo>
                    <a:pt x="10626" y="16098"/>
                    <a:pt x="10680" y="16049"/>
                    <a:pt x="10740" y="16037"/>
                  </a:cubicBezTo>
                  <a:lnTo>
                    <a:pt x="10874" y="15975"/>
                  </a:lnTo>
                  <a:lnTo>
                    <a:pt x="10909" y="15840"/>
                  </a:lnTo>
                  <a:lnTo>
                    <a:pt x="10885" y="15717"/>
                  </a:lnTo>
                  <a:lnTo>
                    <a:pt x="10892" y="15606"/>
                  </a:lnTo>
                  <a:lnTo>
                    <a:pt x="11030" y="15483"/>
                  </a:lnTo>
                  <a:lnTo>
                    <a:pt x="11172" y="15422"/>
                  </a:lnTo>
                  <a:lnTo>
                    <a:pt x="11283" y="15422"/>
                  </a:lnTo>
                  <a:lnTo>
                    <a:pt x="11432" y="15358"/>
                  </a:lnTo>
                  <a:cubicBezTo>
                    <a:pt x="11441" y="15314"/>
                    <a:pt x="11462" y="15277"/>
                    <a:pt x="11490" y="15257"/>
                  </a:cubicBezTo>
                  <a:cubicBezTo>
                    <a:pt x="11517" y="15237"/>
                    <a:pt x="11549" y="15235"/>
                    <a:pt x="11578" y="15251"/>
                  </a:cubicBezTo>
                  <a:lnTo>
                    <a:pt x="11664" y="15279"/>
                  </a:lnTo>
                  <a:cubicBezTo>
                    <a:pt x="11683" y="15305"/>
                    <a:pt x="11699" y="15334"/>
                    <a:pt x="11713" y="15365"/>
                  </a:cubicBezTo>
                  <a:cubicBezTo>
                    <a:pt x="11732" y="15408"/>
                    <a:pt x="11745" y="15456"/>
                    <a:pt x="11753" y="15507"/>
                  </a:cubicBezTo>
                  <a:lnTo>
                    <a:pt x="11800" y="15701"/>
                  </a:lnTo>
                  <a:lnTo>
                    <a:pt x="11828" y="15833"/>
                  </a:lnTo>
                  <a:cubicBezTo>
                    <a:pt x="11839" y="15860"/>
                    <a:pt x="11854" y="15883"/>
                    <a:pt x="11872" y="15899"/>
                  </a:cubicBezTo>
                  <a:cubicBezTo>
                    <a:pt x="11906" y="15927"/>
                    <a:pt x="11947" y="15931"/>
                    <a:pt x="11982" y="15909"/>
                  </a:cubicBezTo>
                  <a:lnTo>
                    <a:pt x="12043" y="15981"/>
                  </a:lnTo>
                  <a:lnTo>
                    <a:pt x="12197" y="16141"/>
                  </a:lnTo>
                  <a:cubicBezTo>
                    <a:pt x="12217" y="16216"/>
                    <a:pt x="12238" y="16289"/>
                    <a:pt x="12262" y="16361"/>
                  </a:cubicBezTo>
                  <a:cubicBezTo>
                    <a:pt x="12295" y="16459"/>
                    <a:pt x="12331" y="16555"/>
                    <a:pt x="12368" y="16650"/>
                  </a:cubicBezTo>
                  <a:cubicBezTo>
                    <a:pt x="12386" y="16699"/>
                    <a:pt x="12405" y="16748"/>
                    <a:pt x="12423" y="16798"/>
                  </a:cubicBezTo>
                  <a:lnTo>
                    <a:pt x="12395" y="16894"/>
                  </a:lnTo>
                  <a:lnTo>
                    <a:pt x="12331" y="16954"/>
                  </a:lnTo>
                  <a:lnTo>
                    <a:pt x="12335" y="17094"/>
                  </a:lnTo>
                  <a:cubicBezTo>
                    <a:pt x="12355" y="17119"/>
                    <a:pt x="12375" y="17144"/>
                    <a:pt x="12396" y="17168"/>
                  </a:cubicBezTo>
                  <a:cubicBezTo>
                    <a:pt x="12423" y="17200"/>
                    <a:pt x="12450" y="17230"/>
                    <a:pt x="12478" y="17260"/>
                  </a:cubicBezTo>
                  <a:lnTo>
                    <a:pt x="12575" y="17255"/>
                  </a:lnTo>
                  <a:lnTo>
                    <a:pt x="12636" y="17120"/>
                  </a:lnTo>
                  <a:lnTo>
                    <a:pt x="12693" y="16980"/>
                  </a:lnTo>
                  <a:lnTo>
                    <a:pt x="12800" y="16904"/>
                  </a:lnTo>
                  <a:lnTo>
                    <a:pt x="12877" y="17115"/>
                  </a:lnTo>
                  <a:lnTo>
                    <a:pt x="12945" y="17317"/>
                  </a:lnTo>
                  <a:lnTo>
                    <a:pt x="12957" y="17518"/>
                  </a:lnTo>
                  <a:lnTo>
                    <a:pt x="13008" y="17691"/>
                  </a:lnTo>
                  <a:lnTo>
                    <a:pt x="13054" y="17855"/>
                  </a:lnTo>
                  <a:lnTo>
                    <a:pt x="13127" y="18014"/>
                  </a:lnTo>
                  <a:lnTo>
                    <a:pt x="13171" y="18203"/>
                  </a:lnTo>
                  <a:lnTo>
                    <a:pt x="13183" y="18371"/>
                  </a:lnTo>
                  <a:lnTo>
                    <a:pt x="13148" y="18675"/>
                  </a:lnTo>
                  <a:lnTo>
                    <a:pt x="13144" y="18870"/>
                  </a:lnTo>
                  <a:lnTo>
                    <a:pt x="13159" y="19080"/>
                  </a:lnTo>
                  <a:lnTo>
                    <a:pt x="13159" y="19174"/>
                  </a:lnTo>
                  <a:lnTo>
                    <a:pt x="13117" y="19238"/>
                  </a:lnTo>
                  <a:lnTo>
                    <a:pt x="13113" y="19347"/>
                  </a:lnTo>
                  <a:lnTo>
                    <a:pt x="13125" y="19507"/>
                  </a:lnTo>
                  <a:lnTo>
                    <a:pt x="13186" y="19549"/>
                  </a:lnTo>
                  <a:cubicBezTo>
                    <a:pt x="13215" y="19555"/>
                    <a:pt x="13242" y="19574"/>
                    <a:pt x="13263" y="19604"/>
                  </a:cubicBezTo>
                  <a:cubicBezTo>
                    <a:pt x="13285" y="19635"/>
                    <a:pt x="13300" y="19676"/>
                    <a:pt x="13306" y="19721"/>
                  </a:cubicBezTo>
                  <a:lnTo>
                    <a:pt x="13420" y="19817"/>
                  </a:lnTo>
                  <a:lnTo>
                    <a:pt x="13492" y="19981"/>
                  </a:lnTo>
                  <a:lnTo>
                    <a:pt x="13536" y="20099"/>
                  </a:lnTo>
                  <a:lnTo>
                    <a:pt x="13550" y="20266"/>
                  </a:lnTo>
                  <a:lnTo>
                    <a:pt x="13596" y="20554"/>
                  </a:lnTo>
                  <a:lnTo>
                    <a:pt x="13625" y="20775"/>
                  </a:lnTo>
                  <a:lnTo>
                    <a:pt x="13682" y="20923"/>
                  </a:lnTo>
                  <a:lnTo>
                    <a:pt x="13714" y="21021"/>
                  </a:lnTo>
                  <a:lnTo>
                    <a:pt x="13772" y="21189"/>
                  </a:lnTo>
                  <a:lnTo>
                    <a:pt x="13829" y="21220"/>
                  </a:lnTo>
                  <a:lnTo>
                    <a:pt x="13914" y="21327"/>
                  </a:lnTo>
                  <a:lnTo>
                    <a:pt x="13982" y="21385"/>
                  </a:lnTo>
                  <a:lnTo>
                    <a:pt x="14071" y="21477"/>
                  </a:lnTo>
                  <a:lnTo>
                    <a:pt x="14136" y="21600"/>
                  </a:lnTo>
                  <a:lnTo>
                    <a:pt x="14168" y="21558"/>
                  </a:lnTo>
                  <a:lnTo>
                    <a:pt x="14144" y="21461"/>
                  </a:lnTo>
                  <a:lnTo>
                    <a:pt x="14220" y="21456"/>
                  </a:lnTo>
                  <a:lnTo>
                    <a:pt x="14242" y="21376"/>
                  </a:lnTo>
                  <a:lnTo>
                    <a:pt x="14195" y="21227"/>
                  </a:lnTo>
                  <a:lnTo>
                    <a:pt x="14149" y="21028"/>
                  </a:lnTo>
                  <a:lnTo>
                    <a:pt x="14121" y="20856"/>
                  </a:lnTo>
                  <a:lnTo>
                    <a:pt x="14064" y="20706"/>
                  </a:lnTo>
                  <a:cubicBezTo>
                    <a:pt x="14060" y="20650"/>
                    <a:pt x="14051" y="20596"/>
                    <a:pt x="14037" y="20544"/>
                  </a:cubicBezTo>
                  <a:cubicBezTo>
                    <a:pt x="14023" y="20489"/>
                    <a:pt x="14004" y="20437"/>
                    <a:pt x="13980" y="20389"/>
                  </a:cubicBezTo>
                  <a:lnTo>
                    <a:pt x="13916" y="20256"/>
                  </a:lnTo>
                  <a:lnTo>
                    <a:pt x="13796" y="20153"/>
                  </a:lnTo>
                  <a:lnTo>
                    <a:pt x="13711" y="20030"/>
                  </a:lnTo>
                  <a:lnTo>
                    <a:pt x="13609" y="19920"/>
                  </a:lnTo>
                  <a:cubicBezTo>
                    <a:pt x="13556" y="19920"/>
                    <a:pt x="13507" y="19872"/>
                    <a:pt x="13485" y="19798"/>
                  </a:cubicBezTo>
                  <a:cubicBezTo>
                    <a:pt x="13470" y="19751"/>
                    <a:pt x="13469" y="19697"/>
                    <a:pt x="13481" y="19648"/>
                  </a:cubicBezTo>
                  <a:lnTo>
                    <a:pt x="13460" y="19495"/>
                  </a:lnTo>
                  <a:lnTo>
                    <a:pt x="13452" y="19396"/>
                  </a:lnTo>
                  <a:lnTo>
                    <a:pt x="13387" y="19310"/>
                  </a:lnTo>
                  <a:lnTo>
                    <a:pt x="13305" y="19191"/>
                  </a:lnTo>
                  <a:lnTo>
                    <a:pt x="13276" y="19059"/>
                  </a:lnTo>
                  <a:cubicBezTo>
                    <a:pt x="13277" y="19012"/>
                    <a:pt x="13280" y="18965"/>
                    <a:pt x="13285" y="18918"/>
                  </a:cubicBezTo>
                  <a:cubicBezTo>
                    <a:pt x="13292" y="18843"/>
                    <a:pt x="13304" y="18769"/>
                    <a:pt x="13320" y="18698"/>
                  </a:cubicBezTo>
                  <a:lnTo>
                    <a:pt x="13344" y="18550"/>
                  </a:lnTo>
                  <a:lnTo>
                    <a:pt x="13373" y="18396"/>
                  </a:lnTo>
                  <a:lnTo>
                    <a:pt x="13344" y="18289"/>
                  </a:lnTo>
                  <a:lnTo>
                    <a:pt x="13320" y="18141"/>
                  </a:lnTo>
                  <a:lnTo>
                    <a:pt x="13317" y="18024"/>
                  </a:lnTo>
                  <a:lnTo>
                    <a:pt x="13378" y="17962"/>
                  </a:lnTo>
                  <a:lnTo>
                    <a:pt x="13468" y="17956"/>
                  </a:lnTo>
                  <a:lnTo>
                    <a:pt x="13512" y="18073"/>
                  </a:lnTo>
                  <a:lnTo>
                    <a:pt x="13562" y="18139"/>
                  </a:lnTo>
                  <a:lnTo>
                    <a:pt x="13671" y="18279"/>
                  </a:lnTo>
                  <a:lnTo>
                    <a:pt x="13730" y="18310"/>
                  </a:lnTo>
                  <a:lnTo>
                    <a:pt x="13812" y="18382"/>
                  </a:lnTo>
                  <a:lnTo>
                    <a:pt x="13875" y="18423"/>
                  </a:lnTo>
                  <a:lnTo>
                    <a:pt x="13920" y="18490"/>
                  </a:lnTo>
                  <a:lnTo>
                    <a:pt x="13956" y="18648"/>
                  </a:lnTo>
                  <a:lnTo>
                    <a:pt x="14008" y="18743"/>
                  </a:lnTo>
                  <a:lnTo>
                    <a:pt x="14063" y="18771"/>
                  </a:lnTo>
                  <a:lnTo>
                    <a:pt x="14091" y="18862"/>
                  </a:lnTo>
                  <a:lnTo>
                    <a:pt x="14107" y="18940"/>
                  </a:lnTo>
                  <a:lnTo>
                    <a:pt x="14172" y="18933"/>
                  </a:lnTo>
                  <a:lnTo>
                    <a:pt x="14221" y="18872"/>
                  </a:lnTo>
                  <a:lnTo>
                    <a:pt x="14260" y="18826"/>
                  </a:lnTo>
                  <a:lnTo>
                    <a:pt x="14320" y="18833"/>
                  </a:lnTo>
                  <a:lnTo>
                    <a:pt x="14345" y="18921"/>
                  </a:lnTo>
                  <a:lnTo>
                    <a:pt x="14360" y="19056"/>
                  </a:lnTo>
                  <a:lnTo>
                    <a:pt x="14331" y="19130"/>
                  </a:lnTo>
                  <a:lnTo>
                    <a:pt x="14319" y="19343"/>
                  </a:lnTo>
                  <a:lnTo>
                    <a:pt x="14412" y="19408"/>
                  </a:lnTo>
                  <a:lnTo>
                    <a:pt x="14456" y="19286"/>
                  </a:lnTo>
                  <a:lnTo>
                    <a:pt x="14548" y="19241"/>
                  </a:lnTo>
                  <a:lnTo>
                    <a:pt x="14577" y="19051"/>
                  </a:lnTo>
                  <a:lnTo>
                    <a:pt x="14624" y="18944"/>
                  </a:lnTo>
                  <a:lnTo>
                    <a:pt x="14784" y="18882"/>
                  </a:lnTo>
                  <a:lnTo>
                    <a:pt x="14859" y="18791"/>
                  </a:lnTo>
                  <a:lnTo>
                    <a:pt x="15001" y="18675"/>
                  </a:lnTo>
                  <a:lnTo>
                    <a:pt x="15018" y="18428"/>
                  </a:lnTo>
                  <a:cubicBezTo>
                    <a:pt x="15027" y="18358"/>
                    <a:pt x="15029" y="18286"/>
                    <a:pt x="15026" y="18214"/>
                  </a:cubicBezTo>
                  <a:cubicBezTo>
                    <a:pt x="15023" y="18158"/>
                    <a:pt x="15016" y="18102"/>
                    <a:pt x="15005" y="18048"/>
                  </a:cubicBezTo>
                  <a:lnTo>
                    <a:pt x="14951" y="17795"/>
                  </a:lnTo>
                  <a:lnTo>
                    <a:pt x="14866" y="17561"/>
                  </a:lnTo>
                  <a:lnTo>
                    <a:pt x="14850" y="17352"/>
                  </a:lnTo>
                  <a:lnTo>
                    <a:pt x="14784" y="17141"/>
                  </a:lnTo>
                  <a:lnTo>
                    <a:pt x="14703" y="17036"/>
                  </a:lnTo>
                  <a:lnTo>
                    <a:pt x="14574" y="16931"/>
                  </a:lnTo>
                  <a:lnTo>
                    <a:pt x="14515" y="16866"/>
                  </a:lnTo>
                  <a:lnTo>
                    <a:pt x="14356" y="16669"/>
                  </a:lnTo>
                  <a:lnTo>
                    <a:pt x="14313" y="16504"/>
                  </a:lnTo>
                  <a:lnTo>
                    <a:pt x="14270" y="16280"/>
                  </a:lnTo>
                  <a:lnTo>
                    <a:pt x="14249" y="16054"/>
                  </a:lnTo>
                  <a:lnTo>
                    <a:pt x="14249" y="15855"/>
                  </a:lnTo>
                  <a:lnTo>
                    <a:pt x="14310" y="15701"/>
                  </a:lnTo>
                  <a:lnTo>
                    <a:pt x="14404" y="15603"/>
                  </a:lnTo>
                  <a:lnTo>
                    <a:pt x="14539" y="15572"/>
                  </a:lnTo>
                  <a:lnTo>
                    <a:pt x="14646" y="15529"/>
                  </a:lnTo>
                  <a:lnTo>
                    <a:pt x="14709" y="15498"/>
                  </a:lnTo>
                  <a:lnTo>
                    <a:pt x="14801" y="15566"/>
                  </a:lnTo>
                  <a:lnTo>
                    <a:pt x="14849" y="15613"/>
                  </a:lnTo>
                  <a:lnTo>
                    <a:pt x="14905" y="15711"/>
                  </a:lnTo>
                  <a:lnTo>
                    <a:pt x="14913" y="15816"/>
                  </a:lnTo>
                  <a:lnTo>
                    <a:pt x="14978" y="15932"/>
                  </a:lnTo>
                  <a:lnTo>
                    <a:pt x="15034" y="15903"/>
                  </a:lnTo>
                  <a:lnTo>
                    <a:pt x="15067" y="15749"/>
                  </a:lnTo>
                  <a:lnTo>
                    <a:pt x="15119" y="15621"/>
                  </a:lnTo>
                  <a:lnTo>
                    <a:pt x="15197" y="15541"/>
                  </a:lnTo>
                  <a:lnTo>
                    <a:pt x="15236" y="15492"/>
                  </a:lnTo>
                  <a:lnTo>
                    <a:pt x="15356" y="15426"/>
                  </a:lnTo>
                  <a:lnTo>
                    <a:pt x="15409" y="15420"/>
                  </a:lnTo>
                  <a:lnTo>
                    <a:pt x="15506" y="15420"/>
                  </a:lnTo>
                  <a:cubicBezTo>
                    <a:pt x="15541" y="15410"/>
                    <a:pt x="15576" y="15402"/>
                    <a:pt x="15611" y="15395"/>
                  </a:cubicBezTo>
                  <a:cubicBezTo>
                    <a:pt x="15656" y="15387"/>
                    <a:pt x="15702" y="15382"/>
                    <a:pt x="15748" y="15381"/>
                  </a:cubicBezTo>
                  <a:lnTo>
                    <a:pt x="15797" y="15264"/>
                  </a:lnTo>
                  <a:lnTo>
                    <a:pt x="15824" y="15215"/>
                  </a:lnTo>
                  <a:lnTo>
                    <a:pt x="15922" y="15247"/>
                  </a:lnTo>
                  <a:lnTo>
                    <a:pt x="16095" y="15132"/>
                  </a:lnTo>
                  <a:lnTo>
                    <a:pt x="16192" y="15009"/>
                  </a:lnTo>
                  <a:lnTo>
                    <a:pt x="16270" y="14854"/>
                  </a:lnTo>
                  <a:lnTo>
                    <a:pt x="16310" y="14737"/>
                  </a:lnTo>
                  <a:lnTo>
                    <a:pt x="16407" y="14620"/>
                  </a:lnTo>
                  <a:lnTo>
                    <a:pt x="16439" y="14464"/>
                  </a:lnTo>
                  <a:lnTo>
                    <a:pt x="16441" y="14274"/>
                  </a:lnTo>
                  <a:lnTo>
                    <a:pt x="16474" y="14063"/>
                  </a:lnTo>
                  <a:lnTo>
                    <a:pt x="16523" y="13908"/>
                  </a:lnTo>
                  <a:cubicBezTo>
                    <a:pt x="16537" y="13860"/>
                    <a:pt x="16549" y="13811"/>
                    <a:pt x="16559" y="13760"/>
                  </a:cubicBezTo>
                  <a:cubicBezTo>
                    <a:pt x="16573" y="13694"/>
                    <a:pt x="16583" y="13626"/>
                    <a:pt x="16590" y="13557"/>
                  </a:cubicBezTo>
                  <a:lnTo>
                    <a:pt x="16618" y="13434"/>
                  </a:lnTo>
                  <a:lnTo>
                    <a:pt x="16612" y="13238"/>
                  </a:lnTo>
                  <a:lnTo>
                    <a:pt x="16579" y="13087"/>
                  </a:lnTo>
                  <a:lnTo>
                    <a:pt x="16463" y="13118"/>
                  </a:lnTo>
                  <a:lnTo>
                    <a:pt x="16401" y="13023"/>
                  </a:lnTo>
                  <a:lnTo>
                    <a:pt x="16404" y="12902"/>
                  </a:lnTo>
                  <a:lnTo>
                    <a:pt x="16500" y="12877"/>
                  </a:lnTo>
                  <a:lnTo>
                    <a:pt x="16499" y="12711"/>
                  </a:lnTo>
                  <a:lnTo>
                    <a:pt x="16452" y="12608"/>
                  </a:lnTo>
                  <a:lnTo>
                    <a:pt x="16290" y="12516"/>
                  </a:lnTo>
                  <a:lnTo>
                    <a:pt x="16202" y="12414"/>
                  </a:lnTo>
                  <a:lnTo>
                    <a:pt x="16127" y="12274"/>
                  </a:lnTo>
                  <a:lnTo>
                    <a:pt x="16079" y="12031"/>
                  </a:lnTo>
                  <a:lnTo>
                    <a:pt x="16006" y="11871"/>
                  </a:lnTo>
                  <a:lnTo>
                    <a:pt x="15922" y="11816"/>
                  </a:lnTo>
                  <a:lnTo>
                    <a:pt x="15808" y="11687"/>
                  </a:lnTo>
                  <a:lnTo>
                    <a:pt x="15821" y="11475"/>
                  </a:lnTo>
                  <a:lnTo>
                    <a:pt x="15861" y="11346"/>
                  </a:lnTo>
                  <a:lnTo>
                    <a:pt x="15955" y="11253"/>
                  </a:lnTo>
                  <a:lnTo>
                    <a:pt x="16048" y="11167"/>
                  </a:lnTo>
                  <a:lnTo>
                    <a:pt x="16158" y="11093"/>
                  </a:lnTo>
                  <a:lnTo>
                    <a:pt x="16213" y="11001"/>
                  </a:lnTo>
                  <a:lnTo>
                    <a:pt x="16121" y="10906"/>
                  </a:lnTo>
                  <a:lnTo>
                    <a:pt x="16057" y="10878"/>
                  </a:lnTo>
                  <a:lnTo>
                    <a:pt x="15876" y="10796"/>
                  </a:lnTo>
                  <a:lnTo>
                    <a:pt x="15787" y="10913"/>
                  </a:lnTo>
                  <a:lnTo>
                    <a:pt x="15726" y="10986"/>
                  </a:lnTo>
                  <a:lnTo>
                    <a:pt x="15616" y="10898"/>
                  </a:lnTo>
                  <a:lnTo>
                    <a:pt x="15572" y="10814"/>
                  </a:lnTo>
                  <a:lnTo>
                    <a:pt x="15466" y="10773"/>
                  </a:lnTo>
                  <a:lnTo>
                    <a:pt x="15240" y="10656"/>
                  </a:lnTo>
                  <a:lnTo>
                    <a:pt x="15246" y="10486"/>
                  </a:lnTo>
                  <a:lnTo>
                    <a:pt x="15242" y="10361"/>
                  </a:lnTo>
                  <a:lnTo>
                    <a:pt x="15301" y="10324"/>
                  </a:lnTo>
                  <a:lnTo>
                    <a:pt x="15407" y="10336"/>
                  </a:lnTo>
                  <a:lnTo>
                    <a:pt x="15531" y="10149"/>
                  </a:lnTo>
                  <a:lnTo>
                    <a:pt x="15564" y="10015"/>
                  </a:lnTo>
                  <a:lnTo>
                    <a:pt x="15631" y="9837"/>
                  </a:lnTo>
                  <a:lnTo>
                    <a:pt x="15707" y="9806"/>
                  </a:lnTo>
                  <a:lnTo>
                    <a:pt x="15791" y="9837"/>
                  </a:lnTo>
                  <a:lnTo>
                    <a:pt x="15841" y="9943"/>
                  </a:lnTo>
                  <a:lnTo>
                    <a:pt x="15848" y="10050"/>
                  </a:lnTo>
                  <a:lnTo>
                    <a:pt x="15863" y="10231"/>
                  </a:lnTo>
                  <a:lnTo>
                    <a:pt x="15907" y="10340"/>
                  </a:lnTo>
                  <a:lnTo>
                    <a:pt x="15948" y="10401"/>
                  </a:lnTo>
                  <a:lnTo>
                    <a:pt x="16001" y="10382"/>
                  </a:lnTo>
                  <a:lnTo>
                    <a:pt x="16072" y="10288"/>
                  </a:lnTo>
                  <a:lnTo>
                    <a:pt x="16148" y="10200"/>
                  </a:lnTo>
                  <a:lnTo>
                    <a:pt x="16274" y="10150"/>
                  </a:lnTo>
                  <a:lnTo>
                    <a:pt x="16333" y="10181"/>
                  </a:lnTo>
                  <a:lnTo>
                    <a:pt x="16409" y="10234"/>
                  </a:lnTo>
                  <a:lnTo>
                    <a:pt x="16525" y="10312"/>
                  </a:lnTo>
                  <a:lnTo>
                    <a:pt x="16590" y="10442"/>
                  </a:lnTo>
                  <a:lnTo>
                    <a:pt x="16527" y="10497"/>
                  </a:lnTo>
                  <a:lnTo>
                    <a:pt x="16523" y="10644"/>
                  </a:lnTo>
                  <a:lnTo>
                    <a:pt x="16588" y="10729"/>
                  </a:lnTo>
                  <a:lnTo>
                    <a:pt x="16695" y="10722"/>
                  </a:lnTo>
                  <a:lnTo>
                    <a:pt x="16853" y="10809"/>
                  </a:lnTo>
                  <a:lnTo>
                    <a:pt x="16926" y="10987"/>
                  </a:lnTo>
                  <a:lnTo>
                    <a:pt x="16986" y="11078"/>
                  </a:lnTo>
                  <a:lnTo>
                    <a:pt x="17010" y="11232"/>
                  </a:lnTo>
                  <a:lnTo>
                    <a:pt x="17031" y="11349"/>
                  </a:lnTo>
                  <a:lnTo>
                    <a:pt x="17059" y="11498"/>
                  </a:lnTo>
                  <a:lnTo>
                    <a:pt x="17071" y="11651"/>
                  </a:lnTo>
                  <a:lnTo>
                    <a:pt x="17130" y="11766"/>
                  </a:lnTo>
                  <a:lnTo>
                    <a:pt x="17195" y="11815"/>
                  </a:lnTo>
                  <a:lnTo>
                    <a:pt x="17296" y="11702"/>
                  </a:lnTo>
                  <a:lnTo>
                    <a:pt x="17415" y="11614"/>
                  </a:lnTo>
                  <a:lnTo>
                    <a:pt x="17496" y="11558"/>
                  </a:lnTo>
                  <a:lnTo>
                    <a:pt x="17559" y="11499"/>
                  </a:lnTo>
                  <a:cubicBezTo>
                    <a:pt x="17562" y="11433"/>
                    <a:pt x="17556" y="11367"/>
                    <a:pt x="17540" y="11306"/>
                  </a:cubicBezTo>
                  <a:cubicBezTo>
                    <a:pt x="17525" y="11249"/>
                    <a:pt x="17502" y="11197"/>
                    <a:pt x="17473" y="11154"/>
                  </a:cubicBezTo>
                  <a:lnTo>
                    <a:pt x="17400" y="10964"/>
                  </a:lnTo>
                  <a:lnTo>
                    <a:pt x="17298" y="10799"/>
                  </a:lnTo>
                  <a:lnTo>
                    <a:pt x="17248" y="10793"/>
                  </a:lnTo>
                  <a:lnTo>
                    <a:pt x="17072" y="10623"/>
                  </a:lnTo>
                  <a:lnTo>
                    <a:pt x="16989" y="10544"/>
                  </a:lnTo>
                  <a:lnTo>
                    <a:pt x="16900" y="10423"/>
                  </a:lnTo>
                  <a:lnTo>
                    <a:pt x="16820" y="10351"/>
                  </a:lnTo>
                  <a:lnTo>
                    <a:pt x="16820" y="10220"/>
                  </a:lnTo>
                  <a:lnTo>
                    <a:pt x="16933" y="10133"/>
                  </a:lnTo>
                  <a:lnTo>
                    <a:pt x="17068" y="10029"/>
                  </a:lnTo>
                  <a:lnTo>
                    <a:pt x="17083" y="9914"/>
                  </a:lnTo>
                  <a:lnTo>
                    <a:pt x="17049" y="9761"/>
                  </a:lnTo>
                  <a:lnTo>
                    <a:pt x="16957" y="9770"/>
                  </a:lnTo>
                  <a:cubicBezTo>
                    <a:pt x="16942" y="9699"/>
                    <a:pt x="16956" y="9621"/>
                    <a:pt x="16992" y="9571"/>
                  </a:cubicBezTo>
                  <a:cubicBezTo>
                    <a:pt x="17020" y="9533"/>
                    <a:pt x="17058" y="9517"/>
                    <a:pt x="17095" y="9528"/>
                  </a:cubicBezTo>
                  <a:cubicBezTo>
                    <a:pt x="17106" y="9498"/>
                    <a:pt x="17116" y="9467"/>
                    <a:pt x="17123" y="9435"/>
                  </a:cubicBezTo>
                  <a:cubicBezTo>
                    <a:pt x="17139" y="9373"/>
                    <a:pt x="17147" y="9308"/>
                    <a:pt x="17149" y="9242"/>
                  </a:cubicBezTo>
                  <a:lnTo>
                    <a:pt x="17174" y="9110"/>
                  </a:lnTo>
                  <a:lnTo>
                    <a:pt x="17248" y="9178"/>
                  </a:lnTo>
                  <a:lnTo>
                    <a:pt x="17347" y="9270"/>
                  </a:lnTo>
                  <a:lnTo>
                    <a:pt x="17392" y="9297"/>
                  </a:lnTo>
                  <a:lnTo>
                    <a:pt x="17514" y="9286"/>
                  </a:lnTo>
                  <a:lnTo>
                    <a:pt x="17568" y="9177"/>
                  </a:lnTo>
                  <a:cubicBezTo>
                    <a:pt x="17590" y="9119"/>
                    <a:pt x="17610" y="9059"/>
                    <a:pt x="17626" y="8997"/>
                  </a:cubicBezTo>
                  <a:cubicBezTo>
                    <a:pt x="17641" y="8944"/>
                    <a:pt x="17653" y="8890"/>
                    <a:pt x="17663" y="8835"/>
                  </a:cubicBezTo>
                  <a:lnTo>
                    <a:pt x="17709" y="8691"/>
                  </a:lnTo>
                  <a:lnTo>
                    <a:pt x="17732" y="8540"/>
                  </a:lnTo>
                  <a:lnTo>
                    <a:pt x="17783" y="8406"/>
                  </a:lnTo>
                  <a:lnTo>
                    <a:pt x="17835" y="8208"/>
                  </a:lnTo>
                  <a:lnTo>
                    <a:pt x="17770" y="8060"/>
                  </a:lnTo>
                  <a:lnTo>
                    <a:pt x="17770" y="7890"/>
                  </a:lnTo>
                  <a:lnTo>
                    <a:pt x="17823" y="7767"/>
                  </a:lnTo>
                  <a:lnTo>
                    <a:pt x="17830" y="7600"/>
                  </a:lnTo>
                  <a:cubicBezTo>
                    <a:pt x="17813" y="7554"/>
                    <a:pt x="17796" y="7509"/>
                    <a:pt x="17778" y="7463"/>
                  </a:cubicBezTo>
                  <a:cubicBezTo>
                    <a:pt x="17763" y="7423"/>
                    <a:pt x="17747" y="7384"/>
                    <a:pt x="17735" y="7341"/>
                  </a:cubicBezTo>
                  <a:cubicBezTo>
                    <a:pt x="17715" y="7271"/>
                    <a:pt x="17705" y="7195"/>
                    <a:pt x="17707" y="7119"/>
                  </a:cubicBezTo>
                  <a:lnTo>
                    <a:pt x="17634" y="7044"/>
                  </a:lnTo>
                  <a:lnTo>
                    <a:pt x="17580" y="7052"/>
                  </a:lnTo>
                  <a:lnTo>
                    <a:pt x="17503" y="6849"/>
                  </a:lnTo>
                  <a:lnTo>
                    <a:pt x="17459" y="6758"/>
                  </a:lnTo>
                  <a:lnTo>
                    <a:pt x="17435" y="6611"/>
                  </a:lnTo>
                  <a:lnTo>
                    <a:pt x="17373" y="6495"/>
                  </a:lnTo>
                  <a:lnTo>
                    <a:pt x="17240" y="6324"/>
                  </a:lnTo>
                  <a:lnTo>
                    <a:pt x="17132" y="6263"/>
                  </a:lnTo>
                  <a:lnTo>
                    <a:pt x="17059" y="6103"/>
                  </a:lnTo>
                  <a:lnTo>
                    <a:pt x="16962" y="6028"/>
                  </a:lnTo>
                  <a:lnTo>
                    <a:pt x="16881" y="6047"/>
                  </a:lnTo>
                  <a:lnTo>
                    <a:pt x="16783" y="6115"/>
                  </a:lnTo>
                  <a:lnTo>
                    <a:pt x="16687" y="6140"/>
                  </a:lnTo>
                  <a:lnTo>
                    <a:pt x="16607" y="6103"/>
                  </a:lnTo>
                  <a:lnTo>
                    <a:pt x="16460" y="6072"/>
                  </a:lnTo>
                  <a:lnTo>
                    <a:pt x="16403" y="6004"/>
                  </a:lnTo>
                  <a:lnTo>
                    <a:pt x="16326" y="5924"/>
                  </a:lnTo>
                  <a:lnTo>
                    <a:pt x="16206" y="5924"/>
                  </a:lnTo>
                  <a:lnTo>
                    <a:pt x="16146" y="5807"/>
                  </a:lnTo>
                  <a:lnTo>
                    <a:pt x="16226" y="5720"/>
                  </a:lnTo>
                  <a:lnTo>
                    <a:pt x="16275" y="5634"/>
                  </a:lnTo>
                  <a:lnTo>
                    <a:pt x="16349" y="5282"/>
                  </a:lnTo>
                  <a:lnTo>
                    <a:pt x="16330" y="5106"/>
                  </a:lnTo>
                  <a:lnTo>
                    <a:pt x="16362" y="4989"/>
                  </a:lnTo>
                  <a:lnTo>
                    <a:pt x="16434" y="4856"/>
                  </a:lnTo>
                  <a:lnTo>
                    <a:pt x="16537" y="4743"/>
                  </a:lnTo>
                  <a:lnTo>
                    <a:pt x="16606" y="4658"/>
                  </a:lnTo>
                  <a:lnTo>
                    <a:pt x="16694" y="4611"/>
                  </a:lnTo>
                  <a:lnTo>
                    <a:pt x="16817" y="4582"/>
                  </a:lnTo>
                  <a:lnTo>
                    <a:pt x="16917" y="4582"/>
                  </a:lnTo>
                  <a:lnTo>
                    <a:pt x="17020" y="4619"/>
                  </a:lnTo>
                  <a:lnTo>
                    <a:pt x="17129" y="4632"/>
                  </a:lnTo>
                  <a:lnTo>
                    <a:pt x="17261" y="4626"/>
                  </a:lnTo>
                  <a:lnTo>
                    <a:pt x="17398" y="4558"/>
                  </a:lnTo>
                  <a:lnTo>
                    <a:pt x="17471" y="4527"/>
                  </a:lnTo>
                  <a:lnTo>
                    <a:pt x="17580" y="4490"/>
                  </a:lnTo>
                  <a:lnTo>
                    <a:pt x="17633" y="4527"/>
                  </a:lnTo>
                  <a:lnTo>
                    <a:pt x="17686" y="4607"/>
                  </a:lnTo>
                  <a:lnTo>
                    <a:pt x="17787" y="4674"/>
                  </a:lnTo>
                  <a:lnTo>
                    <a:pt x="17836" y="4724"/>
                  </a:lnTo>
                  <a:lnTo>
                    <a:pt x="17952" y="4730"/>
                  </a:lnTo>
                  <a:lnTo>
                    <a:pt x="18081" y="4644"/>
                  </a:lnTo>
                  <a:lnTo>
                    <a:pt x="18189" y="4625"/>
                  </a:lnTo>
                  <a:lnTo>
                    <a:pt x="18143" y="4366"/>
                  </a:lnTo>
                  <a:cubicBezTo>
                    <a:pt x="18105" y="4367"/>
                    <a:pt x="18070" y="4330"/>
                    <a:pt x="18058" y="4274"/>
                  </a:cubicBezTo>
                  <a:cubicBezTo>
                    <a:pt x="18044" y="4208"/>
                    <a:pt x="18064" y="4136"/>
                    <a:pt x="18106" y="4107"/>
                  </a:cubicBezTo>
                  <a:cubicBezTo>
                    <a:pt x="18105" y="4044"/>
                    <a:pt x="18122" y="3983"/>
                    <a:pt x="18153" y="3941"/>
                  </a:cubicBezTo>
                  <a:cubicBezTo>
                    <a:pt x="18184" y="3898"/>
                    <a:pt x="18225" y="3878"/>
                    <a:pt x="18266" y="3886"/>
                  </a:cubicBezTo>
                  <a:lnTo>
                    <a:pt x="18388" y="3912"/>
                  </a:lnTo>
                  <a:lnTo>
                    <a:pt x="18433" y="3986"/>
                  </a:lnTo>
                  <a:lnTo>
                    <a:pt x="18561" y="3941"/>
                  </a:lnTo>
                  <a:lnTo>
                    <a:pt x="18622" y="4058"/>
                  </a:lnTo>
                  <a:lnTo>
                    <a:pt x="18642" y="4156"/>
                  </a:lnTo>
                  <a:lnTo>
                    <a:pt x="18742" y="4173"/>
                  </a:lnTo>
                  <a:lnTo>
                    <a:pt x="18819" y="4105"/>
                  </a:lnTo>
                  <a:lnTo>
                    <a:pt x="18815" y="3967"/>
                  </a:lnTo>
                  <a:lnTo>
                    <a:pt x="18815" y="3844"/>
                  </a:lnTo>
                  <a:lnTo>
                    <a:pt x="18867" y="3773"/>
                  </a:lnTo>
                  <a:lnTo>
                    <a:pt x="18940" y="3726"/>
                  </a:lnTo>
                  <a:lnTo>
                    <a:pt x="19014" y="3739"/>
                  </a:lnTo>
                  <a:lnTo>
                    <a:pt x="19059" y="3881"/>
                  </a:lnTo>
                  <a:lnTo>
                    <a:pt x="19100" y="4056"/>
                  </a:lnTo>
                  <a:lnTo>
                    <a:pt x="19170" y="4183"/>
                  </a:lnTo>
                  <a:lnTo>
                    <a:pt x="19186" y="4282"/>
                  </a:lnTo>
                  <a:lnTo>
                    <a:pt x="19098" y="4430"/>
                  </a:lnTo>
                  <a:lnTo>
                    <a:pt x="19067" y="4607"/>
                  </a:lnTo>
                  <a:lnTo>
                    <a:pt x="19096" y="4814"/>
                  </a:lnTo>
                  <a:lnTo>
                    <a:pt x="19031" y="4991"/>
                  </a:lnTo>
                  <a:lnTo>
                    <a:pt x="18966" y="5108"/>
                  </a:lnTo>
                  <a:cubicBezTo>
                    <a:pt x="18954" y="5143"/>
                    <a:pt x="18950" y="5183"/>
                    <a:pt x="18953" y="5223"/>
                  </a:cubicBezTo>
                  <a:cubicBezTo>
                    <a:pt x="18962" y="5311"/>
                    <a:pt x="19008" y="5380"/>
                    <a:pt x="19066" y="5393"/>
                  </a:cubicBezTo>
                  <a:lnTo>
                    <a:pt x="19082" y="5556"/>
                  </a:lnTo>
                  <a:lnTo>
                    <a:pt x="19157" y="5665"/>
                  </a:lnTo>
                  <a:lnTo>
                    <a:pt x="19206" y="5747"/>
                  </a:lnTo>
                  <a:lnTo>
                    <a:pt x="19243" y="5909"/>
                  </a:lnTo>
                  <a:lnTo>
                    <a:pt x="19298" y="5952"/>
                  </a:lnTo>
                  <a:lnTo>
                    <a:pt x="19402" y="6100"/>
                  </a:lnTo>
                  <a:lnTo>
                    <a:pt x="19470" y="6174"/>
                  </a:lnTo>
                  <a:lnTo>
                    <a:pt x="19527" y="6193"/>
                  </a:lnTo>
                  <a:lnTo>
                    <a:pt x="19531" y="6369"/>
                  </a:lnTo>
                  <a:lnTo>
                    <a:pt x="19624" y="6357"/>
                  </a:lnTo>
                  <a:lnTo>
                    <a:pt x="19673" y="6369"/>
                  </a:lnTo>
                  <a:lnTo>
                    <a:pt x="19721" y="6499"/>
                  </a:lnTo>
                  <a:lnTo>
                    <a:pt x="19782" y="6579"/>
                  </a:lnTo>
                  <a:lnTo>
                    <a:pt x="19822" y="6747"/>
                  </a:lnTo>
                  <a:lnTo>
                    <a:pt x="19922" y="6825"/>
                  </a:lnTo>
                  <a:lnTo>
                    <a:pt x="19989" y="6912"/>
                  </a:lnTo>
                  <a:lnTo>
                    <a:pt x="20047" y="6840"/>
                  </a:lnTo>
                  <a:lnTo>
                    <a:pt x="20095" y="6770"/>
                  </a:lnTo>
                  <a:lnTo>
                    <a:pt x="20141" y="6776"/>
                  </a:lnTo>
                  <a:lnTo>
                    <a:pt x="20122" y="6661"/>
                  </a:lnTo>
                  <a:cubicBezTo>
                    <a:pt x="20096" y="6629"/>
                    <a:pt x="20076" y="6588"/>
                    <a:pt x="20063" y="6541"/>
                  </a:cubicBezTo>
                  <a:cubicBezTo>
                    <a:pt x="20048" y="6486"/>
                    <a:pt x="20044" y="6426"/>
                    <a:pt x="20051" y="6368"/>
                  </a:cubicBezTo>
                  <a:lnTo>
                    <a:pt x="20097" y="6333"/>
                  </a:lnTo>
                  <a:lnTo>
                    <a:pt x="20060" y="6229"/>
                  </a:lnTo>
                  <a:lnTo>
                    <a:pt x="20028" y="6130"/>
                  </a:lnTo>
                  <a:cubicBezTo>
                    <a:pt x="20017" y="6102"/>
                    <a:pt x="20015" y="6068"/>
                    <a:pt x="20024" y="6038"/>
                  </a:cubicBezTo>
                  <a:cubicBezTo>
                    <a:pt x="20032" y="6008"/>
                    <a:pt x="20050" y="5987"/>
                    <a:pt x="20071" y="5981"/>
                  </a:cubicBezTo>
                  <a:lnTo>
                    <a:pt x="20148" y="5952"/>
                  </a:lnTo>
                  <a:lnTo>
                    <a:pt x="20116" y="5824"/>
                  </a:lnTo>
                  <a:lnTo>
                    <a:pt x="20073" y="5726"/>
                  </a:lnTo>
                  <a:lnTo>
                    <a:pt x="20027" y="5675"/>
                  </a:lnTo>
                  <a:lnTo>
                    <a:pt x="19988" y="5459"/>
                  </a:lnTo>
                  <a:lnTo>
                    <a:pt x="19971" y="5357"/>
                  </a:lnTo>
                  <a:lnTo>
                    <a:pt x="19889" y="5276"/>
                  </a:lnTo>
                  <a:cubicBezTo>
                    <a:pt x="19848" y="5275"/>
                    <a:pt x="19809" y="5248"/>
                    <a:pt x="19781" y="5203"/>
                  </a:cubicBezTo>
                  <a:cubicBezTo>
                    <a:pt x="19758" y="5165"/>
                    <a:pt x="19743" y="5118"/>
                    <a:pt x="19740" y="5067"/>
                  </a:cubicBezTo>
                  <a:lnTo>
                    <a:pt x="19649" y="5030"/>
                  </a:lnTo>
                  <a:lnTo>
                    <a:pt x="19552" y="5065"/>
                  </a:lnTo>
                  <a:lnTo>
                    <a:pt x="19499" y="4954"/>
                  </a:lnTo>
                  <a:lnTo>
                    <a:pt x="19530" y="4815"/>
                  </a:lnTo>
                  <a:lnTo>
                    <a:pt x="19474" y="4739"/>
                  </a:lnTo>
                  <a:lnTo>
                    <a:pt x="19445" y="4653"/>
                  </a:lnTo>
                  <a:lnTo>
                    <a:pt x="19429" y="4566"/>
                  </a:lnTo>
                  <a:lnTo>
                    <a:pt x="19532" y="4463"/>
                  </a:lnTo>
                  <a:lnTo>
                    <a:pt x="19674" y="4445"/>
                  </a:lnTo>
                  <a:lnTo>
                    <a:pt x="19757" y="4410"/>
                  </a:lnTo>
                  <a:lnTo>
                    <a:pt x="19810" y="4391"/>
                  </a:lnTo>
                  <a:lnTo>
                    <a:pt x="19862" y="4330"/>
                  </a:lnTo>
                  <a:lnTo>
                    <a:pt x="19913" y="4237"/>
                  </a:lnTo>
                  <a:lnTo>
                    <a:pt x="19960" y="4135"/>
                  </a:lnTo>
                  <a:lnTo>
                    <a:pt x="20017" y="4135"/>
                  </a:lnTo>
                  <a:lnTo>
                    <a:pt x="20052" y="4258"/>
                  </a:lnTo>
                  <a:lnTo>
                    <a:pt x="20103" y="4307"/>
                  </a:lnTo>
                  <a:lnTo>
                    <a:pt x="20167" y="4360"/>
                  </a:lnTo>
                  <a:lnTo>
                    <a:pt x="20240" y="4360"/>
                  </a:lnTo>
                  <a:lnTo>
                    <a:pt x="20330" y="4258"/>
                  </a:lnTo>
                  <a:lnTo>
                    <a:pt x="20441" y="4155"/>
                  </a:lnTo>
                  <a:lnTo>
                    <a:pt x="20460" y="4007"/>
                  </a:lnTo>
                  <a:lnTo>
                    <a:pt x="20532" y="3897"/>
                  </a:lnTo>
                  <a:lnTo>
                    <a:pt x="20647" y="3796"/>
                  </a:lnTo>
                  <a:lnTo>
                    <a:pt x="20690" y="3796"/>
                  </a:lnTo>
                  <a:lnTo>
                    <a:pt x="20798" y="3815"/>
                  </a:lnTo>
                  <a:lnTo>
                    <a:pt x="20974" y="3825"/>
                  </a:lnTo>
                  <a:lnTo>
                    <a:pt x="21043" y="3689"/>
                  </a:lnTo>
                  <a:lnTo>
                    <a:pt x="20828" y="3616"/>
                  </a:lnTo>
                  <a:lnTo>
                    <a:pt x="20699" y="3488"/>
                  </a:lnTo>
                  <a:cubicBezTo>
                    <a:pt x="20651" y="3440"/>
                    <a:pt x="20598" y="3408"/>
                    <a:pt x="20541" y="3395"/>
                  </a:cubicBezTo>
                  <a:cubicBezTo>
                    <a:pt x="20487" y="3382"/>
                    <a:pt x="20431" y="3387"/>
                    <a:pt x="20377" y="3369"/>
                  </a:cubicBezTo>
                  <a:cubicBezTo>
                    <a:pt x="20319" y="3349"/>
                    <a:pt x="20265" y="3304"/>
                    <a:pt x="20223" y="3239"/>
                  </a:cubicBezTo>
                  <a:lnTo>
                    <a:pt x="20154" y="3103"/>
                  </a:lnTo>
                  <a:lnTo>
                    <a:pt x="20236" y="3024"/>
                  </a:lnTo>
                  <a:lnTo>
                    <a:pt x="20355" y="3107"/>
                  </a:lnTo>
                  <a:lnTo>
                    <a:pt x="20443" y="3134"/>
                  </a:lnTo>
                  <a:lnTo>
                    <a:pt x="20540" y="3140"/>
                  </a:lnTo>
                  <a:lnTo>
                    <a:pt x="20552" y="3056"/>
                  </a:lnTo>
                  <a:lnTo>
                    <a:pt x="20456" y="2990"/>
                  </a:lnTo>
                  <a:lnTo>
                    <a:pt x="20365" y="2851"/>
                  </a:lnTo>
                  <a:lnTo>
                    <a:pt x="20463" y="2783"/>
                  </a:lnTo>
                  <a:lnTo>
                    <a:pt x="20569" y="2870"/>
                  </a:lnTo>
                  <a:lnTo>
                    <a:pt x="20686" y="2876"/>
                  </a:lnTo>
                  <a:lnTo>
                    <a:pt x="20806" y="2925"/>
                  </a:lnTo>
                  <a:lnTo>
                    <a:pt x="20940" y="2947"/>
                  </a:lnTo>
                  <a:lnTo>
                    <a:pt x="21026" y="2924"/>
                  </a:lnTo>
                  <a:lnTo>
                    <a:pt x="21094" y="3032"/>
                  </a:lnTo>
                  <a:lnTo>
                    <a:pt x="21270" y="3145"/>
                  </a:lnTo>
                  <a:lnTo>
                    <a:pt x="21423" y="3219"/>
                  </a:lnTo>
                  <a:lnTo>
                    <a:pt x="21566" y="3127"/>
                  </a:lnTo>
                  <a:lnTo>
                    <a:pt x="21600" y="3078"/>
                  </a:lnTo>
                  <a:lnTo>
                    <a:pt x="21527" y="3010"/>
                  </a:lnTo>
                  <a:lnTo>
                    <a:pt x="21426" y="2891"/>
                  </a:lnTo>
                  <a:lnTo>
                    <a:pt x="21301" y="2737"/>
                  </a:lnTo>
                  <a:lnTo>
                    <a:pt x="21190" y="2630"/>
                  </a:lnTo>
                  <a:lnTo>
                    <a:pt x="21119" y="2630"/>
                  </a:lnTo>
                  <a:lnTo>
                    <a:pt x="21030" y="2636"/>
                  </a:lnTo>
                  <a:lnTo>
                    <a:pt x="20974" y="2686"/>
                  </a:lnTo>
                  <a:lnTo>
                    <a:pt x="20878" y="2770"/>
                  </a:lnTo>
                  <a:lnTo>
                    <a:pt x="20770" y="2686"/>
                  </a:lnTo>
                  <a:lnTo>
                    <a:pt x="20722" y="2588"/>
                  </a:lnTo>
                  <a:lnTo>
                    <a:pt x="20543" y="2472"/>
                  </a:lnTo>
                  <a:lnTo>
                    <a:pt x="20456" y="2425"/>
                  </a:lnTo>
                  <a:lnTo>
                    <a:pt x="20307" y="2425"/>
                  </a:lnTo>
                  <a:lnTo>
                    <a:pt x="20202" y="2382"/>
                  </a:lnTo>
                  <a:lnTo>
                    <a:pt x="20089" y="2339"/>
                  </a:lnTo>
                  <a:lnTo>
                    <a:pt x="19926" y="2311"/>
                  </a:lnTo>
                  <a:lnTo>
                    <a:pt x="19800" y="2213"/>
                  </a:lnTo>
                  <a:lnTo>
                    <a:pt x="19643" y="2083"/>
                  </a:lnTo>
                  <a:lnTo>
                    <a:pt x="19551" y="2052"/>
                  </a:lnTo>
                  <a:lnTo>
                    <a:pt x="19315" y="2034"/>
                  </a:lnTo>
                  <a:lnTo>
                    <a:pt x="19215" y="1997"/>
                  </a:lnTo>
                  <a:lnTo>
                    <a:pt x="19122" y="1921"/>
                  </a:lnTo>
                  <a:lnTo>
                    <a:pt x="18920" y="1933"/>
                  </a:lnTo>
                  <a:lnTo>
                    <a:pt x="18735" y="1921"/>
                  </a:lnTo>
                  <a:lnTo>
                    <a:pt x="18590" y="1909"/>
                  </a:lnTo>
                  <a:lnTo>
                    <a:pt x="18496" y="1822"/>
                  </a:lnTo>
                  <a:lnTo>
                    <a:pt x="18364" y="1797"/>
                  </a:lnTo>
                  <a:lnTo>
                    <a:pt x="18239" y="1810"/>
                  </a:lnTo>
                  <a:lnTo>
                    <a:pt x="18137" y="1829"/>
                  </a:lnTo>
                  <a:lnTo>
                    <a:pt x="18157" y="1902"/>
                  </a:lnTo>
                  <a:lnTo>
                    <a:pt x="18248" y="1991"/>
                  </a:lnTo>
                  <a:lnTo>
                    <a:pt x="18296" y="2120"/>
                  </a:lnTo>
                  <a:lnTo>
                    <a:pt x="18233" y="2151"/>
                  </a:lnTo>
                  <a:lnTo>
                    <a:pt x="18148" y="2110"/>
                  </a:lnTo>
                  <a:lnTo>
                    <a:pt x="18025" y="2036"/>
                  </a:lnTo>
                  <a:lnTo>
                    <a:pt x="17903" y="1987"/>
                  </a:lnTo>
                  <a:lnTo>
                    <a:pt x="17710" y="1891"/>
                  </a:lnTo>
                  <a:lnTo>
                    <a:pt x="17551" y="1878"/>
                  </a:lnTo>
                  <a:lnTo>
                    <a:pt x="17370" y="1915"/>
                  </a:lnTo>
                  <a:lnTo>
                    <a:pt x="17038" y="1989"/>
                  </a:lnTo>
                  <a:lnTo>
                    <a:pt x="16827" y="1926"/>
                  </a:lnTo>
                  <a:lnTo>
                    <a:pt x="16722" y="1858"/>
                  </a:lnTo>
                  <a:lnTo>
                    <a:pt x="16565" y="1799"/>
                  </a:lnTo>
                  <a:lnTo>
                    <a:pt x="16503" y="1709"/>
                  </a:lnTo>
                  <a:lnTo>
                    <a:pt x="16417" y="1665"/>
                  </a:lnTo>
                  <a:lnTo>
                    <a:pt x="16350" y="1665"/>
                  </a:lnTo>
                  <a:lnTo>
                    <a:pt x="16180" y="1702"/>
                  </a:lnTo>
                  <a:lnTo>
                    <a:pt x="15880" y="1706"/>
                  </a:lnTo>
                  <a:lnTo>
                    <a:pt x="15742" y="1620"/>
                  </a:lnTo>
                  <a:lnTo>
                    <a:pt x="15543" y="1620"/>
                  </a:lnTo>
                  <a:lnTo>
                    <a:pt x="15307" y="1595"/>
                  </a:lnTo>
                  <a:lnTo>
                    <a:pt x="15157" y="1620"/>
                  </a:lnTo>
                  <a:lnTo>
                    <a:pt x="15047" y="1501"/>
                  </a:lnTo>
                  <a:lnTo>
                    <a:pt x="14881" y="1420"/>
                  </a:lnTo>
                  <a:lnTo>
                    <a:pt x="14763" y="1303"/>
                  </a:lnTo>
                  <a:lnTo>
                    <a:pt x="14679" y="1266"/>
                  </a:lnTo>
                  <a:lnTo>
                    <a:pt x="14635" y="1352"/>
                  </a:lnTo>
                  <a:lnTo>
                    <a:pt x="14550" y="1352"/>
                  </a:lnTo>
                  <a:lnTo>
                    <a:pt x="14462" y="1297"/>
                  </a:lnTo>
                  <a:lnTo>
                    <a:pt x="14166" y="1211"/>
                  </a:lnTo>
                  <a:lnTo>
                    <a:pt x="14073" y="1169"/>
                  </a:lnTo>
                  <a:lnTo>
                    <a:pt x="13945" y="1162"/>
                  </a:lnTo>
                  <a:lnTo>
                    <a:pt x="13813" y="1181"/>
                  </a:lnTo>
                  <a:lnTo>
                    <a:pt x="13627" y="1224"/>
                  </a:lnTo>
                  <a:lnTo>
                    <a:pt x="13667" y="1317"/>
                  </a:lnTo>
                  <a:lnTo>
                    <a:pt x="13749" y="1403"/>
                  </a:lnTo>
                  <a:lnTo>
                    <a:pt x="13692" y="1507"/>
                  </a:lnTo>
                  <a:lnTo>
                    <a:pt x="13597" y="1536"/>
                  </a:lnTo>
                  <a:lnTo>
                    <a:pt x="13538" y="1628"/>
                  </a:lnTo>
                  <a:lnTo>
                    <a:pt x="13428" y="1659"/>
                  </a:lnTo>
                  <a:lnTo>
                    <a:pt x="13358" y="1560"/>
                  </a:lnTo>
                  <a:lnTo>
                    <a:pt x="13216" y="1548"/>
                  </a:lnTo>
                  <a:lnTo>
                    <a:pt x="13131" y="1566"/>
                  </a:lnTo>
                  <a:lnTo>
                    <a:pt x="13104" y="1505"/>
                  </a:lnTo>
                  <a:lnTo>
                    <a:pt x="12982" y="1530"/>
                  </a:lnTo>
                  <a:lnTo>
                    <a:pt x="12917" y="1609"/>
                  </a:lnTo>
                  <a:lnTo>
                    <a:pt x="12808" y="1661"/>
                  </a:lnTo>
                  <a:lnTo>
                    <a:pt x="12730" y="1716"/>
                  </a:lnTo>
                  <a:lnTo>
                    <a:pt x="12648" y="1673"/>
                  </a:lnTo>
                  <a:lnTo>
                    <a:pt x="12554" y="1612"/>
                  </a:lnTo>
                  <a:lnTo>
                    <a:pt x="12432" y="1501"/>
                  </a:lnTo>
                  <a:lnTo>
                    <a:pt x="12362" y="1435"/>
                  </a:lnTo>
                  <a:lnTo>
                    <a:pt x="12252" y="1303"/>
                  </a:lnTo>
                  <a:lnTo>
                    <a:pt x="12198" y="1196"/>
                  </a:lnTo>
                  <a:lnTo>
                    <a:pt x="12065" y="1147"/>
                  </a:lnTo>
                  <a:lnTo>
                    <a:pt x="11907" y="1091"/>
                  </a:lnTo>
                  <a:lnTo>
                    <a:pt x="11807" y="1027"/>
                  </a:lnTo>
                  <a:lnTo>
                    <a:pt x="11650" y="1040"/>
                  </a:lnTo>
                  <a:lnTo>
                    <a:pt x="11476" y="1046"/>
                  </a:lnTo>
                  <a:lnTo>
                    <a:pt x="11319" y="1107"/>
                  </a:lnTo>
                  <a:lnTo>
                    <a:pt x="11161" y="1175"/>
                  </a:lnTo>
                  <a:lnTo>
                    <a:pt x="11102" y="1212"/>
                  </a:lnTo>
                  <a:lnTo>
                    <a:pt x="10997" y="1157"/>
                  </a:lnTo>
                  <a:lnTo>
                    <a:pt x="10925" y="1085"/>
                  </a:lnTo>
                  <a:lnTo>
                    <a:pt x="10818" y="1062"/>
                  </a:lnTo>
                  <a:lnTo>
                    <a:pt x="10706" y="1005"/>
                  </a:lnTo>
                  <a:lnTo>
                    <a:pt x="10635" y="986"/>
                  </a:lnTo>
                  <a:lnTo>
                    <a:pt x="10534" y="1017"/>
                  </a:lnTo>
                  <a:lnTo>
                    <a:pt x="10460" y="1067"/>
                  </a:lnTo>
                  <a:lnTo>
                    <a:pt x="10390" y="1116"/>
                  </a:lnTo>
                  <a:lnTo>
                    <a:pt x="10258" y="1109"/>
                  </a:lnTo>
                  <a:lnTo>
                    <a:pt x="10185" y="1048"/>
                  </a:lnTo>
                  <a:lnTo>
                    <a:pt x="10067" y="999"/>
                  </a:lnTo>
                  <a:lnTo>
                    <a:pt x="10001" y="925"/>
                  </a:lnTo>
                  <a:lnTo>
                    <a:pt x="9915" y="908"/>
                  </a:lnTo>
                  <a:lnTo>
                    <a:pt x="9859" y="933"/>
                  </a:lnTo>
                  <a:lnTo>
                    <a:pt x="9750" y="999"/>
                  </a:lnTo>
                  <a:lnTo>
                    <a:pt x="9570" y="1077"/>
                  </a:lnTo>
                  <a:lnTo>
                    <a:pt x="9446" y="1137"/>
                  </a:lnTo>
                  <a:lnTo>
                    <a:pt x="9279" y="1137"/>
                  </a:lnTo>
                  <a:lnTo>
                    <a:pt x="9295" y="1014"/>
                  </a:lnTo>
                  <a:lnTo>
                    <a:pt x="9310" y="961"/>
                  </a:lnTo>
                  <a:lnTo>
                    <a:pt x="9378" y="871"/>
                  </a:lnTo>
                  <a:lnTo>
                    <a:pt x="9505" y="792"/>
                  </a:lnTo>
                  <a:lnTo>
                    <a:pt x="9585" y="731"/>
                  </a:lnTo>
                  <a:lnTo>
                    <a:pt x="9656" y="672"/>
                  </a:lnTo>
                  <a:lnTo>
                    <a:pt x="9727" y="607"/>
                  </a:lnTo>
                  <a:lnTo>
                    <a:pt x="9742" y="445"/>
                  </a:lnTo>
                  <a:lnTo>
                    <a:pt x="9582" y="412"/>
                  </a:lnTo>
                  <a:cubicBezTo>
                    <a:pt x="9560" y="371"/>
                    <a:pt x="9533" y="339"/>
                    <a:pt x="9502" y="316"/>
                  </a:cubicBezTo>
                  <a:cubicBezTo>
                    <a:pt x="9454" y="281"/>
                    <a:pt x="9400" y="272"/>
                    <a:pt x="9348" y="291"/>
                  </a:cubicBezTo>
                  <a:lnTo>
                    <a:pt x="9271" y="259"/>
                  </a:lnTo>
                  <a:lnTo>
                    <a:pt x="9024" y="240"/>
                  </a:lnTo>
                  <a:lnTo>
                    <a:pt x="8961" y="296"/>
                  </a:lnTo>
                  <a:lnTo>
                    <a:pt x="8878" y="321"/>
                  </a:lnTo>
                  <a:lnTo>
                    <a:pt x="8778" y="327"/>
                  </a:lnTo>
                  <a:lnTo>
                    <a:pt x="8669" y="321"/>
                  </a:lnTo>
                  <a:lnTo>
                    <a:pt x="8552" y="169"/>
                  </a:lnTo>
                  <a:lnTo>
                    <a:pt x="8382" y="61"/>
                  </a:lnTo>
                  <a:lnTo>
                    <a:pt x="8181" y="0"/>
                  </a:lnTo>
                  <a:lnTo>
                    <a:pt x="8118" y="111"/>
                  </a:lnTo>
                  <a:cubicBezTo>
                    <a:pt x="8095" y="146"/>
                    <a:pt x="8072" y="181"/>
                    <a:pt x="8049" y="216"/>
                  </a:cubicBezTo>
                  <a:cubicBezTo>
                    <a:pt x="8019" y="259"/>
                    <a:pt x="7990" y="302"/>
                    <a:pt x="7960" y="345"/>
                  </a:cubicBezTo>
                  <a:lnTo>
                    <a:pt x="7855" y="476"/>
                  </a:lnTo>
                  <a:lnTo>
                    <a:pt x="7722" y="482"/>
                  </a:lnTo>
                  <a:lnTo>
                    <a:pt x="7658" y="400"/>
                  </a:lnTo>
                  <a:lnTo>
                    <a:pt x="7484" y="373"/>
                  </a:lnTo>
                  <a:lnTo>
                    <a:pt x="7361" y="362"/>
                  </a:lnTo>
                  <a:lnTo>
                    <a:pt x="7275" y="430"/>
                  </a:lnTo>
                  <a:lnTo>
                    <a:pt x="7161" y="486"/>
                  </a:lnTo>
                  <a:lnTo>
                    <a:pt x="7012" y="523"/>
                  </a:lnTo>
                  <a:lnTo>
                    <a:pt x="6838" y="560"/>
                  </a:lnTo>
                  <a:lnTo>
                    <a:pt x="6726" y="578"/>
                  </a:lnTo>
                  <a:lnTo>
                    <a:pt x="6715" y="666"/>
                  </a:lnTo>
                  <a:lnTo>
                    <a:pt x="6751" y="734"/>
                  </a:lnTo>
                  <a:lnTo>
                    <a:pt x="6843" y="832"/>
                  </a:lnTo>
                  <a:lnTo>
                    <a:pt x="6786" y="906"/>
                  </a:lnTo>
                  <a:lnTo>
                    <a:pt x="6718" y="930"/>
                  </a:lnTo>
                  <a:lnTo>
                    <a:pt x="6637" y="973"/>
                  </a:lnTo>
                  <a:lnTo>
                    <a:pt x="6556" y="924"/>
                  </a:lnTo>
                  <a:lnTo>
                    <a:pt x="6471" y="887"/>
                  </a:lnTo>
                  <a:lnTo>
                    <a:pt x="6350" y="943"/>
                  </a:lnTo>
                  <a:lnTo>
                    <a:pt x="6279" y="996"/>
                  </a:lnTo>
                  <a:lnTo>
                    <a:pt x="6206" y="1051"/>
                  </a:lnTo>
                  <a:lnTo>
                    <a:pt x="6149" y="1132"/>
                  </a:lnTo>
                  <a:lnTo>
                    <a:pt x="6064" y="1205"/>
                  </a:lnTo>
                  <a:lnTo>
                    <a:pt x="5960" y="1295"/>
                  </a:lnTo>
                  <a:lnTo>
                    <a:pt x="5892" y="1351"/>
                  </a:lnTo>
                  <a:lnTo>
                    <a:pt x="5816" y="1400"/>
                  </a:lnTo>
                  <a:lnTo>
                    <a:pt x="5722" y="1449"/>
                  </a:lnTo>
                  <a:lnTo>
                    <a:pt x="5637" y="1449"/>
                  </a:lnTo>
                  <a:lnTo>
                    <a:pt x="5595" y="1413"/>
                  </a:lnTo>
                  <a:lnTo>
                    <a:pt x="5495" y="1413"/>
                  </a:lnTo>
                  <a:lnTo>
                    <a:pt x="5468" y="1536"/>
                  </a:lnTo>
                  <a:lnTo>
                    <a:pt x="5511" y="1683"/>
                  </a:lnTo>
                  <a:lnTo>
                    <a:pt x="5628" y="1858"/>
                  </a:lnTo>
                  <a:lnTo>
                    <a:pt x="5664" y="1907"/>
                  </a:lnTo>
                  <a:lnTo>
                    <a:pt x="5767" y="1929"/>
                  </a:lnTo>
                  <a:lnTo>
                    <a:pt x="5876" y="2075"/>
                  </a:lnTo>
                  <a:lnTo>
                    <a:pt x="5864" y="2215"/>
                  </a:lnTo>
                  <a:lnTo>
                    <a:pt x="5905" y="2289"/>
                  </a:lnTo>
                  <a:lnTo>
                    <a:pt x="5866" y="2477"/>
                  </a:lnTo>
                  <a:lnTo>
                    <a:pt x="5797" y="2656"/>
                  </a:lnTo>
                  <a:lnTo>
                    <a:pt x="5709" y="2755"/>
                  </a:lnTo>
                  <a:lnTo>
                    <a:pt x="5587" y="2810"/>
                  </a:lnTo>
                  <a:lnTo>
                    <a:pt x="5482" y="2822"/>
                  </a:lnTo>
                  <a:cubicBezTo>
                    <a:pt x="5453" y="2798"/>
                    <a:pt x="5444" y="2741"/>
                    <a:pt x="5463" y="2699"/>
                  </a:cubicBezTo>
                  <a:cubicBezTo>
                    <a:pt x="5481" y="2659"/>
                    <a:pt x="5516" y="2653"/>
                    <a:pt x="5544" y="2631"/>
                  </a:cubicBezTo>
                  <a:cubicBezTo>
                    <a:pt x="5592" y="2593"/>
                    <a:pt x="5617" y="2510"/>
                    <a:pt x="5603" y="2430"/>
                  </a:cubicBezTo>
                  <a:lnTo>
                    <a:pt x="5557" y="2208"/>
                  </a:lnTo>
                  <a:lnTo>
                    <a:pt x="5456" y="2066"/>
                  </a:lnTo>
                  <a:lnTo>
                    <a:pt x="5369" y="1842"/>
                  </a:lnTo>
                  <a:lnTo>
                    <a:pt x="5304" y="1651"/>
                  </a:lnTo>
                  <a:lnTo>
                    <a:pt x="5239" y="1515"/>
                  </a:lnTo>
                  <a:lnTo>
                    <a:pt x="5182" y="1355"/>
                  </a:lnTo>
                  <a:lnTo>
                    <a:pt x="5074" y="1252"/>
                  </a:lnTo>
                  <a:lnTo>
                    <a:pt x="4913" y="1178"/>
                  </a:lnTo>
                  <a:lnTo>
                    <a:pt x="4747" y="1246"/>
                  </a:lnTo>
                  <a:lnTo>
                    <a:pt x="4613" y="1388"/>
                  </a:lnTo>
                  <a:lnTo>
                    <a:pt x="4609" y="1523"/>
                  </a:lnTo>
                  <a:lnTo>
                    <a:pt x="4654" y="1702"/>
                  </a:lnTo>
                  <a:lnTo>
                    <a:pt x="4727" y="1825"/>
                  </a:lnTo>
                  <a:lnTo>
                    <a:pt x="4848" y="1874"/>
                  </a:lnTo>
                  <a:lnTo>
                    <a:pt x="4946" y="1942"/>
                  </a:lnTo>
                  <a:lnTo>
                    <a:pt x="5024" y="2032"/>
                  </a:lnTo>
                  <a:lnTo>
                    <a:pt x="5089" y="2143"/>
                  </a:lnTo>
                  <a:lnTo>
                    <a:pt x="5077" y="2241"/>
                  </a:lnTo>
                  <a:lnTo>
                    <a:pt x="4981" y="2276"/>
                  </a:lnTo>
                  <a:lnTo>
                    <a:pt x="4947" y="2348"/>
                  </a:lnTo>
                  <a:lnTo>
                    <a:pt x="4872" y="2286"/>
                  </a:lnTo>
                  <a:lnTo>
                    <a:pt x="4788" y="2194"/>
                  </a:lnTo>
                  <a:lnTo>
                    <a:pt x="4710" y="2163"/>
                  </a:lnTo>
                  <a:lnTo>
                    <a:pt x="4603" y="2151"/>
                  </a:lnTo>
                  <a:lnTo>
                    <a:pt x="4678" y="2284"/>
                  </a:lnTo>
                  <a:lnTo>
                    <a:pt x="4754" y="2363"/>
                  </a:lnTo>
                  <a:lnTo>
                    <a:pt x="4735" y="2522"/>
                  </a:lnTo>
                  <a:lnTo>
                    <a:pt x="4571" y="2643"/>
                  </a:lnTo>
                  <a:lnTo>
                    <a:pt x="4490" y="2738"/>
                  </a:lnTo>
                  <a:lnTo>
                    <a:pt x="4323" y="2820"/>
                  </a:lnTo>
                  <a:lnTo>
                    <a:pt x="4189" y="2900"/>
                  </a:lnTo>
                  <a:lnTo>
                    <a:pt x="4168" y="3010"/>
                  </a:lnTo>
                  <a:lnTo>
                    <a:pt x="4176" y="3166"/>
                  </a:lnTo>
                  <a:lnTo>
                    <a:pt x="4263" y="3589"/>
                  </a:lnTo>
                  <a:lnTo>
                    <a:pt x="4302" y="3809"/>
                  </a:lnTo>
                  <a:lnTo>
                    <a:pt x="4391" y="3967"/>
                  </a:lnTo>
                  <a:lnTo>
                    <a:pt x="4410" y="4139"/>
                  </a:lnTo>
                  <a:lnTo>
                    <a:pt x="4418" y="4379"/>
                  </a:lnTo>
                  <a:lnTo>
                    <a:pt x="4441" y="4560"/>
                  </a:lnTo>
                  <a:lnTo>
                    <a:pt x="4437" y="4864"/>
                  </a:lnTo>
                  <a:lnTo>
                    <a:pt x="4527" y="4941"/>
                  </a:lnTo>
                  <a:lnTo>
                    <a:pt x="4567" y="5097"/>
                  </a:lnTo>
                  <a:lnTo>
                    <a:pt x="4635" y="5183"/>
                  </a:lnTo>
                  <a:lnTo>
                    <a:pt x="4651" y="5256"/>
                  </a:lnTo>
                  <a:lnTo>
                    <a:pt x="4626" y="5367"/>
                  </a:lnTo>
                  <a:lnTo>
                    <a:pt x="4576" y="5443"/>
                  </a:lnTo>
                  <a:lnTo>
                    <a:pt x="4445" y="5463"/>
                  </a:lnTo>
                  <a:lnTo>
                    <a:pt x="4316" y="5596"/>
                  </a:lnTo>
                  <a:lnTo>
                    <a:pt x="4406" y="5724"/>
                  </a:lnTo>
                  <a:lnTo>
                    <a:pt x="4387" y="5836"/>
                  </a:lnTo>
                  <a:lnTo>
                    <a:pt x="4594" y="6114"/>
                  </a:lnTo>
                  <a:lnTo>
                    <a:pt x="4754" y="6030"/>
                  </a:lnTo>
                  <a:lnTo>
                    <a:pt x="4789" y="5840"/>
                  </a:lnTo>
                  <a:lnTo>
                    <a:pt x="4841" y="5803"/>
                  </a:lnTo>
                  <a:lnTo>
                    <a:pt x="4948" y="5879"/>
                  </a:lnTo>
                  <a:lnTo>
                    <a:pt x="5006" y="6012"/>
                  </a:lnTo>
                  <a:lnTo>
                    <a:pt x="4972" y="6178"/>
                  </a:lnTo>
                  <a:lnTo>
                    <a:pt x="4922" y="6262"/>
                  </a:lnTo>
                  <a:lnTo>
                    <a:pt x="4935" y="6389"/>
                  </a:lnTo>
                  <a:lnTo>
                    <a:pt x="4975" y="6457"/>
                  </a:lnTo>
                  <a:lnTo>
                    <a:pt x="4930" y="6525"/>
                  </a:lnTo>
                  <a:lnTo>
                    <a:pt x="4941" y="6684"/>
                  </a:lnTo>
                  <a:lnTo>
                    <a:pt x="4896" y="6822"/>
                  </a:lnTo>
                  <a:lnTo>
                    <a:pt x="4856" y="6858"/>
                  </a:lnTo>
                  <a:lnTo>
                    <a:pt x="4492" y="6703"/>
                  </a:lnTo>
                  <a:lnTo>
                    <a:pt x="4399" y="6602"/>
                  </a:lnTo>
                  <a:lnTo>
                    <a:pt x="4252" y="6584"/>
                  </a:lnTo>
                  <a:lnTo>
                    <a:pt x="4068" y="6730"/>
                  </a:lnTo>
                  <a:lnTo>
                    <a:pt x="3743" y="6603"/>
                  </a:lnTo>
                  <a:lnTo>
                    <a:pt x="3618" y="6656"/>
                  </a:lnTo>
                  <a:lnTo>
                    <a:pt x="3600" y="6823"/>
                  </a:lnTo>
                  <a:lnTo>
                    <a:pt x="3636" y="7187"/>
                  </a:lnTo>
                  <a:lnTo>
                    <a:pt x="3748" y="7239"/>
                  </a:lnTo>
                  <a:lnTo>
                    <a:pt x="3825" y="7347"/>
                  </a:lnTo>
                  <a:lnTo>
                    <a:pt x="3825" y="7604"/>
                  </a:lnTo>
                  <a:lnTo>
                    <a:pt x="3887" y="7855"/>
                  </a:lnTo>
                  <a:lnTo>
                    <a:pt x="3979" y="8012"/>
                  </a:lnTo>
                  <a:lnTo>
                    <a:pt x="4086" y="8093"/>
                  </a:lnTo>
                  <a:lnTo>
                    <a:pt x="4220" y="8136"/>
                  </a:lnTo>
                  <a:lnTo>
                    <a:pt x="4293" y="8263"/>
                  </a:lnTo>
                  <a:lnTo>
                    <a:pt x="4293" y="8394"/>
                  </a:lnTo>
                  <a:lnTo>
                    <a:pt x="4366" y="8540"/>
                  </a:lnTo>
                  <a:lnTo>
                    <a:pt x="4383" y="8629"/>
                  </a:lnTo>
                  <a:lnTo>
                    <a:pt x="4299" y="8664"/>
                  </a:lnTo>
                  <a:lnTo>
                    <a:pt x="4172" y="8604"/>
                  </a:lnTo>
                  <a:lnTo>
                    <a:pt x="4026" y="8653"/>
                  </a:lnTo>
                  <a:lnTo>
                    <a:pt x="3937" y="8795"/>
                  </a:lnTo>
                  <a:lnTo>
                    <a:pt x="3868" y="9042"/>
                  </a:lnTo>
                  <a:lnTo>
                    <a:pt x="4014" y="9200"/>
                  </a:lnTo>
                  <a:lnTo>
                    <a:pt x="4153" y="9272"/>
                  </a:lnTo>
                  <a:lnTo>
                    <a:pt x="4317" y="9447"/>
                  </a:lnTo>
                  <a:lnTo>
                    <a:pt x="4379" y="9595"/>
                  </a:lnTo>
                  <a:lnTo>
                    <a:pt x="4500" y="9504"/>
                  </a:lnTo>
                  <a:lnTo>
                    <a:pt x="4590" y="9545"/>
                  </a:lnTo>
                  <a:lnTo>
                    <a:pt x="4620" y="9647"/>
                  </a:lnTo>
                  <a:lnTo>
                    <a:pt x="4729" y="9807"/>
                  </a:lnTo>
                  <a:lnTo>
                    <a:pt x="4703" y="9934"/>
                  </a:lnTo>
                  <a:lnTo>
                    <a:pt x="4589" y="10028"/>
                  </a:lnTo>
                  <a:lnTo>
                    <a:pt x="4485" y="9905"/>
                  </a:lnTo>
                  <a:lnTo>
                    <a:pt x="4398" y="9948"/>
                  </a:lnTo>
                  <a:lnTo>
                    <a:pt x="4460" y="10099"/>
                  </a:lnTo>
                  <a:lnTo>
                    <a:pt x="4558" y="10237"/>
                  </a:lnTo>
                  <a:lnTo>
                    <a:pt x="4639" y="10407"/>
                  </a:lnTo>
                  <a:lnTo>
                    <a:pt x="4716" y="10732"/>
                  </a:lnTo>
                  <a:lnTo>
                    <a:pt x="4705" y="10997"/>
                  </a:lnTo>
                  <a:lnTo>
                    <a:pt x="4587" y="11154"/>
                  </a:lnTo>
                  <a:lnTo>
                    <a:pt x="4430" y="11160"/>
                  </a:lnTo>
                  <a:lnTo>
                    <a:pt x="4375" y="11281"/>
                  </a:lnTo>
                  <a:lnTo>
                    <a:pt x="4289" y="11156"/>
                  </a:lnTo>
                  <a:cubicBezTo>
                    <a:pt x="4252" y="11136"/>
                    <a:pt x="4216" y="11114"/>
                    <a:pt x="4180" y="11088"/>
                  </a:cubicBezTo>
                  <a:cubicBezTo>
                    <a:pt x="4134" y="11055"/>
                    <a:pt x="4089" y="11017"/>
                    <a:pt x="4044" y="10979"/>
                  </a:cubicBezTo>
                  <a:cubicBezTo>
                    <a:pt x="3984" y="10930"/>
                    <a:pt x="3923" y="10882"/>
                    <a:pt x="3862" y="10835"/>
                  </a:cubicBezTo>
                  <a:lnTo>
                    <a:pt x="3803" y="10661"/>
                  </a:lnTo>
                  <a:lnTo>
                    <a:pt x="3784" y="10495"/>
                  </a:lnTo>
                  <a:lnTo>
                    <a:pt x="3841" y="10339"/>
                  </a:lnTo>
                  <a:lnTo>
                    <a:pt x="3888" y="10223"/>
                  </a:lnTo>
                  <a:close/>
                </a:path>
              </a:pathLst>
            </a:custGeom>
            <a:grpFill/>
            <a:ln w="25400" cap="flat">
              <a:noFill/>
              <a:prstDash val="solid"/>
              <a:miter lim="400000"/>
            </a:ln>
            <a:effectLst/>
          </p:spPr>
          <p:txBody>
            <a:bodyPr anchor="ctr"/>
            <a:lstStyle/>
            <a:p>
              <a:pPr algn="ctr"/>
              <a:endParaRPr/>
            </a:p>
          </p:txBody>
        </p:sp>
        <p:sp>
          <p:nvSpPr>
            <p:cNvPr id="268" name="任意多边形: 形状 267">
              <a:extLst>
                <a:ext uri="{FF2B5EF4-FFF2-40B4-BE49-F238E27FC236}">
                  <a16:creationId xmlns:a16="http://schemas.microsoft.com/office/drawing/2014/main" id="{47657D41-2815-4D0A-9A90-BDC81E747593}"/>
                </a:ext>
              </a:extLst>
            </p:cNvPr>
            <p:cNvSpPr/>
            <p:nvPr/>
          </p:nvSpPr>
          <p:spPr>
            <a:xfrm>
              <a:off x="7558388" y="1310558"/>
              <a:ext cx="328933" cy="89526"/>
            </a:xfrm>
            <a:custGeom>
              <a:avLst/>
              <a:gdLst/>
              <a:ahLst/>
              <a:cxnLst>
                <a:cxn ang="0">
                  <a:pos x="wd2" y="hd2"/>
                </a:cxn>
                <a:cxn ang="5400000">
                  <a:pos x="wd2" y="hd2"/>
                </a:cxn>
                <a:cxn ang="10800000">
                  <a:pos x="wd2" y="hd2"/>
                </a:cxn>
                <a:cxn ang="16200000">
                  <a:pos x="wd2" y="hd2"/>
                </a:cxn>
              </a:cxnLst>
              <a:rect l="0" t="0" r="r" b="b"/>
              <a:pathLst>
                <a:path w="21600" h="21600" extrusionOk="0">
                  <a:moveTo>
                    <a:pt x="7778" y="6595"/>
                  </a:moveTo>
                  <a:lnTo>
                    <a:pt x="10446" y="7621"/>
                  </a:lnTo>
                  <a:lnTo>
                    <a:pt x="11913" y="8186"/>
                  </a:lnTo>
                  <a:lnTo>
                    <a:pt x="12620" y="11749"/>
                  </a:lnTo>
                  <a:lnTo>
                    <a:pt x="14481" y="12643"/>
                  </a:lnTo>
                  <a:lnTo>
                    <a:pt x="16772" y="11668"/>
                  </a:lnTo>
                  <a:lnTo>
                    <a:pt x="18486" y="11668"/>
                  </a:lnTo>
                  <a:lnTo>
                    <a:pt x="20801" y="12156"/>
                  </a:lnTo>
                  <a:lnTo>
                    <a:pt x="21600" y="13283"/>
                  </a:lnTo>
                  <a:lnTo>
                    <a:pt x="19933" y="15944"/>
                  </a:lnTo>
                  <a:lnTo>
                    <a:pt x="17089" y="15944"/>
                  </a:lnTo>
                  <a:lnTo>
                    <a:pt x="16332" y="19345"/>
                  </a:lnTo>
                  <a:lnTo>
                    <a:pt x="16001" y="21600"/>
                  </a:lnTo>
                  <a:lnTo>
                    <a:pt x="14718" y="20625"/>
                  </a:lnTo>
                  <a:lnTo>
                    <a:pt x="14985" y="16005"/>
                  </a:lnTo>
                  <a:lnTo>
                    <a:pt x="13115" y="14553"/>
                  </a:lnTo>
                  <a:lnTo>
                    <a:pt x="9998" y="14309"/>
                  </a:lnTo>
                  <a:lnTo>
                    <a:pt x="8554" y="13334"/>
                  </a:lnTo>
                  <a:lnTo>
                    <a:pt x="6375" y="9273"/>
                  </a:lnTo>
                  <a:lnTo>
                    <a:pt x="4455" y="10004"/>
                  </a:lnTo>
                  <a:lnTo>
                    <a:pt x="647" y="10490"/>
                  </a:lnTo>
                  <a:lnTo>
                    <a:pt x="0" y="7648"/>
                  </a:lnTo>
                  <a:lnTo>
                    <a:pt x="1373" y="1494"/>
                  </a:lnTo>
                  <a:lnTo>
                    <a:pt x="2843" y="0"/>
                  </a:lnTo>
                  <a:lnTo>
                    <a:pt x="5108" y="1491"/>
                  </a:lnTo>
                  <a:lnTo>
                    <a:pt x="5617" y="3189"/>
                  </a:lnTo>
                  <a:lnTo>
                    <a:pt x="6572" y="5128"/>
                  </a:lnTo>
                  <a:lnTo>
                    <a:pt x="7778" y="6595"/>
                  </a:lnTo>
                  <a:close/>
                </a:path>
              </a:pathLst>
            </a:custGeom>
            <a:grpFill/>
            <a:ln w="25400" cap="flat">
              <a:noFill/>
              <a:prstDash val="solid"/>
              <a:miter lim="400000"/>
            </a:ln>
            <a:effectLst/>
          </p:spPr>
          <p:txBody>
            <a:bodyPr anchor="ctr"/>
            <a:lstStyle/>
            <a:p>
              <a:pPr algn="ctr"/>
              <a:endParaRPr/>
            </a:p>
          </p:txBody>
        </p:sp>
        <p:sp>
          <p:nvSpPr>
            <p:cNvPr id="269" name="任意多边形: 形状 268">
              <a:extLst>
                <a:ext uri="{FF2B5EF4-FFF2-40B4-BE49-F238E27FC236}">
                  <a16:creationId xmlns:a16="http://schemas.microsoft.com/office/drawing/2014/main" id="{F2B66B89-1304-4E57-AEDD-61AB92DD4799}"/>
                </a:ext>
              </a:extLst>
            </p:cNvPr>
            <p:cNvSpPr/>
            <p:nvPr/>
          </p:nvSpPr>
          <p:spPr>
            <a:xfrm>
              <a:off x="9628653" y="2148074"/>
              <a:ext cx="217835" cy="255740"/>
            </a:xfrm>
            <a:custGeom>
              <a:avLst/>
              <a:gdLst/>
              <a:ahLst/>
              <a:cxnLst>
                <a:cxn ang="0">
                  <a:pos x="wd2" y="hd2"/>
                </a:cxn>
                <a:cxn ang="5400000">
                  <a:pos x="wd2" y="hd2"/>
                </a:cxn>
                <a:cxn ang="10800000">
                  <a:pos x="wd2" y="hd2"/>
                </a:cxn>
                <a:cxn ang="16200000">
                  <a:pos x="wd2" y="hd2"/>
                </a:cxn>
              </a:cxnLst>
              <a:rect l="0" t="0" r="r" b="b"/>
              <a:pathLst>
                <a:path w="21600" h="21600" extrusionOk="0">
                  <a:moveTo>
                    <a:pt x="918" y="306"/>
                  </a:moveTo>
                  <a:lnTo>
                    <a:pt x="2649" y="0"/>
                  </a:lnTo>
                  <a:lnTo>
                    <a:pt x="4359" y="1473"/>
                  </a:lnTo>
                  <a:lnTo>
                    <a:pt x="4763" y="2920"/>
                  </a:lnTo>
                  <a:lnTo>
                    <a:pt x="5532" y="4452"/>
                  </a:lnTo>
                  <a:lnTo>
                    <a:pt x="7347" y="6386"/>
                  </a:lnTo>
                  <a:lnTo>
                    <a:pt x="9263" y="7065"/>
                  </a:lnTo>
                  <a:lnTo>
                    <a:pt x="12200" y="8654"/>
                  </a:lnTo>
                  <a:lnTo>
                    <a:pt x="15159" y="10100"/>
                  </a:lnTo>
                  <a:lnTo>
                    <a:pt x="16566" y="11032"/>
                  </a:lnTo>
                  <a:lnTo>
                    <a:pt x="17268" y="12134"/>
                  </a:lnTo>
                  <a:lnTo>
                    <a:pt x="17470" y="13346"/>
                  </a:lnTo>
                  <a:lnTo>
                    <a:pt x="16028" y="13005"/>
                  </a:lnTo>
                  <a:lnTo>
                    <a:pt x="14423" y="13403"/>
                  </a:lnTo>
                  <a:lnTo>
                    <a:pt x="14629" y="14594"/>
                  </a:lnTo>
                  <a:lnTo>
                    <a:pt x="16612" y="15959"/>
                  </a:lnTo>
                  <a:lnTo>
                    <a:pt x="18226" y="17825"/>
                  </a:lnTo>
                  <a:lnTo>
                    <a:pt x="20991" y="20121"/>
                  </a:lnTo>
                  <a:lnTo>
                    <a:pt x="21600" y="21600"/>
                  </a:lnTo>
                  <a:lnTo>
                    <a:pt x="18856" y="21600"/>
                  </a:lnTo>
                  <a:lnTo>
                    <a:pt x="16692" y="20075"/>
                  </a:lnTo>
                  <a:cubicBezTo>
                    <a:pt x="16027" y="19637"/>
                    <a:pt x="15479" y="19086"/>
                    <a:pt x="15082" y="18458"/>
                  </a:cubicBezTo>
                  <a:cubicBezTo>
                    <a:pt x="14796" y="18005"/>
                    <a:pt x="14594" y="17518"/>
                    <a:pt x="14481" y="17014"/>
                  </a:cubicBezTo>
                  <a:lnTo>
                    <a:pt x="13271" y="15138"/>
                  </a:lnTo>
                  <a:lnTo>
                    <a:pt x="12262" y="13005"/>
                  </a:lnTo>
                  <a:lnTo>
                    <a:pt x="10884" y="11071"/>
                  </a:lnTo>
                  <a:lnTo>
                    <a:pt x="9077" y="9201"/>
                  </a:lnTo>
                  <a:lnTo>
                    <a:pt x="7270" y="7413"/>
                  </a:lnTo>
                  <a:lnTo>
                    <a:pt x="5169" y="6059"/>
                  </a:lnTo>
                  <a:lnTo>
                    <a:pt x="4097" y="4751"/>
                  </a:lnTo>
                  <a:lnTo>
                    <a:pt x="2685" y="3332"/>
                  </a:lnTo>
                  <a:lnTo>
                    <a:pt x="0" y="1690"/>
                  </a:lnTo>
                  <a:lnTo>
                    <a:pt x="918" y="306"/>
                  </a:lnTo>
                  <a:close/>
                </a:path>
              </a:pathLst>
            </a:custGeom>
            <a:grpFill/>
            <a:ln w="25400" cap="flat">
              <a:noFill/>
              <a:prstDash val="solid"/>
              <a:miter lim="400000"/>
            </a:ln>
            <a:effectLst/>
          </p:spPr>
          <p:txBody>
            <a:bodyPr anchor="ctr"/>
            <a:lstStyle/>
            <a:p>
              <a:pPr algn="ctr"/>
              <a:endParaRPr/>
            </a:p>
          </p:txBody>
        </p:sp>
        <p:sp>
          <p:nvSpPr>
            <p:cNvPr id="270" name="任意多边形: 形状 269">
              <a:extLst>
                <a:ext uri="{FF2B5EF4-FFF2-40B4-BE49-F238E27FC236}">
                  <a16:creationId xmlns:a16="http://schemas.microsoft.com/office/drawing/2014/main" id="{3982AA2B-4A8F-474D-9D4A-8A558CD2EBAF}"/>
                </a:ext>
              </a:extLst>
            </p:cNvPr>
            <p:cNvSpPr/>
            <p:nvPr/>
          </p:nvSpPr>
          <p:spPr>
            <a:xfrm>
              <a:off x="9834882" y="2436351"/>
              <a:ext cx="152671" cy="145223"/>
            </a:xfrm>
            <a:custGeom>
              <a:avLst/>
              <a:gdLst/>
              <a:ahLst/>
              <a:cxnLst>
                <a:cxn ang="0">
                  <a:pos x="wd2" y="hd2"/>
                </a:cxn>
                <a:cxn ang="5400000">
                  <a:pos x="wd2" y="hd2"/>
                </a:cxn>
                <a:cxn ang="10800000">
                  <a:pos x="wd2" y="hd2"/>
                </a:cxn>
                <a:cxn ang="16200000">
                  <a:pos x="wd2" y="hd2"/>
                </a:cxn>
              </a:cxnLst>
              <a:rect l="0" t="0" r="r" b="b"/>
              <a:pathLst>
                <a:path w="21600" h="21600" extrusionOk="0">
                  <a:moveTo>
                    <a:pt x="1216" y="0"/>
                  </a:moveTo>
                  <a:lnTo>
                    <a:pt x="3327" y="2686"/>
                  </a:lnTo>
                  <a:lnTo>
                    <a:pt x="5129" y="3465"/>
                  </a:lnTo>
                  <a:lnTo>
                    <a:pt x="5987" y="5412"/>
                  </a:lnTo>
                  <a:lnTo>
                    <a:pt x="8960" y="8066"/>
                  </a:lnTo>
                  <a:lnTo>
                    <a:pt x="13176" y="8066"/>
                  </a:lnTo>
                  <a:lnTo>
                    <a:pt x="16240" y="8060"/>
                  </a:lnTo>
                  <a:lnTo>
                    <a:pt x="20071" y="9506"/>
                  </a:lnTo>
                  <a:lnTo>
                    <a:pt x="21600" y="11754"/>
                  </a:lnTo>
                  <a:lnTo>
                    <a:pt x="18242" y="13299"/>
                  </a:lnTo>
                  <a:lnTo>
                    <a:pt x="16138" y="13894"/>
                  </a:lnTo>
                  <a:lnTo>
                    <a:pt x="16857" y="17337"/>
                  </a:lnTo>
                  <a:lnTo>
                    <a:pt x="14039" y="17181"/>
                  </a:lnTo>
                  <a:lnTo>
                    <a:pt x="12762" y="16136"/>
                  </a:lnTo>
                  <a:cubicBezTo>
                    <a:pt x="11828" y="15985"/>
                    <a:pt x="10901" y="15786"/>
                    <a:pt x="9986" y="15541"/>
                  </a:cubicBezTo>
                  <a:cubicBezTo>
                    <a:pt x="9104" y="15304"/>
                    <a:pt x="8234" y="15024"/>
                    <a:pt x="7377" y="14702"/>
                  </a:cubicBezTo>
                  <a:lnTo>
                    <a:pt x="5842" y="15002"/>
                  </a:lnTo>
                  <a:lnTo>
                    <a:pt x="5992" y="19096"/>
                  </a:lnTo>
                  <a:lnTo>
                    <a:pt x="4895" y="21600"/>
                  </a:lnTo>
                  <a:lnTo>
                    <a:pt x="2646" y="18495"/>
                  </a:lnTo>
                  <a:lnTo>
                    <a:pt x="2215" y="16698"/>
                  </a:lnTo>
                  <a:lnTo>
                    <a:pt x="499" y="14902"/>
                  </a:lnTo>
                  <a:lnTo>
                    <a:pt x="34" y="12773"/>
                  </a:lnTo>
                  <a:cubicBezTo>
                    <a:pt x="789" y="12296"/>
                    <a:pt x="1459" y="11687"/>
                    <a:pt x="2015" y="10971"/>
                  </a:cubicBezTo>
                  <a:cubicBezTo>
                    <a:pt x="2581" y="10241"/>
                    <a:pt x="3020" y="9412"/>
                    <a:pt x="3310" y="8523"/>
                  </a:cubicBezTo>
                  <a:lnTo>
                    <a:pt x="1535" y="5374"/>
                  </a:lnTo>
                  <a:lnTo>
                    <a:pt x="0" y="3428"/>
                  </a:lnTo>
                  <a:lnTo>
                    <a:pt x="1216" y="0"/>
                  </a:lnTo>
                  <a:close/>
                </a:path>
              </a:pathLst>
            </a:custGeom>
            <a:grpFill/>
            <a:ln w="25400" cap="flat">
              <a:noFill/>
              <a:prstDash val="solid"/>
              <a:miter lim="400000"/>
            </a:ln>
            <a:effectLst/>
          </p:spPr>
          <p:txBody>
            <a:bodyPr anchor="ctr"/>
            <a:lstStyle/>
            <a:p>
              <a:pPr algn="ctr"/>
              <a:endParaRPr/>
            </a:p>
          </p:txBody>
        </p:sp>
        <p:sp>
          <p:nvSpPr>
            <p:cNvPr id="271" name="任意多边形: 形状 270">
              <a:extLst>
                <a:ext uri="{FF2B5EF4-FFF2-40B4-BE49-F238E27FC236}">
                  <a16:creationId xmlns:a16="http://schemas.microsoft.com/office/drawing/2014/main" id="{545DB39F-C4E9-49E1-91D0-E6A785B2041F}"/>
                </a:ext>
              </a:extLst>
            </p:cNvPr>
            <p:cNvSpPr/>
            <p:nvPr/>
          </p:nvSpPr>
          <p:spPr>
            <a:xfrm>
              <a:off x="9716338" y="2591817"/>
              <a:ext cx="274646" cy="265853"/>
            </a:xfrm>
            <a:custGeom>
              <a:avLst/>
              <a:gdLst/>
              <a:ahLst/>
              <a:cxnLst>
                <a:cxn ang="0">
                  <a:pos x="wd2" y="hd2"/>
                </a:cxn>
                <a:cxn ang="5400000">
                  <a:pos x="wd2" y="hd2"/>
                </a:cxn>
                <a:cxn ang="10800000">
                  <a:pos x="wd2" y="hd2"/>
                </a:cxn>
                <a:cxn ang="16200000">
                  <a:pos x="wd2" y="hd2"/>
                </a:cxn>
              </a:cxnLst>
              <a:rect l="0" t="0" r="r" b="b"/>
              <a:pathLst>
                <a:path w="21600" h="21600" extrusionOk="0">
                  <a:moveTo>
                    <a:pt x="14831" y="0"/>
                  </a:moveTo>
                  <a:lnTo>
                    <a:pt x="16152" y="752"/>
                  </a:lnTo>
                  <a:lnTo>
                    <a:pt x="17169" y="1568"/>
                  </a:lnTo>
                  <a:lnTo>
                    <a:pt x="18839" y="1893"/>
                  </a:lnTo>
                  <a:lnTo>
                    <a:pt x="18839" y="3442"/>
                  </a:lnTo>
                  <a:lnTo>
                    <a:pt x="19262" y="4642"/>
                  </a:lnTo>
                  <a:lnTo>
                    <a:pt x="19979" y="5617"/>
                  </a:lnTo>
                  <a:lnTo>
                    <a:pt x="19182" y="6899"/>
                  </a:lnTo>
                  <a:lnTo>
                    <a:pt x="19182" y="8099"/>
                  </a:lnTo>
                  <a:lnTo>
                    <a:pt x="19662" y="9375"/>
                  </a:lnTo>
                  <a:lnTo>
                    <a:pt x="20216" y="10435"/>
                  </a:lnTo>
                  <a:lnTo>
                    <a:pt x="20594" y="11892"/>
                  </a:lnTo>
                  <a:lnTo>
                    <a:pt x="21520" y="13554"/>
                  </a:lnTo>
                  <a:lnTo>
                    <a:pt x="21600" y="15848"/>
                  </a:lnTo>
                  <a:lnTo>
                    <a:pt x="20167" y="17076"/>
                  </a:lnTo>
                  <a:lnTo>
                    <a:pt x="18837" y="17726"/>
                  </a:lnTo>
                  <a:lnTo>
                    <a:pt x="16684" y="18109"/>
                  </a:lnTo>
                  <a:lnTo>
                    <a:pt x="15274" y="18188"/>
                  </a:lnTo>
                  <a:lnTo>
                    <a:pt x="13867" y="18430"/>
                  </a:lnTo>
                  <a:lnTo>
                    <a:pt x="13462" y="19798"/>
                  </a:lnTo>
                  <a:lnTo>
                    <a:pt x="13164" y="20810"/>
                  </a:lnTo>
                  <a:lnTo>
                    <a:pt x="12474" y="21600"/>
                  </a:lnTo>
                  <a:lnTo>
                    <a:pt x="11162" y="19907"/>
                  </a:lnTo>
                  <a:lnTo>
                    <a:pt x="10416" y="19251"/>
                  </a:lnTo>
                  <a:lnTo>
                    <a:pt x="7383" y="19114"/>
                  </a:lnTo>
                  <a:lnTo>
                    <a:pt x="4329" y="19388"/>
                  </a:lnTo>
                  <a:lnTo>
                    <a:pt x="1907" y="20174"/>
                  </a:lnTo>
                  <a:lnTo>
                    <a:pt x="0" y="18923"/>
                  </a:lnTo>
                  <a:lnTo>
                    <a:pt x="1177" y="17804"/>
                  </a:lnTo>
                  <a:lnTo>
                    <a:pt x="2674" y="17668"/>
                  </a:lnTo>
                  <a:lnTo>
                    <a:pt x="3680" y="16334"/>
                  </a:lnTo>
                  <a:lnTo>
                    <a:pt x="4960" y="15541"/>
                  </a:lnTo>
                  <a:lnTo>
                    <a:pt x="6637" y="16033"/>
                  </a:lnTo>
                  <a:lnTo>
                    <a:pt x="8203" y="16279"/>
                  </a:lnTo>
                  <a:lnTo>
                    <a:pt x="9693" y="15161"/>
                  </a:lnTo>
                  <a:lnTo>
                    <a:pt x="10727" y="14180"/>
                  </a:lnTo>
                  <a:lnTo>
                    <a:pt x="13446" y="12244"/>
                  </a:lnTo>
                  <a:lnTo>
                    <a:pt x="14243" y="11348"/>
                  </a:lnTo>
                  <a:lnTo>
                    <a:pt x="16242" y="10719"/>
                  </a:lnTo>
                  <a:lnTo>
                    <a:pt x="16482" y="9003"/>
                  </a:lnTo>
                  <a:lnTo>
                    <a:pt x="16482" y="7470"/>
                  </a:lnTo>
                  <a:lnTo>
                    <a:pt x="14963" y="5446"/>
                  </a:lnTo>
                  <a:lnTo>
                    <a:pt x="14030" y="3313"/>
                  </a:lnTo>
                  <a:lnTo>
                    <a:pt x="13976" y="2082"/>
                  </a:lnTo>
                  <a:lnTo>
                    <a:pt x="13500" y="1100"/>
                  </a:lnTo>
                  <a:lnTo>
                    <a:pt x="14831" y="0"/>
                  </a:lnTo>
                  <a:close/>
                </a:path>
              </a:pathLst>
            </a:custGeom>
            <a:grpFill/>
            <a:ln w="25400" cap="flat">
              <a:noFill/>
              <a:prstDash val="solid"/>
              <a:miter lim="400000"/>
            </a:ln>
            <a:effectLst/>
          </p:spPr>
          <p:txBody>
            <a:bodyPr anchor="ctr"/>
            <a:lstStyle/>
            <a:p>
              <a:pPr algn="ctr"/>
              <a:endParaRPr/>
            </a:p>
          </p:txBody>
        </p:sp>
        <p:sp>
          <p:nvSpPr>
            <p:cNvPr id="272" name="任意多边形: 形状 271">
              <a:extLst>
                <a:ext uri="{FF2B5EF4-FFF2-40B4-BE49-F238E27FC236}">
                  <a16:creationId xmlns:a16="http://schemas.microsoft.com/office/drawing/2014/main" id="{E366A649-0249-4816-A1D7-ED6928F37EE4}"/>
                </a:ext>
              </a:extLst>
            </p:cNvPr>
            <p:cNvSpPr/>
            <p:nvPr/>
          </p:nvSpPr>
          <p:spPr>
            <a:xfrm>
              <a:off x="9773896" y="2850018"/>
              <a:ext cx="47636" cy="42571"/>
            </a:xfrm>
            <a:custGeom>
              <a:avLst/>
              <a:gdLst/>
              <a:ahLst/>
              <a:cxnLst>
                <a:cxn ang="0">
                  <a:pos x="wd2" y="hd2"/>
                </a:cxn>
                <a:cxn ang="5400000">
                  <a:pos x="wd2" y="hd2"/>
                </a:cxn>
                <a:cxn ang="10800000">
                  <a:pos x="wd2" y="hd2"/>
                </a:cxn>
                <a:cxn ang="16200000">
                  <a:pos x="wd2" y="hd2"/>
                </a:cxn>
              </a:cxnLst>
              <a:rect l="0" t="0" r="r" b="b"/>
              <a:pathLst>
                <a:path w="21600" h="21600" extrusionOk="0">
                  <a:moveTo>
                    <a:pt x="15130" y="2820"/>
                  </a:moveTo>
                  <a:lnTo>
                    <a:pt x="3175" y="0"/>
                  </a:lnTo>
                  <a:lnTo>
                    <a:pt x="0" y="4621"/>
                  </a:lnTo>
                  <a:lnTo>
                    <a:pt x="4230" y="10217"/>
                  </a:lnTo>
                  <a:lnTo>
                    <a:pt x="4401" y="19722"/>
                  </a:lnTo>
                  <a:lnTo>
                    <a:pt x="14203" y="21600"/>
                  </a:lnTo>
                  <a:lnTo>
                    <a:pt x="18813" y="14767"/>
                  </a:lnTo>
                  <a:lnTo>
                    <a:pt x="21600" y="929"/>
                  </a:lnTo>
                  <a:lnTo>
                    <a:pt x="15130" y="2820"/>
                  </a:lnTo>
                  <a:close/>
                </a:path>
              </a:pathLst>
            </a:custGeom>
            <a:grpFill/>
            <a:ln w="25400" cap="flat">
              <a:noFill/>
              <a:prstDash val="solid"/>
              <a:miter lim="400000"/>
            </a:ln>
            <a:effectLst/>
          </p:spPr>
          <p:txBody>
            <a:bodyPr anchor="ctr"/>
            <a:lstStyle/>
            <a:p>
              <a:pPr algn="ctr"/>
              <a:endParaRPr/>
            </a:p>
          </p:txBody>
        </p:sp>
        <p:sp>
          <p:nvSpPr>
            <p:cNvPr id="273" name="任意多边形: 形状 272">
              <a:extLst>
                <a:ext uri="{FF2B5EF4-FFF2-40B4-BE49-F238E27FC236}">
                  <a16:creationId xmlns:a16="http://schemas.microsoft.com/office/drawing/2014/main" id="{72D91208-8594-41B7-B651-AC884D95F2AF}"/>
                </a:ext>
              </a:extLst>
            </p:cNvPr>
            <p:cNvSpPr/>
            <p:nvPr/>
          </p:nvSpPr>
          <p:spPr>
            <a:xfrm>
              <a:off x="9703522" y="2858648"/>
              <a:ext cx="58652" cy="83042"/>
            </a:xfrm>
            <a:custGeom>
              <a:avLst/>
              <a:gdLst/>
              <a:ahLst/>
              <a:cxnLst>
                <a:cxn ang="0">
                  <a:pos x="wd2" y="hd2"/>
                </a:cxn>
                <a:cxn ang="5400000">
                  <a:pos x="wd2" y="hd2"/>
                </a:cxn>
                <a:cxn ang="10800000">
                  <a:pos x="wd2" y="hd2"/>
                </a:cxn>
                <a:cxn ang="16200000">
                  <a:pos x="wd2" y="hd2"/>
                </a:cxn>
              </a:cxnLst>
              <a:rect l="0" t="0" r="r" b="b"/>
              <a:pathLst>
                <a:path w="21600" h="21600" extrusionOk="0">
                  <a:moveTo>
                    <a:pt x="5179" y="0"/>
                  </a:moveTo>
                  <a:lnTo>
                    <a:pt x="10237" y="2528"/>
                  </a:lnTo>
                  <a:lnTo>
                    <a:pt x="16136" y="4696"/>
                  </a:lnTo>
                  <a:lnTo>
                    <a:pt x="19977" y="6514"/>
                  </a:lnTo>
                  <a:lnTo>
                    <a:pt x="19602" y="11221"/>
                  </a:lnTo>
                  <a:lnTo>
                    <a:pt x="20976" y="14878"/>
                  </a:lnTo>
                  <a:lnTo>
                    <a:pt x="21600" y="19246"/>
                  </a:lnTo>
                  <a:lnTo>
                    <a:pt x="18618" y="21600"/>
                  </a:lnTo>
                  <a:lnTo>
                    <a:pt x="11299" y="20100"/>
                  </a:lnTo>
                  <a:lnTo>
                    <a:pt x="11672" y="15196"/>
                  </a:lnTo>
                  <a:lnTo>
                    <a:pt x="4821" y="10992"/>
                  </a:lnTo>
                  <a:lnTo>
                    <a:pt x="1366" y="8562"/>
                  </a:lnTo>
                  <a:lnTo>
                    <a:pt x="0" y="4533"/>
                  </a:lnTo>
                  <a:lnTo>
                    <a:pt x="5179" y="0"/>
                  </a:lnTo>
                  <a:close/>
                </a:path>
              </a:pathLst>
            </a:custGeom>
            <a:grpFill/>
            <a:ln w="25400" cap="flat">
              <a:noFill/>
              <a:prstDash val="solid"/>
              <a:miter lim="400000"/>
            </a:ln>
            <a:effectLst/>
          </p:spPr>
          <p:txBody>
            <a:bodyPr anchor="ctr"/>
            <a:lstStyle/>
            <a:p>
              <a:pPr algn="ctr"/>
              <a:endParaRPr/>
            </a:p>
          </p:txBody>
        </p:sp>
        <p:sp>
          <p:nvSpPr>
            <p:cNvPr id="274" name="任意多边形: 形状 273">
              <a:extLst>
                <a:ext uri="{FF2B5EF4-FFF2-40B4-BE49-F238E27FC236}">
                  <a16:creationId xmlns:a16="http://schemas.microsoft.com/office/drawing/2014/main" id="{2075B30C-0D56-4452-8FE0-DAC4BB8AEA9D}"/>
                </a:ext>
              </a:extLst>
            </p:cNvPr>
            <p:cNvSpPr/>
            <p:nvPr/>
          </p:nvSpPr>
          <p:spPr>
            <a:xfrm>
              <a:off x="9478424" y="3163043"/>
              <a:ext cx="55804" cy="107550"/>
            </a:xfrm>
            <a:custGeom>
              <a:avLst/>
              <a:gdLst/>
              <a:ahLst/>
              <a:cxnLst>
                <a:cxn ang="0">
                  <a:pos x="wd2" y="hd2"/>
                </a:cxn>
                <a:cxn ang="5400000">
                  <a:pos x="wd2" y="hd2"/>
                </a:cxn>
                <a:cxn ang="10800000">
                  <a:pos x="wd2" y="hd2"/>
                </a:cxn>
                <a:cxn ang="16200000">
                  <a:pos x="wd2" y="hd2"/>
                </a:cxn>
              </a:cxnLst>
              <a:rect l="0" t="0" r="r" b="b"/>
              <a:pathLst>
                <a:path w="21570" h="21600" extrusionOk="0">
                  <a:moveTo>
                    <a:pt x="10688" y="0"/>
                  </a:moveTo>
                  <a:lnTo>
                    <a:pt x="7165" y="3027"/>
                  </a:lnTo>
                  <a:lnTo>
                    <a:pt x="5618" y="8797"/>
                  </a:lnTo>
                  <a:lnTo>
                    <a:pt x="0" y="12556"/>
                  </a:lnTo>
                  <a:lnTo>
                    <a:pt x="2313" y="15996"/>
                  </a:lnTo>
                  <a:lnTo>
                    <a:pt x="6119" y="18152"/>
                  </a:lnTo>
                  <a:lnTo>
                    <a:pt x="12017" y="21600"/>
                  </a:lnTo>
                  <a:lnTo>
                    <a:pt x="18421" y="20856"/>
                  </a:lnTo>
                  <a:lnTo>
                    <a:pt x="19994" y="15920"/>
                  </a:lnTo>
                  <a:lnTo>
                    <a:pt x="19601" y="12480"/>
                  </a:lnTo>
                  <a:cubicBezTo>
                    <a:pt x="20082" y="11316"/>
                    <a:pt x="20475" y="10143"/>
                    <a:pt x="20780" y="8963"/>
                  </a:cubicBezTo>
                  <a:cubicBezTo>
                    <a:pt x="21337" y="6812"/>
                    <a:pt x="21600" y="4643"/>
                    <a:pt x="21567" y="2472"/>
                  </a:cubicBezTo>
                  <a:lnTo>
                    <a:pt x="10688" y="0"/>
                  </a:lnTo>
                  <a:close/>
                </a:path>
              </a:pathLst>
            </a:custGeom>
            <a:grpFill/>
            <a:ln w="25400" cap="flat">
              <a:noFill/>
              <a:prstDash val="solid"/>
              <a:miter lim="400000"/>
            </a:ln>
            <a:effectLst/>
          </p:spPr>
          <p:txBody>
            <a:bodyPr anchor="ctr"/>
            <a:lstStyle/>
            <a:p>
              <a:pPr algn="ctr"/>
              <a:endParaRPr/>
            </a:p>
          </p:txBody>
        </p:sp>
        <p:sp>
          <p:nvSpPr>
            <p:cNvPr id="275" name="任意多边形: 形状 274">
              <a:extLst>
                <a:ext uri="{FF2B5EF4-FFF2-40B4-BE49-F238E27FC236}">
                  <a16:creationId xmlns:a16="http://schemas.microsoft.com/office/drawing/2014/main" id="{9180AFB5-1017-47A4-9472-FA0DAEE71D35}"/>
                </a:ext>
              </a:extLst>
            </p:cNvPr>
            <p:cNvSpPr/>
            <p:nvPr/>
          </p:nvSpPr>
          <p:spPr>
            <a:xfrm>
              <a:off x="9135285" y="3359667"/>
              <a:ext cx="61216" cy="64164"/>
            </a:xfrm>
            <a:custGeom>
              <a:avLst/>
              <a:gdLst/>
              <a:ahLst/>
              <a:cxnLst>
                <a:cxn ang="0">
                  <a:pos x="wd2" y="hd2"/>
                </a:cxn>
                <a:cxn ang="5400000">
                  <a:pos x="wd2" y="hd2"/>
                </a:cxn>
                <a:cxn ang="10800000">
                  <a:pos x="wd2" y="hd2"/>
                </a:cxn>
                <a:cxn ang="16200000">
                  <a:pos x="wd2" y="hd2"/>
                </a:cxn>
              </a:cxnLst>
              <a:rect l="0" t="0" r="r" b="b"/>
              <a:pathLst>
                <a:path w="21600" h="21600" extrusionOk="0">
                  <a:moveTo>
                    <a:pt x="20237" y="806"/>
                  </a:moveTo>
                  <a:lnTo>
                    <a:pt x="13014" y="0"/>
                  </a:lnTo>
                  <a:lnTo>
                    <a:pt x="4311" y="2387"/>
                  </a:lnTo>
                  <a:lnTo>
                    <a:pt x="1595" y="5661"/>
                  </a:lnTo>
                  <a:lnTo>
                    <a:pt x="0" y="10054"/>
                  </a:lnTo>
                  <a:lnTo>
                    <a:pt x="1800" y="15494"/>
                  </a:lnTo>
                  <a:lnTo>
                    <a:pt x="5016" y="21600"/>
                  </a:lnTo>
                  <a:lnTo>
                    <a:pt x="11327" y="20806"/>
                  </a:lnTo>
                  <a:lnTo>
                    <a:pt x="13480" y="14360"/>
                  </a:lnTo>
                  <a:lnTo>
                    <a:pt x="21600" y="6554"/>
                  </a:lnTo>
                  <a:lnTo>
                    <a:pt x="20237" y="806"/>
                  </a:lnTo>
                  <a:close/>
                </a:path>
              </a:pathLst>
            </a:custGeom>
            <a:grpFill/>
            <a:ln w="25400" cap="flat">
              <a:noFill/>
              <a:prstDash val="solid"/>
              <a:miter lim="400000"/>
            </a:ln>
            <a:effectLst/>
          </p:spPr>
          <p:txBody>
            <a:bodyPr anchor="ctr"/>
            <a:lstStyle/>
            <a:p>
              <a:pPr algn="ctr"/>
              <a:endParaRPr/>
            </a:p>
          </p:txBody>
        </p:sp>
        <p:sp>
          <p:nvSpPr>
            <p:cNvPr id="276" name="任意多边形: 形状 275">
              <a:extLst>
                <a:ext uri="{FF2B5EF4-FFF2-40B4-BE49-F238E27FC236}">
                  <a16:creationId xmlns:a16="http://schemas.microsoft.com/office/drawing/2014/main" id="{0A9EBE63-76AD-46BD-A71D-AE82177BD3B7}"/>
                </a:ext>
              </a:extLst>
            </p:cNvPr>
            <p:cNvSpPr/>
            <p:nvPr/>
          </p:nvSpPr>
          <p:spPr>
            <a:xfrm>
              <a:off x="9517257" y="3403769"/>
              <a:ext cx="158867" cy="207893"/>
            </a:xfrm>
            <a:custGeom>
              <a:avLst/>
              <a:gdLst/>
              <a:ahLst/>
              <a:cxnLst>
                <a:cxn ang="0">
                  <a:pos x="wd2" y="hd2"/>
                </a:cxn>
                <a:cxn ang="5400000">
                  <a:pos x="wd2" y="hd2"/>
                </a:cxn>
                <a:cxn ang="10800000">
                  <a:pos x="wd2" y="hd2"/>
                </a:cxn>
                <a:cxn ang="16200000">
                  <a:pos x="wd2" y="hd2"/>
                </a:cxn>
              </a:cxnLst>
              <a:rect l="0" t="0" r="r" b="b"/>
              <a:pathLst>
                <a:path w="21600" h="21600" extrusionOk="0">
                  <a:moveTo>
                    <a:pt x="6205" y="214"/>
                  </a:moveTo>
                  <a:lnTo>
                    <a:pt x="2995" y="0"/>
                  </a:lnTo>
                  <a:lnTo>
                    <a:pt x="2584" y="2552"/>
                  </a:lnTo>
                  <a:lnTo>
                    <a:pt x="3044" y="4581"/>
                  </a:lnTo>
                  <a:lnTo>
                    <a:pt x="2030" y="7340"/>
                  </a:lnTo>
                  <a:lnTo>
                    <a:pt x="0" y="9509"/>
                  </a:lnTo>
                  <a:cubicBezTo>
                    <a:pt x="160" y="10395"/>
                    <a:pt x="581" y="11243"/>
                    <a:pt x="1232" y="11988"/>
                  </a:cubicBezTo>
                  <a:cubicBezTo>
                    <a:pt x="2023" y="12895"/>
                    <a:pt x="3124" y="13621"/>
                    <a:pt x="4418" y="14087"/>
                  </a:cubicBezTo>
                  <a:lnTo>
                    <a:pt x="5236" y="15133"/>
                  </a:lnTo>
                  <a:lnTo>
                    <a:pt x="7310" y="17966"/>
                  </a:lnTo>
                  <a:lnTo>
                    <a:pt x="8555" y="18981"/>
                  </a:lnTo>
                  <a:lnTo>
                    <a:pt x="11367" y="20065"/>
                  </a:lnTo>
                  <a:lnTo>
                    <a:pt x="14409" y="20170"/>
                  </a:lnTo>
                  <a:lnTo>
                    <a:pt x="16201" y="20275"/>
                  </a:lnTo>
                  <a:lnTo>
                    <a:pt x="18690" y="21010"/>
                  </a:lnTo>
                  <a:lnTo>
                    <a:pt x="21410" y="21600"/>
                  </a:lnTo>
                  <a:lnTo>
                    <a:pt x="21600" y="19654"/>
                  </a:lnTo>
                  <a:lnTo>
                    <a:pt x="20730" y="18749"/>
                  </a:lnTo>
                  <a:lnTo>
                    <a:pt x="19543" y="17743"/>
                  </a:lnTo>
                  <a:lnTo>
                    <a:pt x="15953" y="18233"/>
                  </a:lnTo>
                  <a:cubicBezTo>
                    <a:pt x="15448" y="18445"/>
                    <a:pt x="14862" y="18519"/>
                    <a:pt x="14294" y="18443"/>
                  </a:cubicBezTo>
                  <a:cubicBezTo>
                    <a:pt x="13070" y="18278"/>
                    <a:pt x="12157" y="17495"/>
                    <a:pt x="12093" y="16553"/>
                  </a:cubicBezTo>
                  <a:lnTo>
                    <a:pt x="9471" y="15298"/>
                  </a:lnTo>
                  <a:lnTo>
                    <a:pt x="8693" y="14218"/>
                  </a:lnTo>
                  <a:lnTo>
                    <a:pt x="8601" y="12924"/>
                  </a:lnTo>
                  <a:cubicBezTo>
                    <a:pt x="9108" y="12238"/>
                    <a:pt x="9615" y="11551"/>
                    <a:pt x="10122" y="10864"/>
                  </a:cubicBezTo>
                  <a:cubicBezTo>
                    <a:pt x="10531" y="10309"/>
                    <a:pt x="10940" y="9754"/>
                    <a:pt x="11349" y="9198"/>
                  </a:cubicBezTo>
                  <a:lnTo>
                    <a:pt x="11759" y="7593"/>
                  </a:lnTo>
                  <a:lnTo>
                    <a:pt x="9915" y="5459"/>
                  </a:lnTo>
                  <a:lnTo>
                    <a:pt x="8117" y="3260"/>
                  </a:lnTo>
                  <a:lnTo>
                    <a:pt x="6205" y="214"/>
                  </a:lnTo>
                  <a:close/>
                </a:path>
              </a:pathLst>
            </a:custGeom>
            <a:grpFill/>
            <a:ln w="25400" cap="flat">
              <a:noFill/>
              <a:prstDash val="solid"/>
              <a:miter lim="400000"/>
            </a:ln>
            <a:effectLst/>
          </p:spPr>
          <p:txBody>
            <a:bodyPr anchor="ctr"/>
            <a:lstStyle/>
            <a:p>
              <a:pPr algn="ctr"/>
              <a:endParaRPr/>
            </a:p>
          </p:txBody>
        </p:sp>
        <p:sp>
          <p:nvSpPr>
            <p:cNvPr id="277" name="任意多边形: 形状 276">
              <a:extLst>
                <a:ext uri="{FF2B5EF4-FFF2-40B4-BE49-F238E27FC236}">
                  <a16:creationId xmlns:a16="http://schemas.microsoft.com/office/drawing/2014/main" id="{3900FAC9-93FA-4B07-BB9E-7E1DED6529B2}"/>
                </a:ext>
              </a:extLst>
            </p:cNvPr>
            <p:cNvSpPr/>
            <p:nvPr/>
          </p:nvSpPr>
          <p:spPr>
            <a:xfrm>
              <a:off x="9453604" y="3685864"/>
              <a:ext cx="89307" cy="96995"/>
            </a:xfrm>
            <a:custGeom>
              <a:avLst/>
              <a:gdLst/>
              <a:ahLst/>
              <a:cxnLst>
                <a:cxn ang="0">
                  <a:pos x="wd2" y="hd2"/>
                </a:cxn>
                <a:cxn ang="5400000">
                  <a:pos x="wd2" y="hd2"/>
                </a:cxn>
                <a:cxn ang="10800000">
                  <a:pos x="wd2" y="hd2"/>
                </a:cxn>
                <a:cxn ang="16200000">
                  <a:pos x="wd2" y="hd2"/>
                </a:cxn>
              </a:cxnLst>
              <a:rect l="0" t="0" r="r" b="b"/>
              <a:pathLst>
                <a:path w="20505" h="19908" extrusionOk="0">
                  <a:moveTo>
                    <a:pt x="17580" y="0"/>
                  </a:moveTo>
                  <a:lnTo>
                    <a:pt x="14738" y="1728"/>
                  </a:lnTo>
                  <a:lnTo>
                    <a:pt x="10679" y="5098"/>
                  </a:lnTo>
                  <a:lnTo>
                    <a:pt x="8216" y="7569"/>
                  </a:lnTo>
                  <a:lnTo>
                    <a:pt x="8222" y="12060"/>
                  </a:lnTo>
                  <a:lnTo>
                    <a:pt x="5046" y="14125"/>
                  </a:lnTo>
                  <a:cubicBezTo>
                    <a:pt x="3326" y="12967"/>
                    <a:pt x="832" y="13677"/>
                    <a:pt x="191" y="15507"/>
                  </a:cubicBezTo>
                  <a:cubicBezTo>
                    <a:pt x="-1095" y="19179"/>
                    <a:pt x="4427" y="21600"/>
                    <a:pt x="6929" y="18462"/>
                  </a:cubicBezTo>
                  <a:lnTo>
                    <a:pt x="10638" y="16258"/>
                  </a:lnTo>
                  <a:lnTo>
                    <a:pt x="12739" y="13426"/>
                  </a:lnTo>
                  <a:lnTo>
                    <a:pt x="14530" y="11490"/>
                  </a:lnTo>
                  <a:lnTo>
                    <a:pt x="18733" y="6592"/>
                  </a:lnTo>
                  <a:lnTo>
                    <a:pt x="20505" y="1980"/>
                  </a:lnTo>
                  <a:lnTo>
                    <a:pt x="17580" y="0"/>
                  </a:lnTo>
                  <a:close/>
                </a:path>
              </a:pathLst>
            </a:custGeom>
            <a:grpFill/>
            <a:ln w="25400" cap="flat">
              <a:noFill/>
              <a:prstDash val="solid"/>
              <a:miter lim="400000"/>
            </a:ln>
            <a:effectLst/>
          </p:spPr>
          <p:txBody>
            <a:bodyPr anchor="ctr"/>
            <a:lstStyle/>
            <a:p>
              <a:pPr algn="ctr"/>
              <a:endParaRPr/>
            </a:p>
          </p:txBody>
        </p:sp>
        <p:sp>
          <p:nvSpPr>
            <p:cNvPr id="278" name="任意多边形: 形状 277">
              <a:extLst>
                <a:ext uri="{FF2B5EF4-FFF2-40B4-BE49-F238E27FC236}">
                  <a16:creationId xmlns:a16="http://schemas.microsoft.com/office/drawing/2014/main" id="{B936A717-D31E-4235-A57B-8E8E156E8E7D}"/>
                </a:ext>
              </a:extLst>
            </p:cNvPr>
            <p:cNvSpPr/>
            <p:nvPr/>
          </p:nvSpPr>
          <p:spPr>
            <a:xfrm>
              <a:off x="9553899" y="3604386"/>
              <a:ext cx="41967" cy="41633"/>
            </a:xfrm>
            <a:custGeom>
              <a:avLst/>
              <a:gdLst/>
              <a:ahLst/>
              <a:cxnLst>
                <a:cxn ang="0">
                  <a:pos x="wd2" y="hd2"/>
                </a:cxn>
                <a:cxn ang="5400000">
                  <a:pos x="wd2" y="hd2"/>
                </a:cxn>
                <a:cxn ang="10800000">
                  <a:pos x="wd2" y="hd2"/>
                </a:cxn>
                <a:cxn ang="16200000">
                  <a:pos x="wd2" y="hd2"/>
                </a:cxn>
              </a:cxnLst>
              <a:rect l="0" t="0" r="r" b="b"/>
              <a:pathLst>
                <a:path w="21600" h="21600" extrusionOk="0">
                  <a:moveTo>
                    <a:pt x="5824" y="0"/>
                  </a:moveTo>
                  <a:lnTo>
                    <a:pt x="0" y="3997"/>
                  </a:lnTo>
                  <a:lnTo>
                    <a:pt x="7260" y="15507"/>
                  </a:lnTo>
                  <a:lnTo>
                    <a:pt x="11327" y="21600"/>
                  </a:lnTo>
                  <a:lnTo>
                    <a:pt x="21600" y="21076"/>
                  </a:lnTo>
                  <a:lnTo>
                    <a:pt x="15668" y="7101"/>
                  </a:lnTo>
                  <a:lnTo>
                    <a:pt x="5824" y="0"/>
                  </a:lnTo>
                  <a:close/>
                </a:path>
              </a:pathLst>
            </a:custGeom>
            <a:grpFill/>
            <a:ln w="25400" cap="flat">
              <a:noFill/>
              <a:prstDash val="solid"/>
              <a:miter lim="400000"/>
            </a:ln>
            <a:effectLst/>
          </p:spPr>
          <p:txBody>
            <a:bodyPr anchor="ctr"/>
            <a:lstStyle/>
            <a:p>
              <a:pPr algn="ctr"/>
              <a:endParaRPr/>
            </a:p>
          </p:txBody>
        </p:sp>
        <p:sp>
          <p:nvSpPr>
            <p:cNvPr id="279" name="任意多边形: 形状 278">
              <a:extLst>
                <a:ext uri="{FF2B5EF4-FFF2-40B4-BE49-F238E27FC236}">
                  <a16:creationId xmlns:a16="http://schemas.microsoft.com/office/drawing/2014/main" id="{8DB587C0-676A-43AE-9C95-93300D8A2352}"/>
                </a:ext>
              </a:extLst>
            </p:cNvPr>
            <p:cNvSpPr/>
            <p:nvPr/>
          </p:nvSpPr>
          <p:spPr>
            <a:xfrm>
              <a:off x="9690104" y="3635830"/>
              <a:ext cx="70568" cy="49078"/>
            </a:xfrm>
            <a:custGeom>
              <a:avLst/>
              <a:gdLst/>
              <a:ahLst/>
              <a:cxnLst>
                <a:cxn ang="0">
                  <a:pos x="wd2" y="hd2"/>
                </a:cxn>
                <a:cxn ang="5400000">
                  <a:pos x="wd2" y="hd2"/>
                </a:cxn>
                <a:cxn ang="10800000">
                  <a:pos x="wd2" y="hd2"/>
                </a:cxn>
                <a:cxn ang="16200000">
                  <a:pos x="wd2" y="hd2"/>
                </a:cxn>
              </a:cxnLst>
              <a:rect l="0" t="0" r="r" b="b"/>
              <a:pathLst>
                <a:path w="21600" h="21600" extrusionOk="0">
                  <a:moveTo>
                    <a:pt x="3112" y="90"/>
                  </a:moveTo>
                  <a:lnTo>
                    <a:pt x="0" y="1424"/>
                  </a:lnTo>
                  <a:lnTo>
                    <a:pt x="3236" y="8466"/>
                  </a:lnTo>
                  <a:lnTo>
                    <a:pt x="8121" y="17785"/>
                  </a:lnTo>
                  <a:lnTo>
                    <a:pt x="13518" y="21155"/>
                  </a:lnTo>
                  <a:lnTo>
                    <a:pt x="21600" y="21600"/>
                  </a:lnTo>
                  <a:lnTo>
                    <a:pt x="17669" y="11727"/>
                  </a:lnTo>
                  <a:lnTo>
                    <a:pt x="14063" y="7299"/>
                  </a:lnTo>
                  <a:lnTo>
                    <a:pt x="10768" y="6411"/>
                  </a:lnTo>
                  <a:lnTo>
                    <a:pt x="7589" y="0"/>
                  </a:lnTo>
                  <a:lnTo>
                    <a:pt x="3112" y="90"/>
                  </a:lnTo>
                  <a:close/>
                </a:path>
              </a:pathLst>
            </a:custGeom>
            <a:grpFill/>
            <a:ln w="25400" cap="flat">
              <a:noFill/>
              <a:prstDash val="solid"/>
              <a:miter lim="400000"/>
            </a:ln>
            <a:effectLst/>
          </p:spPr>
          <p:txBody>
            <a:bodyPr anchor="ctr"/>
            <a:lstStyle/>
            <a:p>
              <a:pPr algn="ctr"/>
              <a:endParaRPr/>
            </a:p>
          </p:txBody>
        </p:sp>
        <p:sp>
          <p:nvSpPr>
            <p:cNvPr id="280" name="任意多边形: 形状 279">
              <a:extLst>
                <a:ext uri="{FF2B5EF4-FFF2-40B4-BE49-F238E27FC236}">
                  <a16:creationId xmlns:a16="http://schemas.microsoft.com/office/drawing/2014/main" id="{0E649699-F34B-413D-AB68-8C90525B89F4}"/>
                </a:ext>
              </a:extLst>
            </p:cNvPr>
            <p:cNvSpPr/>
            <p:nvPr/>
          </p:nvSpPr>
          <p:spPr>
            <a:xfrm>
              <a:off x="9646111" y="3565738"/>
              <a:ext cx="19467" cy="25344"/>
            </a:xfrm>
            <a:custGeom>
              <a:avLst/>
              <a:gdLst/>
              <a:ahLst/>
              <a:cxnLst>
                <a:cxn ang="0">
                  <a:pos x="wd2" y="hd2"/>
                </a:cxn>
                <a:cxn ang="5400000">
                  <a:pos x="wd2" y="hd2"/>
                </a:cxn>
                <a:cxn ang="10800000">
                  <a:pos x="wd2" y="hd2"/>
                </a:cxn>
                <a:cxn ang="16200000">
                  <a:pos x="wd2" y="hd2"/>
                </a:cxn>
              </a:cxnLst>
              <a:rect l="0" t="0" r="r" b="b"/>
              <a:pathLst>
                <a:path w="21600" h="21600" extrusionOk="0">
                  <a:moveTo>
                    <a:pt x="20404" y="4234"/>
                  </a:moveTo>
                  <a:lnTo>
                    <a:pt x="5083" y="0"/>
                  </a:lnTo>
                  <a:lnTo>
                    <a:pt x="0" y="11342"/>
                  </a:lnTo>
                  <a:lnTo>
                    <a:pt x="21600" y="21600"/>
                  </a:lnTo>
                  <a:lnTo>
                    <a:pt x="20404" y="4234"/>
                  </a:lnTo>
                  <a:close/>
                </a:path>
              </a:pathLst>
            </a:custGeom>
            <a:grpFill/>
            <a:ln w="25400" cap="flat">
              <a:noFill/>
              <a:prstDash val="solid"/>
              <a:miter lim="400000"/>
            </a:ln>
            <a:effectLst/>
          </p:spPr>
          <p:txBody>
            <a:bodyPr anchor="ctr"/>
            <a:lstStyle/>
            <a:p>
              <a:pPr algn="ctr"/>
              <a:endParaRPr/>
            </a:p>
          </p:txBody>
        </p:sp>
        <p:sp>
          <p:nvSpPr>
            <p:cNvPr id="281" name="任意多边形: 形状 280">
              <a:extLst>
                <a:ext uri="{FF2B5EF4-FFF2-40B4-BE49-F238E27FC236}">
                  <a16:creationId xmlns:a16="http://schemas.microsoft.com/office/drawing/2014/main" id="{D5E53161-0339-4659-B0CF-E037D4479F04}"/>
                </a:ext>
              </a:extLst>
            </p:cNvPr>
            <p:cNvSpPr/>
            <p:nvPr/>
          </p:nvSpPr>
          <p:spPr>
            <a:xfrm>
              <a:off x="9594891" y="3654803"/>
              <a:ext cx="47691" cy="48989"/>
            </a:xfrm>
            <a:custGeom>
              <a:avLst/>
              <a:gdLst/>
              <a:ahLst/>
              <a:cxnLst>
                <a:cxn ang="0">
                  <a:pos x="wd2" y="hd2"/>
                </a:cxn>
                <a:cxn ang="5400000">
                  <a:pos x="wd2" y="hd2"/>
                </a:cxn>
                <a:cxn ang="10800000">
                  <a:pos x="wd2" y="hd2"/>
                </a:cxn>
                <a:cxn ang="16200000">
                  <a:pos x="wd2" y="hd2"/>
                </a:cxn>
              </a:cxnLst>
              <a:rect l="0" t="0" r="r" b="b"/>
              <a:pathLst>
                <a:path w="21600" h="21600" extrusionOk="0">
                  <a:moveTo>
                    <a:pt x="9899" y="3302"/>
                  </a:moveTo>
                  <a:cubicBezTo>
                    <a:pt x="9224" y="3989"/>
                    <a:pt x="8549" y="4676"/>
                    <a:pt x="7875" y="5363"/>
                  </a:cubicBezTo>
                  <a:cubicBezTo>
                    <a:pt x="7200" y="6049"/>
                    <a:pt x="6525" y="6736"/>
                    <a:pt x="5850" y="7423"/>
                  </a:cubicBezTo>
                  <a:lnTo>
                    <a:pt x="0" y="13749"/>
                  </a:lnTo>
                  <a:lnTo>
                    <a:pt x="5955" y="20264"/>
                  </a:lnTo>
                  <a:lnTo>
                    <a:pt x="13153" y="21600"/>
                  </a:lnTo>
                  <a:lnTo>
                    <a:pt x="16685" y="18073"/>
                  </a:lnTo>
                  <a:lnTo>
                    <a:pt x="16244" y="11856"/>
                  </a:lnTo>
                  <a:lnTo>
                    <a:pt x="21600" y="2243"/>
                  </a:lnTo>
                  <a:lnTo>
                    <a:pt x="15783" y="0"/>
                  </a:lnTo>
                  <a:lnTo>
                    <a:pt x="9899" y="3302"/>
                  </a:lnTo>
                  <a:close/>
                </a:path>
              </a:pathLst>
            </a:custGeom>
            <a:grpFill/>
            <a:ln w="25400" cap="flat">
              <a:noFill/>
              <a:prstDash val="solid"/>
              <a:miter lim="400000"/>
            </a:ln>
            <a:effectLst/>
          </p:spPr>
          <p:txBody>
            <a:bodyPr anchor="ctr"/>
            <a:lstStyle/>
            <a:p>
              <a:pPr algn="ctr"/>
              <a:endParaRPr/>
            </a:p>
          </p:txBody>
        </p:sp>
        <p:sp>
          <p:nvSpPr>
            <p:cNvPr id="282" name="任意多边形: 形状 281">
              <a:extLst>
                <a:ext uri="{FF2B5EF4-FFF2-40B4-BE49-F238E27FC236}">
                  <a16:creationId xmlns:a16="http://schemas.microsoft.com/office/drawing/2014/main" id="{ACDD9D6B-3146-4403-B1A6-63C1F687FFF3}"/>
                </a:ext>
              </a:extLst>
            </p:cNvPr>
            <p:cNvSpPr/>
            <p:nvPr/>
          </p:nvSpPr>
          <p:spPr>
            <a:xfrm>
              <a:off x="9632393" y="3706816"/>
              <a:ext cx="37284" cy="54904"/>
            </a:xfrm>
            <a:custGeom>
              <a:avLst/>
              <a:gdLst/>
              <a:ahLst/>
              <a:cxnLst>
                <a:cxn ang="0">
                  <a:pos x="wd2" y="hd2"/>
                </a:cxn>
                <a:cxn ang="5400000">
                  <a:pos x="wd2" y="hd2"/>
                </a:cxn>
                <a:cxn ang="10800000">
                  <a:pos x="wd2" y="hd2"/>
                </a:cxn>
                <a:cxn ang="16200000">
                  <a:pos x="wd2" y="hd2"/>
                </a:cxn>
              </a:cxnLst>
              <a:rect l="0" t="0" r="r" b="b"/>
              <a:pathLst>
                <a:path w="21600" h="21600" extrusionOk="0">
                  <a:moveTo>
                    <a:pt x="7580" y="0"/>
                  </a:moveTo>
                  <a:lnTo>
                    <a:pt x="5492" y="4637"/>
                  </a:lnTo>
                  <a:lnTo>
                    <a:pt x="0" y="9562"/>
                  </a:lnTo>
                  <a:lnTo>
                    <a:pt x="532" y="14978"/>
                  </a:lnTo>
                  <a:lnTo>
                    <a:pt x="5198" y="17362"/>
                  </a:lnTo>
                  <a:lnTo>
                    <a:pt x="8142" y="21600"/>
                  </a:lnTo>
                  <a:lnTo>
                    <a:pt x="17499" y="19994"/>
                  </a:lnTo>
                  <a:lnTo>
                    <a:pt x="17499" y="13520"/>
                  </a:lnTo>
                  <a:lnTo>
                    <a:pt x="21600" y="9579"/>
                  </a:lnTo>
                  <a:lnTo>
                    <a:pt x="19856" y="4413"/>
                  </a:lnTo>
                  <a:lnTo>
                    <a:pt x="14429" y="2161"/>
                  </a:lnTo>
                  <a:lnTo>
                    <a:pt x="7580" y="0"/>
                  </a:lnTo>
                  <a:close/>
                </a:path>
              </a:pathLst>
            </a:custGeom>
            <a:grpFill/>
            <a:ln w="25400" cap="flat">
              <a:noFill/>
              <a:prstDash val="solid"/>
              <a:miter lim="400000"/>
            </a:ln>
            <a:effectLst/>
          </p:spPr>
          <p:txBody>
            <a:bodyPr anchor="ctr"/>
            <a:lstStyle/>
            <a:p>
              <a:pPr algn="ctr"/>
              <a:endParaRPr/>
            </a:p>
          </p:txBody>
        </p:sp>
        <p:sp>
          <p:nvSpPr>
            <p:cNvPr id="283" name="任意多边形: 形状 282">
              <a:extLst>
                <a:ext uri="{FF2B5EF4-FFF2-40B4-BE49-F238E27FC236}">
                  <a16:creationId xmlns:a16="http://schemas.microsoft.com/office/drawing/2014/main" id="{1482D759-DA03-40BC-B3BA-7EB330E6A489}"/>
                </a:ext>
              </a:extLst>
            </p:cNvPr>
            <p:cNvSpPr/>
            <p:nvPr/>
          </p:nvSpPr>
          <p:spPr>
            <a:xfrm>
              <a:off x="9681665" y="3678031"/>
              <a:ext cx="29941" cy="51005"/>
            </a:xfrm>
            <a:custGeom>
              <a:avLst/>
              <a:gdLst/>
              <a:ahLst/>
              <a:cxnLst>
                <a:cxn ang="0">
                  <a:pos x="wd2" y="hd2"/>
                </a:cxn>
                <a:cxn ang="5400000">
                  <a:pos x="wd2" y="hd2"/>
                </a:cxn>
                <a:cxn ang="10800000">
                  <a:pos x="wd2" y="hd2"/>
                </a:cxn>
                <a:cxn ang="16200000">
                  <a:pos x="wd2" y="hd2"/>
                </a:cxn>
              </a:cxnLst>
              <a:rect l="0" t="0" r="r" b="b"/>
              <a:pathLst>
                <a:path w="21600" h="21600" extrusionOk="0">
                  <a:moveTo>
                    <a:pt x="10374" y="2282"/>
                  </a:moveTo>
                  <a:lnTo>
                    <a:pt x="2301" y="0"/>
                  </a:lnTo>
                  <a:lnTo>
                    <a:pt x="0" y="4114"/>
                  </a:lnTo>
                  <a:lnTo>
                    <a:pt x="8942" y="8249"/>
                  </a:lnTo>
                  <a:lnTo>
                    <a:pt x="10410" y="16662"/>
                  </a:lnTo>
                  <a:lnTo>
                    <a:pt x="13285" y="21600"/>
                  </a:lnTo>
                  <a:lnTo>
                    <a:pt x="21600" y="19354"/>
                  </a:lnTo>
                  <a:lnTo>
                    <a:pt x="20132" y="10993"/>
                  </a:lnTo>
                  <a:lnTo>
                    <a:pt x="10374" y="2282"/>
                  </a:lnTo>
                  <a:close/>
                </a:path>
              </a:pathLst>
            </a:custGeom>
            <a:grpFill/>
            <a:ln w="25400" cap="flat">
              <a:noFill/>
              <a:prstDash val="solid"/>
              <a:miter lim="400000"/>
            </a:ln>
            <a:effectLst/>
          </p:spPr>
          <p:txBody>
            <a:bodyPr anchor="ctr"/>
            <a:lstStyle/>
            <a:p>
              <a:pPr algn="ctr"/>
              <a:endParaRPr/>
            </a:p>
          </p:txBody>
        </p:sp>
        <p:sp>
          <p:nvSpPr>
            <p:cNvPr id="284" name="任意多边形: 形状 283">
              <a:extLst>
                <a:ext uri="{FF2B5EF4-FFF2-40B4-BE49-F238E27FC236}">
                  <a16:creationId xmlns:a16="http://schemas.microsoft.com/office/drawing/2014/main" id="{3FFF6891-F8AA-4345-BFAD-D9ED97198A47}"/>
                </a:ext>
              </a:extLst>
            </p:cNvPr>
            <p:cNvSpPr/>
            <p:nvPr/>
          </p:nvSpPr>
          <p:spPr>
            <a:xfrm>
              <a:off x="9628583" y="3726518"/>
              <a:ext cx="162677" cy="158780"/>
            </a:xfrm>
            <a:custGeom>
              <a:avLst/>
              <a:gdLst/>
              <a:ahLst/>
              <a:cxnLst>
                <a:cxn ang="0">
                  <a:pos x="wd2" y="hd2"/>
                </a:cxn>
                <a:cxn ang="5400000">
                  <a:pos x="wd2" y="hd2"/>
                </a:cxn>
                <a:cxn ang="10800000">
                  <a:pos x="wd2" y="hd2"/>
                </a:cxn>
                <a:cxn ang="16200000">
                  <a:pos x="wd2" y="hd2"/>
                </a:cxn>
              </a:cxnLst>
              <a:rect l="0" t="0" r="r" b="b"/>
              <a:pathLst>
                <a:path w="21246" h="21600" extrusionOk="0">
                  <a:moveTo>
                    <a:pt x="15618" y="0"/>
                  </a:moveTo>
                  <a:lnTo>
                    <a:pt x="14068" y="137"/>
                  </a:lnTo>
                  <a:lnTo>
                    <a:pt x="13901" y="3471"/>
                  </a:lnTo>
                  <a:lnTo>
                    <a:pt x="11653" y="5499"/>
                  </a:lnTo>
                  <a:lnTo>
                    <a:pt x="9433" y="7154"/>
                  </a:lnTo>
                  <a:lnTo>
                    <a:pt x="8019" y="8935"/>
                  </a:lnTo>
                  <a:lnTo>
                    <a:pt x="6129" y="8803"/>
                  </a:lnTo>
                  <a:lnTo>
                    <a:pt x="4020" y="7291"/>
                  </a:lnTo>
                  <a:lnTo>
                    <a:pt x="1658" y="8253"/>
                  </a:lnTo>
                  <a:lnTo>
                    <a:pt x="1029" y="10864"/>
                  </a:lnTo>
                  <a:lnTo>
                    <a:pt x="0" y="12771"/>
                  </a:lnTo>
                  <a:lnTo>
                    <a:pt x="3621" y="12908"/>
                  </a:lnTo>
                  <a:lnTo>
                    <a:pt x="5425" y="10801"/>
                  </a:lnTo>
                  <a:lnTo>
                    <a:pt x="6970" y="11345"/>
                  </a:lnTo>
                  <a:lnTo>
                    <a:pt x="8696" y="13544"/>
                  </a:lnTo>
                  <a:lnTo>
                    <a:pt x="8696" y="16286"/>
                  </a:lnTo>
                  <a:lnTo>
                    <a:pt x="10584" y="19825"/>
                  </a:lnTo>
                  <a:lnTo>
                    <a:pt x="11691" y="21600"/>
                  </a:lnTo>
                  <a:lnTo>
                    <a:pt x="13329" y="20592"/>
                  </a:lnTo>
                  <a:lnTo>
                    <a:pt x="14785" y="19539"/>
                  </a:lnTo>
                  <a:lnTo>
                    <a:pt x="16955" y="20226"/>
                  </a:lnTo>
                  <a:lnTo>
                    <a:pt x="17088" y="18955"/>
                  </a:lnTo>
                  <a:lnTo>
                    <a:pt x="14658" y="17037"/>
                  </a:lnTo>
                  <a:lnTo>
                    <a:pt x="14525" y="14747"/>
                  </a:lnTo>
                  <a:lnTo>
                    <a:pt x="15986" y="13831"/>
                  </a:lnTo>
                  <a:lnTo>
                    <a:pt x="18372" y="14380"/>
                  </a:lnTo>
                  <a:lnTo>
                    <a:pt x="18632" y="17071"/>
                  </a:lnTo>
                  <a:cubicBezTo>
                    <a:pt x="19138" y="17458"/>
                    <a:pt x="19818" y="17494"/>
                    <a:pt x="20359" y="17163"/>
                  </a:cubicBezTo>
                  <a:cubicBezTo>
                    <a:pt x="21600" y="16403"/>
                    <a:pt x="21524" y="14520"/>
                    <a:pt x="20226" y="13871"/>
                  </a:cubicBezTo>
                  <a:cubicBezTo>
                    <a:pt x="19707" y="12622"/>
                    <a:pt x="19161" y="11385"/>
                    <a:pt x="18588" y="10161"/>
                  </a:cubicBezTo>
                  <a:cubicBezTo>
                    <a:pt x="18105" y="9128"/>
                    <a:pt x="17603" y="8105"/>
                    <a:pt x="17082" y="7092"/>
                  </a:cubicBezTo>
                  <a:lnTo>
                    <a:pt x="16551" y="3382"/>
                  </a:lnTo>
                  <a:lnTo>
                    <a:pt x="15618" y="0"/>
                  </a:lnTo>
                  <a:close/>
                </a:path>
              </a:pathLst>
            </a:custGeom>
            <a:grpFill/>
            <a:ln w="25400" cap="flat">
              <a:noFill/>
              <a:prstDash val="solid"/>
              <a:miter lim="400000"/>
            </a:ln>
            <a:effectLst/>
          </p:spPr>
          <p:txBody>
            <a:bodyPr anchor="ctr"/>
            <a:lstStyle/>
            <a:p>
              <a:pPr algn="ctr"/>
              <a:endParaRPr/>
            </a:p>
          </p:txBody>
        </p:sp>
        <p:sp>
          <p:nvSpPr>
            <p:cNvPr id="285" name="任意多边形: 形状 284">
              <a:extLst>
                <a:ext uri="{FF2B5EF4-FFF2-40B4-BE49-F238E27FC236}">
                  <a16:creationId xmlns:a16="http://schemas.microsoft.com/office/drawing/2014/main" id="{4FBAF32E-FD9E-410A-998C-57E48C722AAA}"/>
                </a:ext>
              </a:extLst>
            </p:cNvPr>
            <p:cNvSpPr/>
            <p:nvPr/>
          </p:nvSpPr>
          <p:spPr>
            <a:xfrm>
              <a:off x="9187751" y="3843193"/>
              <a:ext cx="329761" cy="381201"/>
            </a:xfrm>
            <a:custGeom>
              <a:avLst/>
              <a:gdLst/>
              <a:ahLst/>
              <a:cxnLst>
                <a:cxn ang="0">
                  <a:pos x="wd2" y="hd2"/>
                </a:cxn>
                <a:cxn ang="5400000">
                  <a:pos x="wd2" y="hd2"/>
                </a:cxn>
                <a:cxn ang="10800000">
                  <a:pos x="wd2" y="hd2"/>
                </a:cxn>
                <a:cxn ang="16200000">
                  <a:pos x="wd2" y="hd2"/>
                </a:cxn>
              </a:cxnLst>
              <a:rect l="0" t="0" r="r" b="b"/>
              <a:pathLst>
                <a:path w="21600" h="21600" extrusionOk="0">
                  <a:moveTo>
                    <a:pt x="17693" y="182"/>
                  </a:moveTo>
                  <a:lnTo>
                    <a:pt x="19070" y="0"/>
                  </a:lnTo>
                  <a:lnTo>
                    <a:pt x="20340" y="1335"/>
                  </a:lnTo>
                  <a:lnTo>
                    <a:pt x="21003" y="2362"/>
                  </a:lnTo>
                  <a:lnTo>
                    <a:pt x="21600" y="2990"/>
                  </a:lnTo>
                  <a:lnTo>
                    <a:pt x="21001" y="3848"/>
                  </a:lnTo>
                  <a:lnTo>
                    <a:pt x="20512" y="4459"/>
                  </a:lnTo>
                  <a:lnTo>
                    <a:pt x="19915" y="5222"/>
                  </a:lnTo>
                  <a:lnTo>
                    <a:pt x="19382" y="6290"/>
                  </a:lnTo>
                  <a:lnTo>
                    <a:pt x="19382" y="7432"/>
                  </a:lnTo>
                  <a:lnTo>
                    <a:pt x="19626" y="8233"/>
                  </a:lnTo>
                  <a:lnTo>
                    <a:pt x="20490" y="9318"/>
                  </a:lnTo>
                  <a:lnTo>
                    <a:pt x="21464" y="10423"/>
                  </a:lnTo>
                  <a:lnTo>
                    <a:pt x="21531" y="12044"/>
                  </a:lnTo>
                  <a:lnTo>
                    <a:pt x="19671" y="12598"/>
                  </a:lnTo>
                  <a:lnTo>
                    <a:pt x="19271" y="13509"/>
                  </a:lnTo>
                  <a:lnTo>
                    <a:pt x="19427" y="14768"/>
                  </a:lnTo>
                  <a:lnTo>
                    <a:pt x="18783" y="15910"/>
                  </a:lnTo>
                  <a:lnTo>
                    <a:pt x="18030" y="16900"/>
                  </a:lnTo>
                  <a:lnTo>
                    <a:pt x="16831" y="17925"/>
                  </a:lnTo>
                  <a:lnTo>
                    <a:pt x="16378" y="19125"/>
                  </a:lnTo>
                  <a:lnTo>
                    <a:pt x="15584" y="20935"/>
                  </a:lnTo>
                  <a:lnTo>
                    <a:pt x="14482" y="21600"/>
                  </a:lnTo>
                  <a:lnTo>
                    <a:pt x="13585" y="21028"/>
                  </a:lnTo>
                  <a:lnTo>
                    <a:pt x="12212" y="20589"/>
                  </a:lnTo>
                  <a:lnTo>
                    <a:pt x="11498" y="20436"/>
                  </a:lnTo>
                  <a:lnTo>
                    <a:pt x="10252" y="20665"/>
                  </a:lnTo>
                  <a:lnTo>
                    <a:pt x="9540" y="20665"/>
                  </a:lnTo>
                  <a:lnTo>
                    <a:pt x="7603" y="20436"/>
                  </a:lnTo>
                  <a:lnTo>
                    <a:pt x="6274" y="20172"/>
                  </a:lnTo>
                  <a:lnTo>
                    <a:pt x="4280" y="19885"/>
                  </a:lnTo>
                  <a:lnTo>
                    <a:pt x="3374" y="19375"/>
                  </a:lnTo>
                  <a:lnTo>
                    <a:pt x="2783" y="17734"/>
                  </a:lnTo>
                  <a:lnTo>
                    <a:pt x="1530" y="16227"/>
                  </a:lnTo>
                  <a:cubicBezTo>
                    <a:pt x="1300" y="15735"/>
                    <a:pt x="1078" y="15241"/>
                    <a:pt x="863" y="14744"/>
                  </a:cubicBezTo>
                  <a:cubicBezTo>
                    <a:pt x="560" y="14044"/>
                    <a:pt x="273" y="13340"/>
                    <a:pt x="0" y="12631"/>
                  </a:cubicBezTo>
                  <a:lnTo>
                    <a:pt x="197" y="11603"/>
                  </a:lnTo>
                  <a:lnTo>
                    <a:pt x="1259" y="10406"/>
                  </a:lnTo>
                  <a:lnTo>
                    <a:pt x="2436" y="9948"/>
                  </a:lnTo>
                  <a:lnTo>
                    <a:pt x="2902" y="10864"/>
                  </a:lnTo>
                  <a:lnTo>
                    <a:pt x="3946" y="11529"/>
                  </a:lnTo>
                  <a:lnTo>
                    <a:pt x="4323" y="10976"/>
                  </a:lnTo>
                  <a:lnTo>
                    <a:pt x="4723" y="9946"/>
                  </a:lnTo>
                  <a:lnTo>
                    <a:pt x="5431" y="9223"/>
                  </a:lnTo>
                  <a:lnTo>
                    <a:pt x="6230" y="8765"/>
                  </a:lnTo>
                  <a:lnTo>
                    <a:pt x="7338" y="8307"/>
                  </a:lnTo>
                  <a:lnTo>
                    <a:pt x="8604" y="7735"/>
                  </a:lnTo>
                  <a:lnTo>
                    <a:pt x="9378" y="7184"/>
                  </a:lnTo>
                  <a:lnTo>
                    <a:pt x="10242" y="5586"/>
                  </a:lnTo>
                  <a:lnTo>
                    <a:pt x="10927" y="5033"/>
                  </a:lnTo>
                  <a:lnTo>
                    <a:pt x="11838" y="4480"/>
                  </a:lnTo>
                  <a:lnTo>
                    <a:pt x="12570" y="4251"/>
                  </a:lnTo>
                  <a:lnTo>
                    <a:pt x="13392" y="4041"/>
                  </a:lnTo>
                  <a:lnTo>
                    <a:pt x="14386" y="3302"/>
                  </a:lnTo>
                  <a:lnTo>
                    <a:pt x="15319" y="2405"/>
                  </a:lnTo>
                  <a:lnTo>
                    <a:pt x="16229" y="1451"/>
                  </a:lnTo>
                  <a:lnTo>
                    <a:pt x="17693" y="182"/>
                  </a:lnTo>
                  <a:close/>
                </a:path>
              </a:pathLst>
            </a:custGeom>
            <a:grpFill/>
            <a:ln w="25400" cap="flat">
              <a:noFill/>
              <a:prstDash val="solid"/>
              <a:miter lim="400000"/>
            </a:ln>
            <a:effectLst/>
          </p:spPr>
          <p:txBody>
            <a:bodyPr anchor="ctr"/>
            <a:lstStyle/>
            <a:p>
              <a:pPr algn="ctr"/>
              <a:endParaRPr/>
            </a:p>
          </p:txBody>
        </p:sp>
        <p:sp>
          <p:nvSpPr>
            <p:cNvPr id="286" name="任意多边形: 形状 285">
              <a:extLst>
                <a:ext uri="{FF2B5EF4-FFF2-40B4-BE49-F238E27FC236}">
                  <a16:creationId xmlns:a16="http://schemas.microsoft.com/office/drawing/2014/main" id="{12B5936E-AE1E-4ED5-B3E2-C594BB89CE2F}"/>
                </a:ext>
              </a:extLst>
            </p:cNvPr>
            <p:cNvSpPr/>
            <p:nvPr/>
          </p:nvSpPr>
          <p:spPr>
            <a:xfrm>
              <a:off x="9518950" y="4026819"/>
              <a:ext cx="221080" cy="264412"/>
            </a:xfrm>
            <a:custGeom>
              <a:avLst/>
              <a:gdLst/>
              <a:ahLst/>
              <a:cxnLst>
                <a:cxn ang="0">
                  <a:pos x="wd2" y="hd2"/>
                </a:cxn>
                <a:cxn ang="5400000">
                  <a:pos x="wd2" y="hd2"/>
                </a:cxn>
                <a:cxn ang="10800000">
                  <a:pos x="wd2" y="hd2"/>
                </a:cxn>
                <a:cxn ang="16200000">
                  <a:pos x="wd2" y="hd2"/>
                </a:cxn>
              </a:cxnLst>
              <a:rect l="0" t="0" r="r" b="b"/>
              <a:pathLst>
                <a:path w="21600" h="21600" extrusionOk="0">
                  <a:moveTo>
                    <a:pt x="21600" y="10"/>
                  </a:moveTo>
                  <a:lnTo>
                    <a:pt x="19302" y="0"/>
                  </a:lnTo>
                  <a:lnTo>
                    <a:pt x="18507" y="1508"/>
                  </a:lnTo>
                  <a:lnTo>
                    <a:pt x="16888" y="2495"/>
                  </a:lnTo>
                  <a:lnTo>
                    <a:pt x="15588" y="2660"/>
                  </a:lnTo>
                  <a:lnTo>
                    <a:pt x="14223" y="1866"/>
                  </a:lnTo>
                  <a:lnTo>
                    <a:pt x="11000" y="1783"/>
                  </a:lnTo>
                  <a:lnTo>
                    <a:pt x="9523" y="1673"/>
                  </a:lnTo>
                  <a:lnTo>
                    <a:pt x="7078" y="1838"/>
                  </a:lnTo>
                  <a:lnTo>
                    <a:pt x="3910" y="2828"/>
                  </a:lnTo>
                  <a:lnTo>
                    <a:pt x="3328" y="4063"/>
                  </a:lnTo>
                  <a:lnTo>
                    <a:pt x="3249" y="6070"/>
                  </a:lnTo>
                  <a:lnTo>
                    <a:pt x="3252" y="8298"/>
                  </a:lnTo>
                  <a:lnTo>
                    <a:pt x="3450" y="9618"/>
                  </a:lnTo>
                  <a:lnTo>
                    <a:pt x="3152" y="10719"/>
                  </a:lnTo>
                  <a:lnTo>
                    <a:pt x="1267" y="12420"/>
                  </a:lnTo>
                  <a:lnTo>
                    <a:pt x="0" y="14236"/>
                  </a:lnTo>
                  <a:lnTo>
                    <a:pt x="998" y="16436"/>
                  </a:lnTo>
                  <a:lnTo>
                    <a:pt x="1891" y="17340"/>
                  </a:lnTo>
                  <a:lnTo>
                    <a:pt x="2289" y="18739"/>
                  </a:lnTo>
                  <a:lnTo>
                    <a:pt x="1593" y="20390"/>
                  </a:lnTo>
                  <a:lnTo>
                    <a:pt x="2388" y="21600"/>
                  </a:lnTo>
                  <a:lnTo>
                    <a:pt x="4442" y="21352"/>
                  </a:lnTo>
                  <a:lnTo>
                    <a:pt x="5237" y="19733"/>
                  </a:lnTo>
                  <a:lnTo>
                    <a:pt x="4342" y="17643"/>
                  </a:lnTo>
                  <a:lnTo>
                    <a:pt x="3945" y="16161"/>
                  </a:lnTo>
                  <a:cubicBezTo>
                    <a:pt x="4074" y="15650"/>
                    <a:pt x="4347" y="15172"/>
                    <a:pt x="4740" y="14765"/>
                  </a:cubicBezTo>
                  <a:cubicBezTo>
                    <a:pt x="5266" y="14220"/>
                    <a:pt x="5984" y="13826"/>
                    <a:pt x="6793" y="13637"/>
                  </a:cubicBezTo>
                  <a:lnTo>
                    <a:pt x="8040" y="13310"/>
                  </a:lnTo>
                  <a:lnTo>
                    <a:pt x="8802" y="14576"/>
                  </a:lnTo>
                  <a:lnTo>
                    <a:pt x="8802" y="16635"/>
                  </a:lnTo>
                  <a:cubicBezTo>
                    <a:pt x="9210" y="17046"/>
                    <a:pt x="9677" y="17415"/>
                    <a:pt x="10193" y="17732"/>
                  </a:cubicBezTo>
                  <a:cubicBezTo>
                    <a:pt x="10742" y="18070"/>
                    <a:pt x="11342" y="18347"/>
                    <a:pt x="11978" y="18557"/>
                  </a:cubicBezTo>
                  <a:cubicBezTo>
                    <a:pt x="12325" y="18437"/>
                    <a:pt x="12624" y="18237"/>
                    <a:pt x="12839" y="17979"/>
                  </a:cubicBezTo>
                  <a:cubicBezTo>
                    <a:pt x="13328" y="17393"/>
                    <a:pt x="13328" y="16616"/>
                    <a:pt x="12839" y="16030"/>
                  </a:cubicBezTo>
                  <a:lnTo>
                    <a:pt x="12209" y="14548"/>
                  </a:lnTo>
                  <a:cubicBezTo>
                    <a:pt x="11711" y="14198"/>
                    <a:pt x="11335" y="13743"/>
                    <a:pt x="11120" y="13231"/>
                  </a:cubicBezTo>
                  <a:cubicBezTo>
                    <a:pt x="10817" y="12506"/>
                    <a:pt x="10852" y="11712"/>
                    <a:pt x="11220" y="11007"/>
                  </a:cubicBezTo>
                  <a:lnTo>
                    <a:pt x="12512" y="9934"/>
                  </a:lnTo>
                  <a:lnTo>
                    <a:pt x="14201" y="9109"/>
                  </a:lnTo>
                  <a:lnTo>
                    <a:pt x="15352" y="8700"/>
                  </a:lnTo>
                  <a:lnTo>
                    <a:pt x="14756" y="7572"/>
                  </a:lnTo>
                  <a:lnTo>
                    <a:pt x="12081" y="7903"/>
                  </a:lnTo>
                  <a:lnTo>
                    <a:pt x="8450" y="9109"/>
                  </a:lnTo>
                  <a:cubicBezTo>
                    <a:pt x="7962" y="9001"/>
                    <a:pt x="7496" y="8834"/>
                    <a:pt x="7067" y="8614"/>
                  </a:cubicBezTo>
                  <a:cubicBezTo>
                    <a:pt x="6290" y="8217"/>
                    <a:pt x="5653" y="7659"/>
                    <a:pt x="5216" y="6995"/>
                  </a:cubicBezTo>
                  <a:cubicBezTo>
                    <a:pt x="5085" y="6422"/>
                    <a:pt x="5085" y="5835"/>
                    <a:pt x="5216" y="5262"/>
                  </a:cubicBezTo>
                  <a:cubicBezTo>
                    <a:pt x="5343" y="4707"/>
                    <a:pt x="5600" y="4165"/>
                    <a:pt x="6106" y="3787"/>
                  </a:cubicBezTo>
                  <a:cubicBezTo>
                    <a:pt x="6720" y="3329"/>
                    <a:pt x="7565" y="3206"/>
                    <a:pt x="8388" y="3154"/>
                  </a:cubicBezTo>
                  <a:cubicBezTo>
                    <a:pt x="9337" y="3095"/>
                    <a:pt x="10291" y="3113"/>
                    <a:pt x="11236" y="3209"/>
                  </a:cubicBezTo>
                  <a:lnTo>
                    <a:pt x="12594" y="3347"/>
                  </a:lnTo>
                  <a:lnTo>
                    <a:pt x="13886" y="3787"/>
                  </a:lnTo>
                  <a:lnTo>
                    <a:pt x="15045" y="4475"/>
                  </a:lnTo>
                  <a:lnTo>
                    <a:pt x="16900" y="4695"/>
                  </a:lnTo>
                  <a:cubicBezTo>
                    <a:pt x="17689" y="4733"/>
                    <a:pt x="18466" y="4527"/>
                    <a:pt x="19083" y="4117"/>
                  </a:cubicBezTo>
                  <a:cubicBezTo>
                    <a:pt x="19535" y="3816"/>
                    <a:pt x="19878" y="3418"/>
                    <a:pt x="20076" y="2965"/>
                  </a:cubicBezTo>
                  <a:lnTo>
                    <a:pt x="21434" y="1511"/>
                  </a:lnTo>
                  <a:lnTo>
                    <a:pt x="21600" y="10"/>
                  </a:lnTo>
                  <a:close/>
                </a:path>
              </a:pathLst>
            </a:custGeom>
            <a:grpFill/>
            <a:ln w="25400" cap="flat">
              <a:noFill/>
              <a:prstDash val="solid"/>
              <a:miter lim="400000"/>
            </a:ln>
            <a:effectLst/>
          </p:spPr>
          <p:txBody>
            <a:bodyPr anchor="ctr"/>
            <a:lstStyle/>
            <a:p>
              <a:pPr algn="ctr"/>
              <a:endParaRPr/>
            </a:p>
          </p:txBody>
        </p:sp>
        <p:sp>
          <p:nvSpPr>
            <p:cNvPr id="287" name="任意多边形: 形状 286">
              <a:extLst>
                <a:ext uri="{FF2B5EF4-FFF2-40B4-BE49-F238E27FC236}">
                  <a16:creationId xmlns:a16="http://schemas.microsoft.com/office/drawing/2014/main" id="{4E24DBBD-3468-439C-9ECF-4E9E40D2C80A}"/>
                </a:ext>
              </a:extLst>
            </p:cNvPr>
            <p:cNvSpPr/>
            <p:nvPr/>
          </p:nvSpPr>
          <p:spPr>
            <a:xfrm>
              <a:off x="9816350" y="3993819"/>
              <a:ext cx="41001" cy="103795"/>
            </a:xfrm>
            <a:custGeom>
              <a:avLst/>
              <a:gdLst/>
              <a:ahLst/>
              <a:cxnLst>
                <a:cxn ang="0">
                  <a:pos x="wd2" y="hd2"/>
                </a:cxn>
                <a:cxn ang="5400000">
                  <a:pos x="wd2" y="hd2"/>
                </a:cxn>
                <a:cxn ang="10800000">
                  <a:pos x="wd2" y="hd2"/>
                </a:cxn>
                <a:cxn ang="16200000">
                  <a:pos x="wd2" y="hd2"/>
                </a:cxn>
              </a:cxnLst>
              <a:rect l="0" t="0" r="r" b="b"/>
              <a:pathLst>
                <a:path w="21600" h="21600" extrusionOk="0">
                  <a:moveTo>
                    <a:pt x="17255" y="0"/>
                  </a:moveTo>
                  <a:lnTo>
                    <a:pt x="9754" y="981"/>
                  </a:lnTo>
                  <a:lnTo>
                    <a:pt x="6086" y="3566"/>
                  </a:lnTo>
                  <a:lnTo>
                    <a:pt x="1417" y="5861"/>
                  </a:lnTo>
                  <a:lnTo>
                    <a:pt x="4076" y="9434"/>
                  </a:lnTo>
                  <a:lnTo>
                    <a:pt x="6254" y="12097"/>
                  </a:lnTo>
                  <a:lnTo>
                    <a:pt x="3575" y="14050"/>
                  </a:lnTo>
                  <a:lnTo>
                    <a:pt x="383" y="15872"/>
                  </a:lnTo>
                  <a:lnTo>
                    <a:pt x="0" y="19016"/>
                  </a:lnTo>
                  <a:lnTo>
                    <a:pt x="9298" y="21600"/>
                  </a:lnTo>
                  <a:lnTo>
                    <a:pt x="16777" y="20549"/>
                  </a:lnTo>
                  <a:lnTo>
                    <a:pt x="17849" y="16774"/>
                  </a:lnTo>
                  <a:lnTo>
                    <a:pt x="17849" y="12999"/>
                  </a:lnTo>
                  <a:lnTo>
                    <a:pt x="14300" y="9426"/>
                  </a:lnTo>
                  <a:lnTo>
                    <a:pt x="11643" y="6290"/>
                  </a:lnTo>
                  <a:lnTo>
                    <a:pt x="13250" y="4118"/>
                  </a:lnTo>
                  <a:lnTo>
                    <a:pt x="21600" y="2454"/>
                  </a:lnTo>
                  <a:lnTo>
                    <a:pt x="17255" y="0"/>
                  </a:lnTo>
                  <a:close/>
                </a:path>
              </a:pathLst>
            </a:custGeom>
            <a:grpFill/>
            <a:ln w="25400" cap="flat">
              <a:noFill/>
              <a:prstDash val="solid"/>
              <a:miter lim="400000"/>
            </a:ln>
            <a:effectLst/>
          </p:spPr>
          <p:txBody>
            <a:bodyPr anchor="ctr"/>
            <a:lstStyle/>
            <a:p>
              <a:pPr algn="ctr"/>
              <a:endParaRPr/>
            </a:p>
          </p:txBody>
        </p:sp>
        <p:sp>
          <p:nvSpPr>
            <p:cNvPr id="288" name="任意多边形: 形状 287">
              <a:extLst>
                <a:ext uri="{FF2B5EF4-FFF2-40B4-BE49-F238E27FC236}">
                  <a16:creationId xmlns:a16="http://schemas.microsoft.com/office/drawing/2014/main" id="{8B6517CF-693C-48EA-BDE0-60353F6A3D90}"/>
                </a:ext>
              </a:extLst>
            </p:cNvPr>
            <p:cNvSpPr/>
            <p:nvPr/>
          </p:nvSpPr>
          <p:spPr>
            <a:xfrm>
              <a:off x="9834437" y="4184237"/>
              <a:ext cx="82580" cy="37553"/>
            </a:xfrm>
            <a:custGeom>
              <a:avLst/>
              <a:gdLst/>
              <a:ahLst/>
              <a:cxnLst>
                <a:cxn ang="0">
                  <a:pos x="wd2" y="hd2"/>
                </a:cxn>
                <a:cxn ang="5400000">
                  <a:pos x="wd2" y="hd2"/>
                </a:cxn>
                <a:cxn ang="10800000">
                  <a:pos x="wd2" y="hd2"/>
                </a:cxn>
                <a:cxn ang="16200000">
                  <a:pos x="wd2" y="hd2"/>
                </a:cxn>
              </a:cxnLst>
              <a:rect l="0" t="0" r="r" b="b"/>
              <a:pathLst>
                <a:path w="21500" h="19363" extrusionOk="0">
                  <a:moveTo>
                    <a:pt x="5683" y="318"/>
                  </a:moveTo>
                  <a:lnTo>
                    <a:pt x="1027" y="1360"/>
                  </a:lnTo>
                  <a:lnTo>
                    <a:pt x="0" y="7059"/>
                  </a:lnTo>
                  <a:lnTo>
                    <a:pt x="2914" y="13850"/>
                  </a:lnTo>
                  <a:lnTo>
                    <a:pt x="8729" y="12808"/>
                  </a:lnTo>
                  <a:lnTo>
                    <a:pt x="9876" y="18864"/>
                  </a:lnTo>
                  <a:lnTo>
                    <a:pt x="14356" y="19363"/>
                  </a:lnTo>
                  <a:cubicBezTo>
                    <a:pt x="15680" y="17818"/>
                    <a:pt x="17000" y="16262"/>
                    <a:pt x="18317" y="14697"/>
                  </a:cubicBezTo>
                  <a:cubicBezTo>
                    <a:pt x="19936" y="12772"/>
                    <a:pt x="21600" y="10321"/>
                    <a:pt x="21495" y="6712"/>
                  </a:cubicBezTo>
                  <a:cubicBezTo>
                    <a:pt x="21234" y="-2237"/>
                    <a:pt x="14529" y="-2237"/>
                    <a:pt x="14268" y="6712"/>
                  </a:cubicBezTo>
                  <a:lnTo>
                    <a:pt x="10052" y="5498"/>
                  </a:lnTo>
                  <a:lnTo>
                    <a:pt x="5683" y="318"/>
                  </a:lnTo>
                  <a:close/>
                </a:path>
              </a:pathLst>
            </a:custGeom>
            <a:grpFill/>
            <a:ln w="25400" cap="flat">
              <a:noFill/>
              <a:prstDash val="solid"/>
              <a:miter lim="400000"/>
            </a:ln>
            <a:effectLst/>
          </p:spPr>
          <p:txBody>
            <a:bodyPr anchor="ctr"/>
            <a:lstStyle/>
            <a:p>
              <a:pPr algn="ctr"/>
              <a:endParaRPr/>
            </a:p>
          </p:txBody>
        </p:sp>
        <p:sp>
          <p:nvSpPr>
            <p:cNvPr id="289" name="任意多边形: 形状 288">
              <a:extLst>
                <a:ext uri="{FF2B5EF4-FFF2-40B4-BE49-F238E27FC236}">
                  <a16:creationId xmlns:a16="http://schemas.microsoft.com/office/drawing/2014/main" id="{2C9BF7D6-695B-4210-BBD0-46F2256ABA8C}"/>
                </a:ext>
              </a:extLst>
            </p:cNvPr>
            <p:cNvSpPr/>
            <p:nvPr/>
          </p:nvSpPr>
          <p:spPr>
            <a:xfrm>
              <a:off x="9664278" y="4387494"/>
              <a:ext cx="133525" cy="80961"/>
            </a:xfrm>
            <a:custGeom>
              <a:avLst/>
              <a:gdLst/>
              <a:ahLst/>
              <a:cxnLst>
                <a:cxn ang="0">
                  <a:pos x="wd2" y="hd2"/>
                </a:cxn>
                <a:cxn ang="5400000">
                  <a:pos x="wd2" y="hd2"/>
                </a:cxn>
                <a:cxn ang="10800000">
                  <a:pos x="wd2" y="hd2"/>
                </a:cxn>
                <a:cxn ang="16200000">
                  <a:pos x="wd2" y="hd2"/>
                </a:cxn>
              </a:cxnLst>
              <a:rect l="0" t="0" r="r" b="b"/>
              <a:pathLst>
                <a:path w="21600" h="21600" extrusionOk="0">
                  <a:moveTo>
                    <a:pt x="14152" y="0"/>
                  </a:moveTo>
                  <a:lnTo>
                    <a:pt x="10628" y="460"/>
                  </a:lnTo>
                  <a:lnTo>
                    <a:pt x="7726" y="4319"/>
                  </a:lnTo>
                  <a:lnTo>
                    <a:pt x="5627" y="8451"/>
                  </a:lnTo>
                  <a:lnTo>
                    <a:pt x="4174" y="14357"/>
                  </a:lnTo>
                  <a:lnTo>
                    <a:pt x="1935" y="16154"/>
                  </a:lnTo>
                  <a:lnTo>
                    <a:pt x="0" y="18468"/>
                  </a:lnTo>
                  <a:lnTo>
                    <a:pt x="1106" y="21600"/>
                  </a:lnTo>
                  <a:lnTo>
                    <a:pt x="6381" y="17839"/>
                  </a:lnTo>
                  <a:lnTo>
                    <a:pt x="8410" y="9597"/>
                  </a:lnTo>
                  <a:lnTo>
                    <a:pt x="11042" y="7530"/>
                  </a:lnTo>
                  <a:lnTo>
                    <a:pt x="13668" y="8597"/>
                  </a:lnTo>
                  <a:lnTo>
                    <a:pt x="17384" y="8597"/>
                  </a:lnTo>
                  <a:lnTo>
                    <a:pt x="21600" y="6531"/>
                  </a:lnTo>
                  <a:lnTo>
                    <a:pt x="19790" y="883"/>
                  </a:lnTo>
                  <a:lnTo>
                    <a:pt x="16677" y="3399"/>
                  </a:lnTo>
                  <a:lnTo>
                    <a:pt x="14152" y="0"/>
                  </a:lnTo>
                  <a:close/>
                </a:path>
              </a:pathLst>
            </a:custGeom>
            <a:grpFill/>
            <a:ln w="25400" cap="flat">
              <a:noFill/>
              <a:prstDash val="solid"/>
              <a:miter lim="400000"/>
            </a:ln>
            <a:effectLst/>
          </p:spPr>
          <p:txBody>
            <a:bodyPr anchor="ctr"/>
            <a:lstStyle/>
            <a:p>
              <a:pPr algn="ctr"/>
              <a:endParaRPr/>
            </a:p>
          </p:txBody>
        </p:sp>
        <p:sp>
          <p:nvSpPr>
            <p:cNvPr id="290" name="任意多边形: 形状 289">
              <a:extLst>
                <a:ext uri="{FF2B5EF4-FFF2-40B4-BE49-F238E27FC236}">
                  <a16:creationId xmlns:a16="http://schemas.microsoft.com/office/drawing/2014/main" id="{507640E6-0391-4D86-AD6C-E2CC3C75CCCC}"/>
                </a:ext>
              </a:extLst>
            </p:cNvPr>
            <p:cNvSpPr/>
            <p:nvPr/>
          </p:nvSpPr>
          <p:spPr>
            <a:xfrm>
              <a:off x="9557284" y="4379124"/>
              <a:ext cx="90437" cy="43332"/>
            </a:xfrm>
            <a:custGeom>
              <a:avLst/>
              <a:gdLst/>
              <a:ahLst/>
              <a:cxnLst>
                <a:cxn ang="0">
                  <a:pos x="wd2" y="hd2"/>
                </a:cxn>
                <a:cxn ang="5400000">
                  <a:pos x="wd2" y="hd2"/>
                </a:cxn>
                <a:cxn ang="10800000">
                  <a:pos x="wd2" y="hd2"/>
                </a:cxn>
                <a:cxn ang="16200000">
                  <a:pos x="wd2" y="hd2"/>
                </a:cxn>
              </a:cxnLst>
              <a:rect l="0" t="0" r="r" b="b"/>
              <a:pathLst>
                <a:path w="20127" h="20202" extrusionOk="0">
                  <a:moveTo>
                    <a:pt x="8120" y="1413"/>
                  </a:moveTo>
                  <a:lnTo>
                    <a:pt x="2989" y="0"/>
                  </a:lnTo>
                  <a:lnTo>
                    <a:pt x="0" y="4386"/>
                  </a:lnTo>
                  <a:lnTo>
                    <a:pt x="2074" y="13178"/>
                  </a:lnTo>
                  <a:lnTo>
                    <a:pt x="6156" y="20202"/>
                  </a:lnTo>
                  <a:lnTo>
                    <a:pt x="9392" y="20202"/>
                  </a:lnTo>
                  <a:cubicBezTo>
                    <a:pt x="9507" y="17730"/>
                    <a:pt x="10179" y="15518"/>
                    <a:pt x="11202" y="14238"/>
                  </a:cubicBezTo>
                  <a:cubicBezTo>
                    <a:pt x="12897" y="12117"/>
                    <a:pt x="14975" y="13081"/>
                    <a:pt x="16937" y="12982"/>
                  </a:cubicBezTo>
                  <a:cubicBezTo>
                    <a:pt x="17858" y="12935"/>
                    <a:pt x="18816" y="12577"/>
                    <a:pt x="19418" y="11137"/>
                  </a:cubicBezTo>
                  <a:cubicBezTo>
                    <a:pt x="21600" y="5910"/>
                    <a:pt x="18293" y="-1398"/>
                    <a:pt x="15654" y="2817"/>
                  </a:cubicBezTo>
                  <a:lnTo>
                    <a:pt x="11513" y="7369"/>
                  </a:lnTo>
                  <a:lnTo>
                    <a:pt x="8120" y="1413"/>
                  </a:lnTo>
                  <a:close/>
                </a:path>
              </a:pathLst>
            </a:custGeom>
            <a:grpFill/>
            <a:ln w="25400" cap="flat">
              <a:noFill/>
              <a:prstDash val="solid"/>
              <a:miter lim="400000"/>
            </a:ln>
            <a:effectLst/>
          </p:spPr>
          <p:txBody>
            <a:bodyPr anchor="ctr"/>
            <a:lstStyle/>
            <a:p>
              <a:pPr algn="ctr"/>
              <a:endParaRPr/>
            </a:p>
          </p:txBody>
        </p:sp>
        <p:sp>
          <p:nvSpPr>
            <p:cNvPr id="291" name="任意多边形: 形状 290">
              <a:extLst>
                <a:ext uri="{FF2B5EF4-FFF2-40B4-BE49-F238E27FC236}">
                  <a16:creationId xmlns:a16="http://schemas.microsoft.com/office/drawing/2014/main" id="{C074291E-4982-4706-B442-5FDEA67F0B5C}"/>
                </a:ext>
              </a:extLst>
            </p:cNvPr>
            <p:cNvSpPr/>
            <p:nvPr/>
          </p:nvSpPr>
          <p:spPr>
            <a:xfrm>
              <a:off x="9429485" y="4387992"/>
              <a:ext cx="74217" cy="35014"/>
            </a:xfrm>
            <a:custGeom>
              <a:avLst/>
              <a:gdLst/>
              <a:ahLst/>
              <a:cxnLst>
                <a:cxn ang="0">
                  <a:pos x="wd2" y="hd2"/>
                </a:cxn>
                <a:cxn ang="5400000">
                  <a:pos x="wd2" y="hd2"/>
                </a:cxn>
                <a:cxn ang="10800000">
                  <a:pos x="wd2" y="hd2"/>
                </a:cxn>
                <a:cxn ang="16200000">
                  <a:pos x="wd2" y="hd2"/>
                </a:cxn>
              </a:cxnLst>
              <a:rect l="0" t="0" r="r" b="b"/>
              <a:pathLst>
                <a:path w="21600" h="21600" extrusionOk="0">
                  <a:moveTo>
                    <a:pt x="11859" y="1149"/>
                  </a:moveTo>
                  <a:lnTo>
                    <a:pt x="16794" y="1980"/>
                  </a:lnTo>
                  <a:lnTo>
                    <a:pt x="20811" y="5943"/>
                  </a:lnTo>
                  <a:lnTo>
                    <a:pt x="21600" y="15447"/>
                  </a:lnTo>
                  <a:lnTo>
                    <a:pt x="15100" y="14824"/>
                  </a:lnTo>
                  <a:lnTo>
                    <a:pt x="10412" y="21600"/>
                  </a:lnTo>
                  <a:lnTo>
                    <a:pt x="4161" y="15786"/>
                  </a:lnTo>
                  <a:lnTo>
                    <a:pt x="0" y="8515"/>
                  </a:lnTo>
                  <a:lnTo>
                    <a:pt x="3564" y="3114"/>
                  </a:lnTo>
                  <a:lnTo>
                    <a:pt x="8770" y="0"/>
                  </a:lnTo>
                  <a:lnTo>
                    <a:pt x="11859" y="1149"/>
                  </a:lnTo>
                  <a:close/>
                </a:path>
              </a:pathLst>
            </a:custGeom>
            <a:grpFill/>
            <a:ln w="25400" cap="flat">
              <a:noFill/>
              <a:prstDash val="solid"/>
              <a:miter lim="400000"/>
            </a:ln>
            <a:effectLst/>
          </p:spPr>
          <p:txBody>
            <a:bodyPr anchor="ctr"/>
            <a:lstStyle/>
            <a:p>
              <a:pPr algn="ctr"/>
              <a:endParaRPr/>
            </a:p>
          </p:txBody>
        </p:sp>
        <p:sp>
          <p:nvSpPr>
            <p:cNvPr id="292" name="任意多边形: 形状 291">
              <a:extLst>
                <a:ext uri="{FF2B5EF4-FFF2-40B4-BE49-F238E27FC236}">
                  <a16:creationId xmlns:a16="http://schemas.microsoft.com/office/drawing/2014/main" id="{7828927D-07BF-4A3C-883C-3B35A109CCD3}"/>
                </a:ext>
              </a:extLst>
            </p:cNvPr>
            <p:cNvSpPr/>
            <p:nvPr/>
          </p:nvSpPr>
          <p:spPr>
            <a:xfrm>
              <a:off x="9520068" y="4428015"/>
              <a:ext cx="55095" cy="31317"/>
            </a:xfrm>
            <a:custGeom>
              <a:avLst/>
              <a:gdLst/>
              <a:ahLst/>
              <a:cxnLst>
                <a:cxn ang="0">
                  <a:pos x="wd2" y="hd2"/>
                </a:cxn>
                <a:cxn ang="5400000">
                  <a:pos x="wd2" y="hd2"/>
                </a:cxn>
                <a:cxn ang="10800000">
                  <a:pos x="wd2" y="hd2"/>
                </a:cxn>
                <a:cxn ang="16200000">
                  <a:pos x="wd2" y="hd2"/>
                </a:cxn>
              </a:cxnLst>
              <a:rect l="0" t="0" r="r" b="b"/>
              <a:pathLst>
                <a:path w="21600" h="21600" extrusionOk="0">
                  <a:moveTo>
                    <a:pt x="7893" y="1028"/>
                  </a:moveTo>
                  <a:lnTo>
                    <a:pt x="16832" y="971"/>
                  </a:lnTo>
                  <a:lnTo>
                    <a:pt x="20420" y="11208"/>
                  </a:lnTo>
                  <a:lnTo>
                    <a:pt x="21600" y="21600"/>
                  </a:lnTo>
                  <a:lnTo>
                    <a:pt x="16982" y="18870"/>
                  </a:lnTo>
                  <a:lnTo>
                    <a:pt x="11664" y="14489"/>
                  </a:lnTo>
                  <a:lnTo>
                    <a:pt x="5019" y="13095"/>
                  </a:lnTo>
                  <a:lnTo>
                    <a:pt x="0" y="8275"/>
                  </a:lnTo>
                  <a:lnTo>
                    <a:pt x="451" y="0"/>
                  </a:lnTo>
                  <a:lnTo>
                    <a:pt x="7893" y="1028"/>
                  </a:lnTo>
                  <a:close/>
                </a:path>
              </a:pathLst>
            </a:custGeom>
            <a:grpFill/>
            <a:ln w="25400" cap="flat">
              <a:noFill/>
              <a:prstDash val="solid"/>
              <a:miter lim="400000"/>
            </a:ln>
            <a:effectLst/>
          </p:spPr>
          <p:txBody>
            <a:bodyPr anchor="ctr"/>
            <a:lstStyle/>
            <a:p>
              <a:pPr algn="ctr"/>
              <a:endParaRPr/>
            </a:p>
          </p:txBody>
        </p:sp>
        <p:sp>
          <p:nvSpPr>
            <p:cNvPr id="293" name="任意多边形: 形状 292">
              <a:extLst>
                <a:ext uri="{FF2B5EF4-FFF2-40B4-BE49-F238E27FC236}">
                  <a16:creationId xmlns:a16="http://schemas.microsoft.com/office/drawing/2014/main" id="{25012B1C-4684-4362-81C8-A9D847D21A7C}"/>
                </a:ext>
              </a:extLst>
            </p:cNvPr>
            <p:cNvSpPr/>
            <p:nvPr/>
          </p:nvSpPr>
          <p:spPr>
            <a:xfrm>
              <a:off x="9067733" y="4304888"/>
              <a:ext cx="331335" cy="94555"/>
            </a:xfrm>
            <a:custGeom>
              <a:avLst/>
              <a:gdLst/>
              <a:ahLst/>
              <a:cxnLst>
                <a:cxn ang="0">
                  <a:pos x="wd2" y="hd2"/>
                </a:cxn>
                <a:cxn ang="5400000">
                  <a:pos x="wd2" y="hd2"/>
                </a:cxn>
                <a:cxn ang="10800000">
                  <a:pos x="wd2" y="hd2"/>
                </a:cxn>
                <a:cxn ang="16200000">
                  <a:pos x="wd2" y="hd2"/>
                </a:cxn>
              </a:cxnLst>
              <a:rect l="0" t="0" r="r" b="b"/>
              <a:pathLst>
                <a:path w="21600" h="21600" extrusionOk="0">
                  <a:moveTo>
                    <a:pt x="3462" y="0"/>
                  </a:moveTo>
                  <a:lnTo>
                    <a:pt x="5763" y="1193"/>
                  </a:lnTo>
                  <a:lnTo>
                    <a:pt x="7140" y="6505"/>
                  </a:lnTo>
                  <a:lnTo>
                    <a:pt x="8532" y="9504"/>
                  </a:lnTo>
                  <a:lnTo>
                    <a:pt x="10248" y="8812"/>
                  </a:lnTo>
                  <a:lnTo>
                    <a:pt x="11883" y="6582"/>
                  </a:lnTo>
                  <a:lnTo>
                    <a:pt x="13403" y="5274"/>
                  </a:lnTo>
                  <a:lnTo>
                    <a:pt x="14790" y="7803"/>
                  </a:lnTo>
                  <a:lnTo>
                    <a:pt x="15917" y="11562"/>
                  </a:lnTo>
                  <a:lnTo>
                    <a:pt x="17221" y="12706"/>
                  </a:lnTo>
                  <a:lnTo>
                    <a:pt x="18945" y="12706"/>
                  </a:lnTo>
                  <a:lnTo>
                    <a:pt x="21465" y="16859"/>
                  </a:lnTo>
                  <a:lnTo>
                    <a:pt x="21600" y="19533"/>
                  </a:lnTo>
                  <a:lnTo>
                    <a:pt x="21006" y="21369"/>
                  </a:lnTo>
                  <a:lnTo>
                    <a:pt x="19970" y="21600"/>
                  </a:lnTo>
                  <a:lnTo>
                    <a:pt x="18003" y="19138"/>
                  </a:lnTo>
                  <a:lnTo>
                    <a:pt x="15022" y="18215"/>
                  </a:lnTo>
                  <a:lnTo>
                    <a:pt x="11204" y="18215"/>
                  </a:lnTo>
                  <a:lnTo>
                    <a:pt x="9900" y="15985"/>
                  </a:lnTo>
                  <a:lnTo>
                    <a:pt x="8817" y="13601"/>
                  </a:lnTo>
                  <a:lnTo>
                    <a:pt x="7759" y="13380"/>
                  </a:lnTo>
                  <a:lnTo>
                    <a:pt x="6457" y="15686"/>
                  </a:lnTo>
                  <a:cubicBezTo>
                    <a:pt x="6016" y="15792"/>
                    <a:pt x="5574" y="15767"/>
                    <a:pt x="5134" y="15610"/>
                  </a:cubicBezTo>
                  <a:cubicBezTo>
                    <a:pt x="4240" y="15293"/>
                    <a:pt x="3369" y="14440"/>
                    <a:pt x="2559" y="13091"/>
                  </a:cubicBezTo>
                  <a:cubicBezTo>
                    <a:pt x="2427" y="12283"/>
                    <a:pt x="2248" y="11576"/>
                    <a:pt x="2036" y="11014"/>
                  </a:cubicBezTo>
                  <a:cubicBezTo>
                    <a:pt x="1623" y="9923"/>
                    <a:pt x="1105" y="9427"/>
                    <a:pt x="590" y="9629"/>
                  </a:cubicBezTo>
                  <a:lnTo>
                    <a:pt x="0" y="6938"/>
                  </a:lnTo>
                  <a:lnTo>
                    <a:pt x="743" y="3332"/>
                  </a:lnTo>
                  <a:lnTo>
                    <a:pt x="1495" y="2410"/>
                  </a:lnTo>
                  <a:lnTo>
                    <a:pt x="3462" y="0"/>
                  </a:lnTo>
                  <a:close/>
                </a:path>
              </a:pathLst>
            </a:custGeom>
            <a:grpFill/>
            <a:ln w="25400" cap="flat">
              <a:noFill/>
              <a:prstDash val="solid"/>
              <a:miter lim="400000"/>
            </a:ln>
            <a:effectLst/>
          </p:spPr>
          <p:txBody>
            <a:bodyPr anchor="ctr"/>
            <a:lstStyle/>
            <a:p>
              <a:pPr algn="ctr"/>
              <a:endParaRPr/>
            </a:p>
          </p:txBody>
        </p:sp>
        <p:sp>
          <p:nvSpPr>
            <p:cNvPr id="294" name="任意多边形: 形状 293">
              <a:extLst>
                <a:ext uri="{FF2B5EF4-FFF2-40B4-BE49-F238E27FC236}">
                  <a16:creationId xmlns:a16="http://schemas.microsoft.com/office/drawing/2014/main" id="{F490D2DF-7B30-4A85-A52C-E94739ED1618}"/>
                </a:ext>
              </a:extLst>
            </p:cNvPr>
            <p:cNvSpPr/>
            <p:nvPr/>
          </p:nvSpPr>
          <p:spPr>
            <a:xfrm>
              <a:off x="8739813" y="3881623"/>
              <a:ext cx="352969" cy="414364"/>
            </a:xfrm>
            <a:custGeom>
              <a:avLst/>
              <a:gdLst/>
              <a:ahLst/>
              <a:cxnLst>
                <a:cxn ang="0">
                  <a:pos x="wd2" y="hd2"/>
                </a:cxn>
                <a:cxn ang="5400000">
                  <a:pos x="wd2" y="hd2"/>
                </a:cxn>
                <a:cxn ang="10800000">
                  <a:pos x="wd2" y="hd2"/>
                </a:cxn>
                <a:cxn ang="16200000">
                  <a:pos x="wd2" y="hd2"/>
                </a:cxn>
              </a:cxnLst>
              <a:rect l="0" t="0" r="r" b="b"/>
              <a:pathLst>
                <a:path w="21600" h="21600" extrusionOk="0">
                  <a:moveTo>
                    <a:pt x="0" y="184"/>
                  </a:moveTo>
                  <a:lnTo>
                    <a:pt x="993" y="0"/>
                  </a:lnTo>
                  <a:lnTo>
                    <a:pt x="1986" y="598"/>
                  </a:lnTo>
                  <a:lnTo>
                    <a:pt x="2816" y="1157"/>
                  </a:lnTo>
                  <a:lnTo>
                    <a:pt x="4289" y="1420"/>
                  </a:lnTo>
                  <a:lnTo>
                    <a:pt x="5451" y="2210"/>
                  </a:lnTo>
                  <a:lnTo>
                    <a:pt x="5555" y="3015"/>
                  </a:lnTo>
                  <a:lnTo>
                    <a:pt x="6776" y="3171"/>
                  </a:lnTo>
                  <a:lnTo>
                    <a:pt x="7274" y="4172"/>
                  </a:lnTo>
                  <a:lnTo>
                    <a:pt x="7521" y="5067"/>
                  </a:lnTo>
                  <a:lnTo>
                    <a:pt x="8703" y="5646"/>
                  </a:lnTo>
                  <a:lnTo>
                    <a:pt x="10010" y="6313"/>
                  </a:lnTo>
                  <a:lnTo>
                    <a:pt x="11379" y="7204"/>
                  </a:lnTo>
                  <a:lnTo>
                    <a:pt x="13037" y="8026"/>
                  </a:lnTo>
                  <a:lnTo>
                    <a:pt x="14033" y="8799"/>
                  </a:lnTo>
                  <a:lnTo>
                    <a:pt x="14551" y="9185"/>
                  </a:lnTo>
                  <a:lnTo>
                    <a:pt x="15132" y="9746"/>
                  </a:lnTo>
                  <a:lnTo>
                    <a:pt x="15630" y="10424"/>
                  </a:lnTo>
                  <a:lnTo>
                    <a:pt x="15570" y="11405"/>
                  </a:lnTo>
                  <a:lnTo>
                    <a:pt x="15570" y="12087"/>
                  </a:lnTo>
                  <a:lnTo>
                    <a:pt x="16649" y="12471"/>
                  </a:lnTo>
                  <a:lnTo>
                    <a:pt x="17617" y="13079"/>
                  </a:lnTo>
                  <a:lnTo>
                    <a:pt x="17866" y="14746"/>
                  </a:lnTo>
                  <a:lnTo>
                    <a:pt x="19276" y="15306"/>
                  </a:lnTo>
                  <a:lnTo>
                    <a:pt x="20065" y="16197"/>
                  </a:lnTo>
                  <a:lnTo>
                    <a:pt x="20874" y="16512"/>
                  </a:lnTo>
                  <a:lnTo>
                    <a:pt x="21247" y="17881"/>
                  </a:lnTo>
                  <a:lnTo>
                    <a:pt x="21600" y="18880"/>
                  </a:lnTo>
                  <a:lnTo>
                    <a:pt x="20980" y="20073"/>
                  </a:lnTo>
                  <a:lnTo>
                    <a:pt x="19738" y="21284"/>
                  </a:lnTo>
                  <a:lnTo>
                    <a:pt x="18825" y="21600"/>
                  </a:lnTo>
                  <a:lnTo>
                    <a:pt x="17920" y="20918"/>
                  </a:lnTo>
                  <a:lnTo>
                    <a:pt x="16761" y="20657"/>
                  </a:lnTo>
                  <a:lnTo>
                    <a:pt x="16221" y="20130"/>
                  </a:lnTo>
                  <a:lnTo>
                    <a:pt x="15871" y="19375"/>
                  </a:lnTo>
                  <a:lnTo>
                    <a:pt x="14730" y="18518"/>
                  </a:lnTo>
                  <a:lnTo>
                    <a:pt x="12845" y="16958"/>
                  </a:lnTo>
                  <a:cubicBezTo>
                    <a:pt x="12017" y="16567"/>
                    <a:pt x="11468" y="15860"/>
                    <a:pt x="11372" y="15062"/>
                  </a:cubicBezTo>
                  <a:cubicBezTo>
                    <a:pt x="11299" y="14464"/>
                    <a:pt x="11495" y="13846"/>
                    <a:pt x="11270" y="13272"/>
                  </a:cubicBezTo>
                  <a:cubicBezTo>
                    <a:pt x="11040" y="12683"/>
                    <a:pt x="10437" y="12286"/>
                    <a:pt x="9880" y="11886"/>
                  </a:cubicBezTo>
                  <a:cubicBezTo>
                    <a:pt x="9302" y="11470"/>
                    <a:pt x="8755" y="11024"/>
                    <a:pt x="8241" y="10552"/>
                  </a:cubicBezTo>
                  <a:lnTo>
                    <a:pt x="7806" y="8674"/>
                  </a:lnTo>
                  <a:lnTo>
                    <a:pt x="6997" y="7096"/>
                  </a:lnTo>
                  <a:lnTo>
                    <a:pt x="5321" y="5752"/>
                  </a:lnTo>
                  <a:lnTo>
                    <a:pt x="3277" y="4023"/>
                  </a:lnTo>
                  <a:lnTo>
                    <a:pt x="2077" y="3410"/>
                  </a:lnTo>
                  <a:lnTo>
                    <a:pt x="505" y="1818"/>
                  </a:lnTo>
                  <a:lnTo>
                    <a:pt x="256" y="1168"/>
                  </a:lnTo>
                  <a:lnTo>
                    <a:pt x="0" y="184"/>
                  </a:lnTo>
                  <a:close/>
                </a:path>
              </a:pathLst>
            </a:custGeom>
            <a:grpFill/>
            <a:ln w="25400" cap="flat">
              <a:noFill/>
              <a:prstDash val="solid"/>
              <a:miter lim="400000"/>
            </a:ln>
            <a:effectLst/>
          </p:spPr>
          <p:txBody>
            <a:bodyPr anchor="ctr"/>
            <a:lstStyle/>
            <a:p>
              <a:pPr algn="ctr"/>
              <a:endParaRPr/>
            </a:p>
          </p:txBody>
        </p:sp>
        <p:sp>
          <p:nvSpPr>
            <p:cNvPr id="295" name="任意多边形: 形状 294">
              <a:extLst>
                <a:ext uri="{FF2B5EF4-FFF2-40B4-BE49-F238E27FC236}">
                  <a16:creationId xmlns:a16="http://schemas.microsoft.com/office/drawing/2014/main" id="{CB19639F-1E9A-483B-84D1-AB2EC3D71013}"/>
                </a:ext>
              </a:extLst>
            </p:cNvPr>
            <p:cNvSpPr/>
            <p:nvPr/>
          </p:nvSpPr>
          <p:spPr>
            <a:xfrm>
              <a:off x="8199229" y="3742697"/>
              <a:ext cx="76119" cy="114668"/>
            </a:xfrm>
            <a:custGeom>
              <a:avLst/>
              <a:gdLst/>
              <a:ahLst/>
              <a:cxnLst>
                <a:cxn ang="0">
                  <a:pos x="wd2" y="hd2"/>
                </a:cxn>
                <a:cxn ang="5400000">
                  <a:pos x="wd2" y="hd2"/>
                </a:cxn>
                <a:cxn ang="10800000">
                  <a:pos x="wd2" y="hd2"/>
                </a:cxn>
                <a:cxn ang="16200000">
                  <a:pos x="wd2" y="hd2"/>
                </a:cxn>
              </a:cxnLst>
              <a:rect l="0" t="0" r="r" b="b"/>
              <a:pathLst>
                <a:path w="21600" h="21600" extrusionOk="0">
                  <a:moveTo>
                    <a:pt x="4600" y="0"/>
                  </a:moveTo>
                  <a:lnTo>
                    <a:pt x="8713" y="182"/>
                  </a:lnTo>
                  <a:lnTo>
                    <a:pt x="10921" y="4429"/>
                  </a:lnTo>
                  <a:lnTo>
                    <a:pt x="14685" y="8044"/>
                  </a:lnTo>
                  <a:lnTo>
                    <a:pt x="18425" y="9946"/>
                  </a:lnTo>
                  <a:lnTo>
                    <a:pt x="21600" y="14767"/>
                  </a:lnTo>
                  <a:lnTo>
                    <a:pt x="19964" y="17676"/>
                  </a:lnTo>
                  <a:lnTo>
                    <a:pt x="13230" y="21600"/>
                  </a:lnTo>
                  <a:lnTo>
                    <a:pt x="5665" y="20649"/>
                  </a:lnTo>
                  <a:lnTo>
                    <a:pt x="3657" y="18389"/>
                  </a:lnTo>
                  <a:lnTo>
                    <a:pt x="2585" y="13196"/>
                  </a:lnTo>
                  <a:lnTo>
                    <a:pt x="0" y="7869"/>
                  </a:lnTo>
                  <a:lnTo>
                    <a:pt x="285" y="4698"/>
                  </a:lnTo>
                  <a:lnTo>
                    <a:pt x="4600" y="0"/>
                  </a:lnTo>
                  <a:close/>
                </a:path>
              </a:pathLst>
            </a:custGeom>
            <a:grpFill/>
            <a:ln w="25400" cap="flat">
              <a:noFill/>
              <a:prstDash val="solid"/>
              <a:miter lim="400000"/>
            </a:ln>
            <a:effectLst/>
          </p:spPr>
          <p:txBody>
            <a:bodyPr anchor="ctr"/>
            <a:lstStyle/>
            <a:p>
              <a:pPr algn="ctr"/>
              <a:endParaRPr/>
            </a:p>
          </p:txBody>
        </p:sp>
        <p:sp>
          <p:nvSpPr>
            <p:cNvPr id="296" name="任意多边形: 形状 295">
              <a:extLst>
                <a:ext uri="{FF2B5EF4-FFF2-40B4-BE49-F238E27FC236}">
                  <a16:creationId xmlns:a16="http://schemas.microsoft.com/office/drawing/2014/main" id="{7FAE8C72-4AA1-4EE8-BB7A-57806D0BF2C3}"/>
                </a:ext>
              </a:extLst>
            </p:cNvPr>
            <p:cNvSpPr/>
            <p:nvPr/>
          </p:nvSpPr>
          <p:spPr>
            <a:xfrm>
              <a:off x="7957224" y="3867942"/>
              <a:ext cx="20203" cy="24844"/>
            </a:xfrm>
            <a:custGeom>
              <a:avLst/>
              <a:gdLst/>
              <a:ahLst/>
              <a:cxnLst>
                <a:cxn ang="0">
                  <a:pos x="wd2" y="hd2"/>
                </a:cxn>
                <a:cxn ang="5400000">
                  <a:pos x="wd2" y="hd2"/>
                </a:cxn>
                <a:cxn ang="10800000">
                  <a:pos x="wd2" y="hd2"/>
                </a:cxn>
                <a:cxn ang="16200000">
                  <a:pos x="wd2" y="hd2"/>
                </a:cxn>
              </a:cxnLst>
              <a:rect l="0" t="0" r="r" b="b"/>
              <a:pathLst>
                <a:path w="21600" h="21600" extrusionOk="0">
                  <a:moveTo>
                    <a:pt x="8606" y="3000"/>
                  </a:moveTo>
                  <a:lnTo>
                    <a:pt x="21600" y="0"/>
                  </a:lnTo>
                  <a:lnTo>
                    <a:pt x="18445" y="10511"/>
                  </a:lnTo>
                  <a:lnTo>
                    <a:pt x="15227" y="21600"/>
                  </a:lnTo>
                  <a:lnTo>
                    <a:pt x="0" y="20686"/>
                  </a:lnTo>
                  <a:lnTo>
                    <a:pt x="8606" y="3000"/>
                  </a:lnTo>
                  <a:close/>
                </a:path>
              </a:pathLst>
            </a:custGeom>
            <a:grpFill/>
            <a:ln w="25400" cap="flat">
              <a:noFill/>
              <a:prstDash val="solid"/>
              <a:miter lim="400000"/>
            </a:ln>
            <a:effectLst/>
          </p:spPr>
          <p:txBody>
            <a:bodyPr anchor="ctr"/>
            <a:lstStyle/>
            <a:p>
              <a:pPr algn="ctr"/>
              <a:endParaRPr/>
            </a:p>
          </p:txBody>
        </p:sp>
        <p:sp>
          <p:nvSpPr>
            <p:cNvPr id="297" name="任意多边形: 形状 296">
              <a:extLst>
                <a:ext uri="{FF2B5EF4-FFF2-40B4-BE49-F238E27FC236}">
                  <a16:creationId xmlns:a16="http://schemas.microsoft.com/office/drawing/2014/main" id="{6A3020B6-4EB8-4E5F-9FB7-E3174A37608D}"/>
                </a:ext>
              </a:extLst>
            </p:cNvPr>
            <p:cNvSpPr/>
            <p:nvPr/>
          </p:nvSpPr>
          <p:spPr>
            <a:xfrm>
              <a:off x="7953865" y="3917350"/>
              <a:ext cx="21543" cy="20151"/>
            </a:xfrm>
            <a:custGeom>
              <a:avLst/>
              <a:gdLst/>
              <a:ahLst/>
              <a:cxnLst>
                <a:cxn ang="0">
                  <a:pos x="wd2" y="hd2"/>
                </a:cxn>
                <a:cxn ang="5400000">
                  <a:pos x="wd2" y="hd2"/>
                </a:cxn>
                <a:cxn ang="10800000">
                  <a:pos x="wd2" y="hd2"/>
                </a:cxn>
                <a:cxn ang="16200000">
                  <a:pos x="wd2" y="hd2"/>
                </a:cxn>
              </a:cxnLst>
              <a:rect l="0" t="0" r="r" b="b"/>
              <a:pathLst>
                <a:path w="21600" h="21600" extrusionOk="0">
                  <a:moveTo>
                    <a:pt x="10494" y="0"/>
                  </a:moveTo>
                  <a:lnTo>
                    <a:pt x="0" y="8708"/>
                  </a:lnTo>
                  <a:lnTo>
                    <a:pt x="11400" y="21600"/>
                  </a:lnTo>
                  <a:lnTo>
                    <a:pt x="21600" y="9737"/>
                  </a:lnTo>
                  <a:lnTo>
                    <a:pt x="10494" y="0"/>
                  </a:lnTo>
                  <a:close/>
                </a:path>
              </a:pathLst>
            </a:custGeom>
            <a:grpFill/>
            <a:ln w="25400" cap="flat">
              <a:noFill/>
              <a:prstDash val="solid"/>
              <a:miter lim="400000"/>
            </a:ln>
            <a:effectLst/>
          </p:spPr>
          <p:txBody>
            <a:bodyPr anchor="ctr"/>
            <a:lstStyle/>
            <a:p>
              <a:pPr algn="ctr"/>
              <a:endParaRPr/>
            </a:p>
          </p:txBody>
        </p:sp>
        <p:sp>
          <p:nvSpPr>
            <p:cNvPr id="298" name="任意多边形: 形状 297">
              <a:extLst>
                <a:ext uri="{FF2B5EF4-FFF2-40B4-BE49-F238E27FC236}">
                  <a16:creationId xmlns:a16="http://schemas.microsoft.com/office/drawing/2014/main" id="{45A676F7-3A09-41D9-A2E2-35C0B2522152}"/>
                </a:ext>
              </a:extLst>
            </p:cNvPr>
            <p:cNvSpPr/>
            <p:nvPr/>
          </p:nvSpPr>
          <p:spPr>
            <a:xfrm>
              <a:off x="7931635" y="3837005"/>
              <a:ext cx="18834" cy="20358"/>
            </a:xfrm>
            <a:custGeom>
              <a:avLst/>
              <a:gdLst/>
              <a:ahLst/>
              <a:cxnLst>
                <a:cxn ang="0">
                  <a:pos x="wd2" y="hd2"/>
                </a:cxn>
                <a:cxn ang="5400000">
                  <a:pos x="wd2" y="hd2"/>
                </a:cxn>
                <a:cxn ang="10800000">
                  <a:pos x="wd2" y="hd2"/>
                </a:cxn>
                <a:cxn ang="16200000">
                  <a:pos x="wd2" y="hd2"/>
                </a:cxn>
              </a:cxnLst>
              <a:rect l="0" t="0" r="r" b="b"/>
              <a:pathLst>
                <a:path w="21600" h="21600" extrusionOk="0">
                  <a:moveTo>
                    <a:pt x="11886" y="0"/>
                  </a:moveTo>
                  <a:lnTo>
                    <a:pt x="0" y="12052"/>
                  </a:lnTo>
                  <a:lnTo>
                    <a:pt x="10759" y="21600"/>
                  </a:lnTo>
                  <a:lnTo>
                    <a:pt x="21600" y="9540"/>
                  </a:lnTo>
                  <a:lnTo>
                    <a:pt x="11886" y="0"/>
                  </a:lnTo>
                  <a:close/>
                </a:path>
              </a:pathLst>
            </a:custGeom>
            <a:grpFill/>
            <a:ln w="25400" cap="flat">
              <a:noFill/>
              <a:prstDash val="solid"/>
              <a:miter lim="400000"/>
            </a:ln>
            <a:effectLst/>
          </p:spPr>
          <p:txBody>
            <a:bodyPr anchor="ctr"/>
            <a:lstStyle/>
            <a:p>
              <a:pPr algn="ctr"/>
              <a:endParaRPr/>
            </a:p>
          </p:txBody>
        </p:sp>
        <p:sp>
          <p:nvSpPr>
            <p:cNvPr id="299" name="任意多边形: 形状 298">
              <a:extLst>
                <a:ext uri="{FF2B5EF4-FFF2-40B4-BE49-F238E27FC236}">
                  <a16:creationId xmlns:a16="http://schemas.microsoft.com/office/drawing/2014/main" id="{4DDA0F4C-4E8A-40D3-BDC3-7233DCD704E4}"/>
                </a:ext>
              </a:extLst>
            </p:cNvPr>
            <p:cNvSpPr/>
            <p:nvPr/>
          </p:nvSpPr>
          <p:spPr>
            <a:xfrm>
              <a:off x="7171214" y="3107084"/>
              <a:ext cx="22347" cy="31175"/>
            </a:xfrm>
            <a:custGeom>
              <a:avLst/>
              <a:gdLst/>
              <a:ahLst/>
              <a:cxnLst>
                <a:cxn ang="0">
                  <a:pos x="wd2" y="hd2"/>
                </a:cxn>
                <a:cxn ang="5400000">
                  <a:pos x="wd2" y="hd2"/>
                </a:cxn>
                <a:cxn ang="10800000">
                  <a:pos x="wd2" y="hd2"/>
                </a:cxn>
                <a:cxn ang="16200000">
                  <a:pos x="wd2" y="hd2"/>
                </a:cxn>
              </a:cxnLst>
              <a:rect l="0" t="0" r="r" b="b"/>
              <a:pathLst>
                <a:path w="21600" h="21600" extrusionOk="0">
                  <a:moveTo>
                    <a:pt x="18226" y="0"/>
                  </a:moveTo>
                  <a:lnTo>
                    <a:pt x="0" y="6738"/>
                  </a:lnTo>
                  <a:lnTo>
                    <a:pt x="6059" y="21600"/>
                  </a:lnTo>
                  <a:lnTo>
                    <a:pt x="21600" y="18596"/>
                  </a:lnTo>
                  <a:lnTo>
                    <a:pt x="18226" y="0"/>
                  </a:lnTo>
                  <a:close/>
                </a:path>
              </a:pathLst>
            </a:custGeom>
            <a:grpFill/>
            <a:ln w="25400" cap="flat">
              <a:noFill/>
              <a:prstDash val="solid"/>
              <a:miter lim="400000"/>
            </a:ln>
            <a:effectLst/>
          </p:spPr>
          <p:txBody>
            <a:bodyPr anchor="ctr"/>
            <a:lstStyle/>
            <a:p>
              <a:pPr algn="ctr"/>
              <a:endParaRPr/>
            </a:p>
          </p:txBody>
        </p:sp>
        <p:sp>
          <p:nvSpPr>
            <p:cNvPr id="300" name="任意多边形: 形状 299">
              <a:extLst>
                <a:ext uri="{FF2B5EF4-FFF2-40B4-BE49-F238E27FC236}">
                  <a16:creationId xmlns:a16="http://schemas.microsoft.com/office/drawing/2014/main" id="{54FC5AFE-3776-4E2E-812F-0C7E913D842D}"/>
                </a:ext>
              </a:extLst>
            </p:cNvPr>
            <p:cNvSpPr/>
            <p:nvPr/>
          </p:nvSpPr>
          <p:spPr>
            <a:xfrm>
              <a:off x="6561284" y="2785626"/>
              <a:ext cx="67222" cy="44468"/>
            </a:xfrm>
            <a:custGeom>
              <a:avLst/>
              <a:gdLst/>
              <a:ahLst/>
              <a:cxnLst>
                <a:cxn ang="0">
                  <a:pos x="wd2" y="hd2"/>
                </a:cxn>
                <a:cxn ang="5400000">
                  <a:pos x="wd2" y="hd2"/>
                </a:cxn>
                <a:cxn ang="10800000">
                  <a:pos x="wd2" y="hd2"/>
                </a:cxn>
                <a:cxn ang="16200000">
                  <a:pos x="wd2" y="hd2"/>
                </a:cxn>
              </a:cxnLst>
              <a:rect l="0" t="0" r="r" b="b"/>
              <a:pathLst>
                <a:path w="21600" h="21600" extrusionOk="0">
                  <a:moveTo>
                    <a:pt x="16119" y="0"/>
                  </a:moveTo>
                  <a:lnTo>
                    <a:pt x="12851" y="4376"/>
                  </a:lnTo>
                  <a:lnTo>
                    <a:pt x="8517" y="6430"/>
                  </a:lnTo>
                  <a:lnTo>
                    <a:pt x="671" y="5939"/>
                  </a:lnTo>
                  <a:lnTo>
                    <a:pt x="0" y="12809"/>
                  </a:lnTo>
                  <a:lnTo>
                    <a:pt x="3338" y="16202"/>
                  </a:lnTo>
                  <a:lnTo>
                    <a:pt x="10189" y="21600"/>
                  </a:lnTo>
                  <a:lnTo>
                    <a:pt x="13007" y="15425"/>
                  </a:lnTo>
                  <a:lnTo>
                    <a:pt x="16167" y="10356"/>
                  </a:lnTo>
                  <a:lnTo>
                    <a:pt x="19327" y="7105"/>
                  </a:lnTo>
                  <a:lnTo>
                    <a:pt x="21600" y="1381"/>
                  </a:lnTo>
                  <a:lnTo>
                    <a:pt x="16119" y="0"/>
                  </a:lnTo>
                  <a:close/>
                </a:path>
              </a:pathLst>
            </a:custGeom>
            <a:grpFill/>
            <a:ln w="25400" cap="flat">
              <a:noFill/>
              <a:prstDash val="solid"/>
              <a:miter lim="400000"/>
            </a:ln>
            <a:effectLst/>
          </p:spPr>
          <p:txBody>
            <a:bodyPr anchor="ctr"/>
            <a:lstStyle/>
            <a:p>
              <a:pPr algn="ctr"/>
              <a:endParaRPr/>
            </a:p>
          </p:txBody>
        </p:sp>
        <p:sp>
          <p:nvSpPr>
            <p:cNvPr id="301" name="任意多边形: 形状 300">
              <a:extLst>
                <a:ext uri="{FF2B5EF4-FFF2-40B4-BE49-F238E27FC236}">
                  <a16:creationId xmlns:a16="http://schemas.microsoft.com/office/drawing/2014/main" id="{31A30D24-85F1-44AC-A02D-C6A5E7BDC18F}"/>
                </a:ext>
              </a:extLst>
            </p:cNvPr>
            <p:cNvSpPr/>
            <p:nvPr/>
          </p:nvSpPr>
          <p:spPr>
            <a:xfrm>
              <a:off x="5255087" y="1585911"/>
              <a:ext cx="2042366" cy="1189722"/>
            </a:xfrm>
            <a:custGeom>
              <a:avLst/>
              <a:gdLst/>
              <a:ahLst/>
              <a:cxnLst>
                <a:cxn ang="0">
                  <a:pos x="wd2" y="hd2"/>
                </a:cxn>
                <a:cxn ang="5400000">
                  <a:pos x="wd2" y="hd2"/>
                </a:cxn>
                <a:cxn ang="10800000">
                  <a:pos x="wd2" y="hd2"/>
                </a:cxn>
                <a:cxn ang="16200000">
                  <a:pos x="wd2" y="hd2"/>
                </a:cxn>
              </a:cxnLst>
              <a:rect l="0" t="0" r="r" b="b"/>
              <a:pathLst>
                <a:path w="21600" h="21600" extrusionOk="0">
                  <a:moveTo>
                    <a:pt x="20807" y="1150"/>
                  </a:moveTo>
                  <a:lnTo>
                    <a:pt x="20140" y="892"/>
                  </a:lnTo>
                  <a:lnTo>
                    <a:pt x="19827" y="747"/>
                  </a:lnTo>
                  <a:lnTo>
                    <a:pt x="19506" y="542"/>
                  </a:lnTo>
                  <a:lnTo>
                    <a:pt x="19194" y="459"/>
                  </a:lnTo>
                  <a:lnTo>
                    <a:pt x="18976" y="267"/>
                  </a:lnTo>
                  <a:lnTo>
                    <a:pt x="18803" y="212"/>
                  </a:lnTo>
                  <a:lnTo>
                    <a:pt x="18690" y="293"/>
                  </a:lnTo>
                  <a:lnTo>
                    <a:pt x="18482" y="457"/>
                  </a:lnTo>
                  <a:lnTo>
                    <a:pt x="18589" y="626"/>
                  </a:lnTo>
                  <a:lnTo>
                    <a:pt x="18799" y="626"/>
                  </a:lnTo>
                  <a:lnTo>
                    <a:pt x="18944" y="749"/>
                  </a:lnTo>
                  <a:lnTo>
                    <a:pt x="19057" y="799"/>
                  </a:lnTo>
                  <a:lnTo>
                    <a:pt x="19162" y="663"/>
                  </a:lnTo>
                  <a:lnTo>
                    <a:pt x="19282" y="649"/>
                  </a:lnTo>
                  <a:lnTo>
                    <a:pt x="19425" y="814"/>
                  </a:lnTo>
                  <a:lnTo>
                    <a:pt x="19336" y="1164"/>
                  </a:lnTo>
                  <a:lnTo>
                    <a:pt x="19232" y="1314"/>
                  </a:lnTo>
                  <a:lnTo>
                    <a:pt x="19042" y="1149"/>
                  </a:lnTo>
                  <a:lnTo>
                    <a:pt x="18875" y="1149"/>
                  </a:lnTo>
                  <a:lnTo>
                    <a:pt x="18733" y="1250"/>
                  </a:lnTo>
                  <a:lnTo>
                    <a:pt x="18426" y="1346"/>
                  </a:lnTo>
                  <a:lnTo>
                    <a:pt x="18234" y="1428"/>
                  </a:lnTo>
                  <a:lnTo>
                    <a:pt x="18001" y="1483"/>
                  </a:lnTo>
                  <a:lnTo>
                    <a:pt x="17885" y="1455"/>
                  </a:lnTo>
                  <a:lnTo>
                    <a:pt x="17764" y="1282"/>
                  </a:lnTo>
                  <a:lnTo>
                    <a:pt x="17591" y="1204"/>
                  </a:lnTo>
                  <a:lnTo>
                    <a:pt x="17472" y="1218"/>
                  </a:lnTo>
                  <a:lnTo>
                    <a:pt x="17205" y="1314"/>
                  </a:lnTo>
                  <a:lnTo>
                    <a:pt x="16942" y="1479"/>
                  </a:lnTo>
                  <a:lnTo>
                    <a:pt x="16671" y="1671"/>
                  </a:lnTo>
                  <a:lnTo>
                    <a:pt x="16451" y="1882"/>
                  </a:lnTo>
                  <a:lnTo>
                    <a:pt x="16191" y="2147"/>
                  </a:lnTo>
                  <a:lnTo>
                    <a:pt x="16038" y="2203"/>
                  </a:lnTo>
                  <a:lnTo>
                    <a:pt x="15932" y="2029"/>
                  </a:lnTo>
                  <a:lnTo>
                    <a:pt x="15829" y="1988"/>
                  </a:lnTo>
                  <a:lnTo>
                    <a:pt x="15732" y="1892"/>
                  </a:lnTo>
                  <a:lnTo>
                    <a:pt x="15762" y="1710"/>
                  </a:lnTo>
                  <a:lnTo>
                    <a:pt x="15657" y="1417"/>
                  </a:lnTo>
                  <a:lnTo>
                    <a:pt x="15517" y="1390"/>
                  </a:lnTo>
                  <a:lnTo>
                    <a:pt x="15378" y="1390"/>
                  </a:lnTo>
                  <a:lnTo>
                    <a:pt x="15253" y="1481"/>
                  </a:lnTo>
                  <a:lnTo>
                    <a:pt x="15278" y="1641"/>
                  </a:lnTo>
                  <a:lnTo>
                    <a:pt x="15392" y="1819"/>
                  </a:lnTo>
                  <a:lnTo>
                    <a:pt x="15384" y="1998"/>
                  </a:lnTo>
                  <a:lnTo>
                    <a:pt x="15457" y="2135"/>
                  </a:lnTo>
                  <a:lnTo>
                    <a:pt x="15449" y="2313"/>
                  </a:lnTo>
                  <a:lnTo>
                    <a:pt x="15372" y="2418"/>
                  </a:lnTo>
                  <a:lnTo>
                    <a:pt x="15165" y="2528"/>
                  </a:lnTo>
                  <a:lnTo>
                    <a:pt x="14864" y="2652"/>
                  </a:lnTo>
                  <a:lnTo>
                    <a:pt x="14558" y="2802"/>
                  </a:lnTo>
                  <a:lnTo>
                    <a:pt x="14501" y="2964"/>
                  </a:lnTo>
                  <a:lnTo>
                    <a:pt x="14580" y="3129"/>
                  </a:lnTo>
                  <a:lnTo>
                    <a:pt x="14535" y="3260"/>
                  </a:lnTo>
                  <a:lnTo>
                    <a:pt x="14301" y="3357"/>
                  </a:lnTo>
                  <a:lnTo>
                    <a:pt x="14167" y="3571"/>
                  </a:lnTo>
                  <a:lnTo>
                    <a:pt x="14002" y="3383"/>
                  </a:lnTo>
                  <a:lnTo>
                    <a:pt x="13882" y="3233"/>
                  </a:lnTo>
                  <a:lnTo>
                    <a:pt x="13736" y="3151"/>
                  </a:lnTo>
                  <a:lnTo>
                    <a:pt x="13601" y="3165"/>
                  </a:lnTo>
                  <a:lnTo>
                    <a:pt x="13544" y="3303"/>
                  </a:lnTo>
                  <a:lnTo>
                    <a:pt x="13684" y="3412"/>
                  </a:lnTo>
                  <a:lnTo>
                    <a:pt x="13810" y="3412"/>
                  </a:lnTo>
                  <a:lnTo>
                    <a:pt x="13898" y="3509"/>
                  </a:lnTo>
                  <a:lnTo>
                    <a:pt x="13968" y="3600"/>
                  </a:lnTo>
                  <a:lnTo>
                    <a:pt x="14044" y="3723"/>
                  </a:lnTo>
                  <a:lnTo>
                    <a:pt x="13921" y="3938"/>
                  </a:lnTo>
                  <a:lnTo>
                    <a:pt x="13743" y="3952"/>
                  </a:lnTo>
                  <a:lnTo>
                    <a:pt x="13682" y="4102"/>
                  </a:lnTo>
                  <a:lnTo>
                    <a:pt x="13545" y="4125"/>
                  </a:lnTo>
                  <a:lnTo>
                    <a:pt x="13425" y="3918"/>
                  </a:lnTo>
                  <a:lnTo>
                    <a:pt x="13296" y="3768"/>
                  </a:lnTo>
                  <a:lnTo>
                    <a:pt x="13175" y="3714"/>
                  </a:lnTo>
                  <a:lnTo>
                    <a:pt x="13055" y="3663"/>
                  </a:lnTo>
                  <a:lnTo>
                    <a:pt x="12975" y="3430"/>
                  </a:lnTo>
                  <a:lnTo>
                    <a:pt x="12892" y="3238"/>
                  </a:lnTo>
                  <a:lnTo>
                    <a:pt x="12851" y="3047"/>
                  </a:lnTo>
                  <a:lnTo>
                    <a:pt x="12766" y="2877"/>
                  </a:lnTo>
                  <a:lnTo>
                    <a:pt x="12599" y="2739"/>
                  </a:lnTo>
                  <a:lnTo>
                    <a:pt x="12494" y="2631"/>
                  </a:lnTo>
                  <a:lnTo>
                    <a:pt x="12368" y="2420"/>
                  </a:lnTo>
                  <a:lnTo>
                    <a:pt x="12304" y="2245"/>
                  </a:lnTo>
                  <a:lnTo>
                    <a:pt x="12377" y="2017"/>
                  </a:lnTo>
                  <a:lnTo>
                    <a:pt x="12699" y="2003"/>
                  </a:lnTo>
                  <a:cubicBezTo>
                    <a:pt x="12738" y="2035"/>
                    <a:pt x="12777" y="2063"/>
                    <a:pt x="12817" y="2090"/>
                  </a:cubicBezTo>
                  <a:cubicBezTo>
                    <a:pt x="12952" y="2178"/>
                    <a:pt x="13094" y="2236"/>
                    <a:pt x="13239" y="2259"/>
                  </a:cubicBezTo>
                  <a:lnTo>
                    <a:pt x="13399" y="2479"/>
                  </a:lnTo>
                  <a:lnTo>
                    <a:pt x="13603" y="2506"/>
                  </a:lnTo>
                  <a:lnTo>
                    <a:pt x="13797" y="2506"/>
                  </a:lnTo>
                  <a:cubicBezTo>
                    <a:pt x="13873" y="2506"/>
                    <a:pt x="13949" y="2506"/>
                    <a:pt x="14025" y="2506"/>
                  </a:cubicBezTo>
                  <a:cubicBezTo>
                    <a:pt x="14058" y="2506"/>
                    <a:pt x="14090" y="2506"/>
                    <a:pt x="14122" y="2506"/>
                  </a:cubicBezTo>
                  <a:lnTo>
                    <a:pt x="14251" y="2356"/>
                  </a:lnTo>
                  <a:lnTo>
                    <a:pt x="14347" y="2302"/>
                  </a:lnTo>
                  <a:lnTo>
                    <a:pt x="14484" y="2237"/>
                  </a:lnTo>
                  <a:lnTo>
                    <a:pt x="14616" y="2210"/>
                  </a:lnTo>
                  <a:lnTo>
                    <a:pt x="14613" y="2040"/>
                  </a:lnTo>
                  <a:lnTo>
                    <a:pt x="14460" y="1889"/>
                  </a:lnTo>
                  <a:lnTo>
                    <a:pt x="14355" y="1605"/>
                  </a:lnTo>
                  <a:cubicBezTo>
                    <a:pt x="14271" y="1573"/>
                    <a:pt x="14188" y="1533"/>
                    <a:pt x="14107" y="1486"/>
                  </a:cubicBezTo>
                  <a:cubicBezTo>
                    <a:pt x="14008" y="1428"/>
                    <a:pt x="13911" y="1359"/>
                    <a:pt x="13817" y="1279"/>
                  </a:cubicBezTo>
                  <a:lnTo>
                    <a:pt x="13451" y="1078"/>
                  </a:lnTo>
                  <a:lnTo>
                    <a:pt x="13212" y="945"/>
                  </a:lnTo>
                  <a:lnTo>
                    <a:pt x="12842" y="766"/>
                  </a:lnTo>
                  <a:lnTo>
                    <a:pt x="12603" y="849"/>
                  </a:lnTo>
                  <a:lnTo>
                    <a:pt x="12436" y="968"/>
                  </a:lnTo>
                  <a:lnTo>
                    <a:pt x="12291" y="899"/>
                  </a:lnTo>
                  <a:lnTo>
                    <a:pt x="12112" y="639"/>
                  </a:lnTo>
                  <a:lnTo>
                    <a:pt x="11879" y="402"/>
                  </a:lnTo>
                  <a:lnTo>
                    <a:pt x="11669" y="320"/>
                  </a:lnTo>
                  <a:lnTo>
                    <a:pt x="11486" y="252"/>
                  </a:lnTo>
                  <a:lnTo>
                    <a:pt x="11279" y="156"/>
                  </a:lnTo>
                  <a:lnTo>
                    <a:pt x="11086" y="73"/>
                  </a:lnTo>
                  <a:lnTo>
                    <a:pt x="10931" y="18"/>
                  </a:lnTo>
                  <a:lnTo>
                    <a:pt x="10715" y="114"/>
                  </a:lnTo>
                  <a:lnTo>
                    <a:pt x="10556" y="192"/>
                  </a:lnTo>
                  <a:lnTo>
                    <a:pt x="10395" y="137"/>
                  </a:lnTo>
                  <a:lnTo>
                    <a:pt x="10285" y="82"/>
                  </a:lnTo>
                  <a:lnTo>
                    <a:pt x="10146" y="27"/>
                  </a:lnTo>
                  <a:lnTo>
                    <a:pt x="10010" y="0"/>
                  </a:lnTo>
                  <a:lnTo>
                    <a:pt x="9706" y="83"/>
                  </a:lnTo>
                  <a:lnTo>
                    <a:pt x="9387" y="184"/>
                  </a:lnTo>
                  <a:lnTo>
                    <a:pt x="8981" y="564"/>
                  </a:lnTo>
                  <a:lnTo>
                    <a:pt x="8797" y="728"/>
                  </a:lnTo>
                  <a:lnTo>
                    <a:pt x="8584" y="783"/>
                  </a:lnTo>
                  <a:lnTo>
                    <a:pt x="8320" y="915"/>
                  </a:lnTo>
                  <a:lnTo>
                    <a:pt x="8160" y="996"/>
                  </a:lnTo>
                  <a:lnTo>
                    <a:pt x="7967" y="1147"/>
                  </a:lnTo>
                  <a:lnTo>
                    <a:pt x="7886" y="1297"/>
                  </a:lnTo>
                  <a:lnTo>
                    <a:pt x="7888" y="1470"/>
                  </a:lnTo>
                  <a:lnTo>
                    <a:pt x="7855" y="1675"/>
                  </a:lnTo>
                  <a:lnTo>
                    <a:pt x="7776" y="1784"/>
                  </a:lnTo>
                  <a:lnTo>
                    <a:pt x="7655" y="1839"/>
                  </a:lnTo>
                  <a:lnTo>
                    <a:pt x="7530" y="1894"/>
                  </a:lnTo>
                  <a:lnTo>
                    <a:pt x="7376" y="2183"/>
                  </a:lnTo>
                  <a:lnTo>
                    <a:pt x="7276" y="2430"/>
                  </a:lnTo>
                  <a:lnTo>
                    <a:pt x="7123" y="2673"/>
                  </a:lnTo>
                  <a:lnTo>
                    <a:pt x="7099" y="2824"/>
                  </a:lnTo>
                  <a:lnTo>
                    <a:pt x="7051" y="3056"/>
                  </a:lnTo>
                  <a:lnTo>
                    <a:pt x="6924" y="3316"/>
                  </a:lnTo>
                  <a:lnTo>
                    <a:pt x="6795" y="3550"/>
                  </a:lnTo>
                  <a:lnTo>
                    <a:pt x="6610" y="3688"/>
                  </a:lnTo>
                  <a:lnTo>
                    <a:pt x="6375" y="3930"/>
                  </a:lnTo>
                  <a:lnTo>
                    <a:pt x="6295" y="4053"/>
                  </a:lnTo>
                  <a:lnTo>
                    <a:pt x="6207" y="4241"/>
                  </a:lnTo>
                  <a:lnTo>
                    <a:pt x="6072" y="4323"/>
                  </a:lnTo>
                  <a:lnTo>
                    <a:pt x="5796" y="4429"/>
                  </a:lnTo>
                  <a:lnTo>
                    <a:pt x="5615" y="4524"/>
                  </a:lnTo>
                  <a:lnTo>
                    <a:pt x="5511" y="4647"/>
                  </a:lnTo>
                  <a:lnTo>
                    <a:pt x="5386" y="4780"/>
                  </a:lnTo>
                  <a:lnTo>
                    <a:pt x="5249" y="4999"/>
                  </a:lnTo>
                  <a:lnTo>
                    <a:pt x="5158" y="5155"/>
                  </a:lnTo>
                  <a:lnTo>
                    <a:pt x="5088" y="5329"/>
                  </a:lnTo>
                  <a:lnTo>
                    <a:pt x="5065" y="5480"/>
                  </a:lnTo>
                  <a:lnTo>
                    <a:pt x="5065" y="5754"/>
                  </a:lnTo>
                  <a:lnTo>
                    <a:pt x="5089" y="5900"/>
                  </a:lnTo>
                  <a:lnTo>
                    <a:pt x="5118" y="6123"/>
                  </a:lnTo>
                  <a:lnTo>
                    <a:pt x="5094" y="6315"/>
                  </a:lnTo>
                  <a:lnTo>
                    <a:pt x="5118" y="6590"/>
                  </a:lnTo>
                  <a:lnTo>
                    <a:pt x="5312" y="6948"/>
                  </a:lnTo>
                  <a:lnTo>
                    <a:pt x="5497" y="7278"/>
                  </a:lnTo>
                  <a:lnTo>
                    <a:pt x="5698" y="7360"/>
                  </a:lnTo>
                  <a:lnTo>
                    <a:pt x="6010" y="7347"/>
                  </a:lnTo>
                  <a:lnTo>
                    <a:pt x="6179" y="7123"/>
                  </a:lnTo>
                  <a:lnTo>
                    <a:pt x="6421" y="6806"/>
                  </a:lnTo>
                  <a:lnTo>
                    <a:pt x="6673" y="6770"/>
                  </a:lnTo>
                  <a:lnTo>
                    <a:pt x="6722" y="7029"/>
                  </a:lnTo>
                  <a:lnTo>
                    <a:pt x="6859" y="7341"/>
                  </a:lnTo>
                  <a:lnTo>
                    <a:pt x="6923" y="7657"/>
                  </a:lnTo>
                  <a:lnTo>
                    <a:pt x="7026" y="7817"/>
                  </a:lnTo>
                  <a:lnTo>
                    <a:pt x="7026" y="8065"/>
                  </a:lnTo>
                  <a:lnTo>
                    <a:pt x="7034" y="8312"/>
                  </a:lnTo>
                  <a:lnTo>
                    <a:pt x="7120" y="8458"/>
                  </a:lnTo>
                  <a:lnTo>
                    <a:pt x="7192" y="8650"/>
                  </a:lnTo>
                  <a:lnTo>
                    <a:pt x="7493" y="8925"/>
                  </a:lnTo>
                  <a:lnTo>
                    <a:pt x="7581" y="8833"/>
                  </a:lnTo>
                  <a:lnTo>
                    <a:pt x="7850" y="8512"/>
                  </a:lnTo>
                  <a:lnTo>
                    <a:pt x="7962" y="8471"/>
                  </a:lnTo>
                  <a:lnTo>
                    <a:pt x="8086" y="8224"/>
                  </a:lnTo>
                  <a:lnTo>
                    <a:pt x="8142" y="7954"/>
                  </a:lnTo>
                  <a:lnTo>
                    <a:pt x="8118" y="7546"/>
                  </a:lnTo>
                  <a:lnTo>
                    <a:pt x="8183" y="7331"/>
                  </a:lnTo>
                  <a:lnTo>
                    <a:pt x="8408" y="7069"/>
                  </a:lnTo>
                  <a:lnTo>
                    <a:pt x="8596" y="6868"/>
                  </a:lnTo>
                  <a:lnTo>
                    <a:pt x="8782" y="6652"/>
                  </a:lnTo>
                  <a:lnTo>
                    <a:pt x="8870" y="6378"/>
                  </a:lnTo>
                  <a:lnTo>
                    <a:pt x="8870" y="6199"/>
                  </a:lnTo>
                  <a:lnTo>
                    <a:pt x="8675" y="6099"/>
                  </a:lnTo>
                  <a:lnTo>
                    <a:pt x="8400" y="5782"/>
                  </a:lnTo>
                  <a:cubicBezTo>
                    <a:pt x="8345" y="5725"/>
                    <a:pt x="8303" y="5638"/>
                    <a:pt x="8280" y="5535"/>
                  </a:cubicBezTo>
                  <a:cubicBezTo>
                    <a:pt x="8253" y="5415"/>
                    <a:pt x="8255" y="5284"/>
                    <a:pt x="8280" y="5163"/>
                  </a:cubicBezTo>
                  <a:cubicBezTo>
                    <a:pt x="8308" y="5024"/>
                    <a:pt x="8366" y="4907"/>
                    <a:pt x="8441" y="4834"/>
                  </a:cubicBezTo>
                  <a:cubicBezTo>
                    <a:pt x="8456" y="4723"/>
                    <a:pt x="8474" y="4613"/>
                    <a:pt x="8494" y="4505"/>
                  </a:cubicBezTo>
                  <a:cubicBezTo>
                    <a:pt x="8510" y="4424"/>
                    <a:pt x="8527" y="4342"/>
                    <a:pt x="8558" y="4276"/>
                  </a:cubicBezTo>
                  <a:cubicBezTo>
                    <a:pt x="8643" y="4100"/>
                    <a:pt x="8795" y="4075"/>
                    <a:pt x="8897" y="4221"/>
                  </a:cubicBezTo>
                  <a:cubicBezTo>
                    <a:pt x="8958" y="4155"/>
                    <a:pt x="9013" y="4077"/>
                    <a:pt x="9061" y="3987"/>
                  </a:cubicBezTo>
                  <a:cubicBezTo>
                    <a:pt x="9136" y="3848"/>
                    <a:pt x="9193" y="3684"/>
                    <a:pt x="9260" y="3534"/>
                  </a:cubicBezTo>
                  <a:cubicBezTo>
                    <a:pt x="9306" y="3430"/>
                    <a:pt x="9356" y="3332"/>
                    <a:pt x="9405" y="3232"/>
                  </a:cubicBezTo>
                  <a:cubicBezTo>
                    <a:pt x="9452" y="3137"/>
                    <a:pt x="9497" y="3041"/>
                    <a:pt x="9542" y="2943"/>
                  </a:cubicBezTo>
                  <a:lnTo>
                    <a:pt x="9832" y="2723"/>
                  </a:lnTo>
                  <a:lnTo>
                    <a:pt x="9993" y="2545"/>
                  </a:lnTo>
                  <a:lnTo>
                    <a:pt x="10111" y="2705"/>
                  </a:lnTo>
                  <a:lnTo>
                    <a:pt x="10183" y="2884"/>
                  </a:lnTo>
                  <a:lnTo>
                    <a:pt x="10183" y="3144"/>
                  </a:lnTo>
                  <a:lnTo>
                    <a:pt x="10098" y="3332"/>
                  </a:lnTo>
                  <a:lnTo>
                    <a:pt x="10098" y="3689"/>
                  </a:lnTo>
                  <a:lnTo>
                    <a:pt x="10082" y="3859"/>
                  </a:lnTo>
                  <a:lnTo>
                    <a:pt x="9930" y="3957"/>
                  </a:lnTo>
                  <a:lnTo>
                    <a:pt x="9906" y="4204"/>
                  </a:lnTo>
                  <a:lnTo>
                    <a:pt x="9849" y="4492"/>
                  </a:lnTo>
                  <a:lnTo>
                    <a:pt x="9683" y="4633"/>
                  </a:lnTo>
                  <a:lnTo>
                    <a:pt x="9586" y="4780"/>
                  </a:lnTo>
                  <a:lnTo>
                    <a:pt x="9482" y="5082"/>
                  </a:lnTo>
                  <a:lnTo>
                    <a:pt x="9514" y="5403"/>
                  </a:lnTo>
                  <a:lnTo>
                    <a:pt x="9716" y="5586"/>
                  </a:lnTo>
                  <a:cubicBezTo>
                    <a:pt x="9796" y="5549"/>
                    <a:pt x="9881" y="5586"/>
                    <a:pt x="9941" y="5682"/>
                  </a:cubicBezTo>
                  <a:cubicBezTo>
                    <a:pt x="9990" y="5760"/>
                    <a:pt x="10017" y="5871"/>
                    <a:pt x="10065" y="5951"/>
                  </a:cubicBezTo>
                  <a:cubicBezTo>
                    <a:pt x="10132" y="6062"/>
                    <a:pt x="10229" y="6103"/>
                    <a:pt x="10318" y="6056"/>
                  </a:cubicBezTo>
                  <a:lnTo>
                    <a:pt x="10508" y="6070"/>
                  </a:lnTo>
                  <a:lnTo>
                    <a:pt x="10731" y="6002"/>
                  </a:lnTo>
                  <a:lnTo>
                    <a:pt x="10946" y="5851"/>
                  </a:lnTo>
                  <a:lnTo>
                    <a:pt x="11105" y="5786"/>
                  </a:lnTo>
                  <a:lnTo>
                    <a:pt x="11391" y="5848"/>
                  </a:lnTo>
                  <a:lnTo>
                    <a:pt x="11503" y="6039"/>
                  </a:lnTo>
                  <a:lnTo>
                    <a:pt x="11785" y="6094"/>
                  </a:lnTo>
                  <a:lnTo>
                    <a:pt x="11854" y="6226"/>
                  </a:lnTo>
                  <a:lnTo>
                    <a:pt x="11801" y="6390"/>
                  </a:lnTo>
                  <a:lnTo>
                    <a:pt x="11600" y="6542"/>
                  </a:lnTo>
                  <a:lnTo>
                    <a:pt x="11427" y="6730"/>
                  </a:lnTo>
                  <a:lnTo>
                    <a:pt x="11242" y="6739"/>
                  </a:lnTo>
                  <a:lnTo>
                    <a:pt x="11084" y="6698"/>
                  </a:lnTo>
                  <a:lnTo>
                    <a:pt x="10942" y="6629"/>
                  </a:lnTo>
                  <a:lnTo>
                    <a:pt x="10752" y="6588"/>
                  </a:lnTo>
                  <a:lnTo>
                    <a:pt x="10578" y="6629"/>
                  </a:lnTo>
                  <a:lnTo>
                    <a:pt x="10435" y="6670"/>
                  </a:lnTo>
                  <a:lnTo>
                    <a:pt x="10291" y="6748"/>
                  </a:lnTo>
                  <a:lnTo>
                    <a:pt x="10218" y="6936"/>
                  </a:lnTo>
                  <a:lnTo>
                    <a:pt x="10315" y="7045"/>
                  </a:lnTo>
                  <a:lnTo>
                    <a:pt x="10580" y="7535"/>
                  </a:lnTo>
                  <a:lnTo>
                    <a:pt x="10580" y="7737"/>
                  </a:lnTo>
                  <a:lnTo>
                    <a:pt x="10500" y="7925"/>
                  </a:lnTo>
                  <a:lnTo>
                    <a:pt x="10333" y="8021"/>
                  </a:lnTo>
                  <a:lnTo>
                    <a:pt x="10285" y="8145"/>
                  </a:lnTo>
                  <a:lnTo>
                    <a:pt x="10181" y="8076"/>
                  </a:lnTo>
                  <a:lnTo>
                    <a:pt x="10133" y="7815"/>
                  </a:lnTo>
                  <a:lnTo>
                    <a:pt x="10012" y="7706"/>
                  </a:lnTo>
                  <a:lnTo>
                    <a:pt x="9771" y="7733"/>
                  </a:lnTo>
                  <a:lnTo>
                    <a:pt x="9701" y="7811"/>
                  </a:lnTo>
                  <a:lnTo>
                    <a:pt x="9701" y="8017"/>
                  </a:lnTo>
                  <a:lnTo>
                    <a:pt x="9581" y="8163"/>
                  </a:lnTo>
                  <a:lnTo>
                    <a:pt x="9597" y="8488"/>
                  </a:lnTo>
                  <a:lnTo>
                    <a:pt x="9637" y="8686"/>
                  </a:lnTo>
                  <a:lnTo>
                    <a:pt x="9693" y="8944"/>
                  </a:lnTo>
                  <a:lnTo>
                    <a:pt x="9588" y="9131"/>
                  </a:lnTo>
                  <a:lnTo>
                    <a:pt x="9435" y="9310"/>
                  </a:lnTo>
                  <a:lnTo>
                    <a:pt x="9298" y="9530"/>
                  </a:lnTo>
                  <a:lnTo>
                    <a:pt x="9180" y="9627"/>
                  </a:lnTo>
                  <a:lnTo>
                    <a:pt x="9092" y="9735"/>
                  </a:lnTo>
                  <a:lnTo>
                    <a:pt x="8983" y="9736"/>
                  </a:lnTo>
                  <a:cubicBezTo>
                    <a:pt x="8962" y="9703"/>
                    <a:pt x="8942" y="9671"/>
                    <a:pt x="8921" y="9640"/>
                  </a:cubicBezTo>
                  <a:cubicBezTo>
                    <a:pt x="8891" y="9595"/>
                    <a:pt x="8861" y="9551"/>
                    <a:pt x="8830" y="9508"/>
                  </a:cubicBezTo>
                  <a:lnTo>
                    <a:pt x="8564" y="9467"/>
                  </a:lnTo>
                  <a:lnTo>
                    <a:pt x="8300" y="9659"/>
                  </a:lnTo>
                  <a:lnTo>
                    <a:pt x="7986" y="9865"/>
                  </a:lnTo>
                  <a:lnTo>
                    <a:pt x="7905" y="9974"/>
                  </a:lnTo>
                  <a:lnTo>
                    <a:pt x="7739" y="10070"/>
                  </a:lnTo>
                  <a:lnTo>
                    <a:pt x="7634" y="10001"/>
                  </a:lnTo>
                  <a:lnTo>
                    <a:pt x="7465" y="9864"/>
                  </a:lnTo>
                  <a:lnTo>
                    <a:pt x="7314" y="9781"/>
                  </a:lnTo>
                  <a:lnTo>
                    <a:pt x="7226" y="9644"/>
                  </a:lnTo>
                  <a:lnTo>
                    <a:pt x="7149" y="9740"/>
                  </a:lnTo>
                  <a:lnTo>
                    <a:pt x="6975" y="9746"/>
                  </a:lnTo>
                  <a:lnTo>
                    <a:pt x="6769" y="9966"/>
                  </a:lnTo>
                  <a:lnTo>
                    <a:pt x="6586" y="9828"/>
                  </a:lnTo>
                  <a:lnTo>
                    <a:pt x="6498" y="9655"/>
                  </a:lnTo>
                  <a:lnTo>
                    <a:pt x="6359" y="9499"/>
                  </a:lnTo>
                  <a:lnTo>
                    <a:pt x="6246" y="9210"/>
                  </a:lnTo>
                  <a:lnTo>
                    <a:pt x="6332" y="9059"/>
                  </a:lnTo>
                  <a:lnTo>
                    <a:pt x="6468" y="9059"/>
                  </a:lnTo>
                  <a:lnTo>
                    <a:pt x="6436" y="9269"/>
                  </a:lnTo>
                  <a:lnTo>
                    <a:pt x="6594" y="9356"/>
                  </a:lnTo>
                  <a:lnTo>
                    <a:pt x="6642" y="9122"/>
                  </a:lnTo>
                  <a:lnTo>
                    <a:pt x="6779" y="9264"/>
                  </a:lnTo>
                  <a:lnTo>
                    <a:pt x="6939" y="9386"/>
                  </a:lnTo>
                  <a:lnTo>
                    <a:pt x="7020" y="9181"/>
                  </a:lnTo>
                  <a:lnTo>
                    <a:pt x="7095" y="8939"/>
                  </a:lnTo>
                  <a:lnTo>
                    <a:pt x="7009" y="8646"/>
                  </a:lnTo>
                  <a:lnTo>
                    <a:pt x="6883" y="8491"/>
                  </a:lnTo>
                  <a:lnTo>
                    <a:pt x="6741" y="8555"/>
                  </a:lnTo>
                  <a:lnTo>
                    <a:pt x="6645" y="8802"/>
                  </a:lnTo>
                  <a:lnTo>
                    <a:pt x="6668" y="8966"/>
                  </a:lnTo>
                  <a:lnTo>
                    <a:pt x="6572" y="8980"/>
                  </a:lnTo>
                  <a:lnTo>
                    <a:pt x="6524" y="8733"/>
                  </a:lnTo>
                  <a:lnTo>
                    <a:pt x="6425" y="8870"/>
                  </a:lnTo>
                  <a:lnTo>
                    <a:pt x="6282" y="8896"/>
                  </a:lnTo>
                  <a:lnTo>
                    <a:pt x="6298" y="8622"/>
                  </a:lnTo>
                  <a:lnTo>
                    <a:pt x="6338" y="8473"/>
                  </a:lnTo>
                  <a:lnTo>
                    <a:pt x="6394" y="8309"/>
                  </a:lnTo>
                  <a:lnTo>
                    <a:pt x="6394" y="7953"/>
                  </a:lnTo>
                  <a:lnTo>
                    <a:pt x="6380" y="7651"/>
                  </a:lnTo>
                  <a:lnTo>
                    <a:pt x="6254" y="7719"/>
                  </a:lnTo>
                  <a:lnTo>
                    <a:pt x="6189" y="7989"/>
                  </a:lnTo>
                  <a:lnTo>
                    <a:pt x="6096" y="8126"/>
                  </a:lnTo>
                  <a:lnTo>
                    <a:pt x="5932" y="8300"/>
                  </a:lnTo>
                  <a:lnTo>
                    <a:pt x="5836" y="8520"/>
                  </a:lnTo>
                  <a:lnTo>
                    <a:pt x="5819" y="8717"/>
                  </a:lnTo>
                  <a:lnTo>
                    <a:pt x="5921" y="8917"/>
                  </a:lnTo>
                  <a:lnTo>
                    <a:pt x="5974" y="9081"/>
                  </a:lnTo>
                  <a:lnTo>
                    <a:pt x="5934" y="9324"/>
                  </a:lnTo>
                  <a:lnTo>
                    <a:pt x="6004" y="9512"/>
                  </a:lnTo>
                  <a:lnTo>
                    <a:pt x="6235" y="9416"/>
                  </a:lnTo>
                  <a:lnTo>
                    <a:pt x="6253" y="9581"/>
                  </a:lnTo>
                  <a:lnTo>
                    <a:pt x="6088" y="9704"/>
                  </a:lnTo>
                  <a:lnTo>
                    <a:pt x="6016" y="9787"/>
                  </a:lnTo>
                  <a:lnTo>
                    <a:pt x="5983" y="10057"/>
                  </a:lnTo>
                  <a:lnTo>
                    <a:pt x="5865" y="10144"/>
                  </a:lnTo>
                  <a:lnTo>
                    <a:pt x="5664" y="10172"/>
                  </a:lnTo>
                  <a:lnTo>
                    <a:pt x="5506" y="10172"/>
                  </a:lnTo>
                  <a:lnTo>
                    <a:pt x="5370" y="10240"/>
                  </a:lnTo>
                  <a:lnTo>
                    <a:pt x="5273" y="10337"/>
                  </a:lnTo>
                  <a:lnTo>
                    <a:pt x="5101" y="10364"/>
                  </a:lnTo>
                  <a:lnTo>
                    <a:pt x="5002" y="10364"/>
                  </a:lnTo>
                  <a:lnTo>
                    <a:pt x="4982" y="10538"/>
                  </a:lnTo>
                  <a:lnTo>
                    <a:pt x="4867" y="10739"/>
                  </a:lnTo>
                  <a:lnTo>
                    <a:pt x="4738" y="10945"/>
                  </a:lnTo>
                  <a:lnTo>
                    <a:pt x="4563" y="11169"/>
                  </a:lnTo>
                  <a:lnTo>
                    <a:pt x="4385" y="11316"/>
                  </a:lnTo>
                  <a:lnTo>
                    <a:pt x="4328" y="11463"/>
                  </a:lnTo>
                  <a:lnTo>
                    <a:pt x="4152" y="11706"/>
                  </a:lnTo>
                  <a:lnTo>
                    <a:pt x="4065" y="11719"/>
                  </a:lnTo>
                  <a:lnTo>
                    <a:pt x="3934" y="11751"/>
                  </a:lnTo>
                  <a:lnTo>
                    <a:pt x="3849" y="11911"/>
                  </a:lnTo>
                  <a:lnTo>
                    <a:pt x="3781" y="12158"/>
                  </a:lnTo>
                  <a:lnTo>
                    <a:pt x="3725" y="12255"/>
                  </a:lnTo>
                  <a:lnTo>
                    <a:pt x="3603" y="12585"/>
                  </a:lnTo>
                  <a:lnTo>
                    <a:pt x="3316" y="12676"/>
                  </a:lnTo>
                  <a:lnTo>
                    <a:pt x="3265" y="12951"/>
                  </a:lnTo>
                  <a:lnTo>
                    <a:pt x="3134" y="12987"/>
                  </a:lnTo>
                  <a:lnTo>
                    <a:pt x="3035" y="12919"/>
                  </a:lnTo>
                  <a:lnTo>
                    <a:pt x="2939" y="12754"/>
                  </a:lnTo>
                  <a:cubicBezTo>
                    <a:pt x="2886" y="12812"/>
                    <a:pt x="2837" y="12876"/>
                    <a:pt x="2790" y="12947"/>
                  </a:cubicBezTo>
                  <a:cubicBezTo>
                    <a:pt x="2744" y="13015"/>
                    <a:pt x="2702" y="13088"/>
                    <a:pt x="2663" y="13166"/>
                  </a:cubicBezTo>
                  <a:lnTo>
                    <a:pt x="2511" y="13235"/>
                  </a:lnTo>
                  <a:lnTo>
                    <a:pt x="2334" y="13327"/>
                  </a:lnTo>
                  <a:lnTo>
                    <a:pt x="2256" y="13258"/>
                  </a:lnTo>
                  <a:lnTo>
                    <a:pt x="2079" y="13176"/>
                  </a:lnTo>
                  <a:lnTo>
                    <a:pt x="1886" y="13313"/>
                  </a:lnTo>
                  <a:lnTo>
                    <a:pt x="1701" y="13451"/>
                  </a:lnTo>
                  <a:lnTo>
                    <a:pt x="1776" y="13589"/>
                  </a:lnTo>
                  <a:lnTo>
                    <a:pt x="1890" y="13693"/>
                  </a:lnTo>
                  <a:lnTo>
                    <a:pt x="2105" y="13776"/>
                  </a:lnTo>
                  <a:lnTo>
                    <a:pt x="2379" y="13955"/>
                  </a:lnTo>
                  <a:lnTo>
                    <a:pt x="2554" y="14129"/>
                  </a:lnTo>
                  <a:lnTo>
                    <a:pt x="2659" y="14413"/>
                  </a:lnTo>
                  <a:lnTo>
                    <a:pt x="2704" y="14587"/>
                  </a:lnTo>
                  <a:lnTo>
                    <a:pt x="2768" y="14861"/>
                  </a:lnTo>
                  <a:lnTo>
                    <a:pt x="2792" y="15475"/>
                  </a:lnTo>
                  <a:lnTo>
                    <a:pt x="2771" y="15814"/>
                  </a:lnTo>
                  <a:cubicBezTo>
                    <a:pt x="2745" y="15996"/>
                    <a:pt x="2708" y="16172"/>
                    <a:pt x="2661" y="16341"/>
                  </a:cubicBezTo>
                  <a:cubicBezTo>
                    <a:pt x="2629" y="16460"/>
                    <a:pt x="2591" y="16574"/>
                    <a:pt x="2549" y="16684"/>
                  </a:cubicBezTo>
                  <a:lnTo>
                    <a:pt x="2342" y="16817"/>
                  </a:lnTo>
                  <a:lnTo>
                    <a:pt x="2030" y="16830"/>
                  </a:lnTo>
                  <a:lnTo>
                    <a:pt x="1856" y="16830"/>
                  </a:lnTo>
                  <a:lnTo>
                    <a:pt x="1549" y="16804"/>
                  </a:lnTo>
                  <a:lnTo>
                    <a:pt x="1329" y="16707"/>
                  </a:lnTo>
                  <a:lnTo>
                    <a:pt x="970" y="16537"/>
                  </a:lnTo>
                  <a:lnTo>
                    <a:pt x="739" y="16469"/>
                  </a:lnTo>
                  <a:lnTo>
                    <a:pt x="478" y="16547"/>
                  </a:lnTo>
                  <a:lnTo>
                    <a:pt x="293" y="16647"/>
                  </a:lnTo>
                  <a:lnTo>
                    <a:pt x="164" y="17042"/>
                  </a:lnTo>
                  <a:lnTo>
                    <a:pt x="199" y="17371"/>
                  </a:lnTo>
                  <a:lnTo>
                    <a:pt x="231" y="17765"/>
                  </a:lnTo>
                  <a:lnTo>
                    <a:pt x="199" y="18217"/>
                  </a:lnTo>
                  <a:lnTo>
                    <a:pt x="86" y="18602"/>
                  </a:lnTo>
                  <a:lnTo>
                    <a:pt x="24" y="19028"/>
                  </a:lnTo>
                  <a:lnTo>
                    <a:pt x="0" y="19390"/>
                  </a:lnTo>
                  <a:lnTo>
                    <a:pt x="32" y="19623"/>
                  </a:lnTo>
                  <a:lnTo>
                    <a:pt x="105" y="19880"/>
                  </a:lnTo>
                  <a:lnTo>
                    <a:pt x="97" y="20137"/>
                  </a:lnTo>
                  <a:lnTo>
                    <a:pt x="40" y="20343"/>
                  </a:lnTo>
                  <a:lnTo>
                    <a:pt x="81" y="20612"/>
                  </a:lnTo>
                  <a:lnTo>
                    <a:pt x="245" y="20708"/>
                  </a:lnTo>
                  <a:lnTo>
                    <a:pt x="417" y="20644"/>
                  </a:lnTo>
                  <a:lnTo>
                    <a:pt x="624" y="20794"/>
                  </a:lnTo>
                  <a:lnTo>
                    <a:pt x="693" y="20881"/>
                  </a:lnTo>
                  <a:lnTo>
                    <a:pt x="1007" y="21211"/>
                  </a:lnTo>
                  <a:lnTo>
                    <a:pt x="1064" y="21408"/>
                  </a:lnTo>
                  <a:lnTo>
                    <a:pt x="1160" y="21436"/>
                  </a:lnTo>
                  <a:lnTo>
                    <a:pt x="1241" y="21600"/>
                  </a:lnTo>
                  <a:lnTo>
                    <a:pt x="1286" y="21437"/>
                  </a:lnTo>
                  <a:lnTo>
                    <a:pt x="1286" y="21236"/>
                  </a:lnTo>
                  <a:lnTo>
                    <a:pt x="1358" y="21119"/>
                  </a:lnTo>
                  <a:lnTo>
                    <a:pt x="1562" y="21092"/>
                  </a:lnTo>
                  <a:lnTo>
                    <a:pt x="1667" y="21105"/>
                  </a:lnTo>
                  <a:cubicBezTo>
                    <a:pt x="1731" y="21119"/>
                    <a:pt x="1796" y="21128"/>
                    <a:pt x="1860" y="21133"/>
                  </a:cubicBezTo>
                  <a:cubicBezTo>
                    <a:pt x="1936" y="21139"/>
                    <a:pt x="2011" y="21139"/>
                    <a:pt x="2086" y="21133"/>
                  </a:cubicBezTo>
                  <a:lnTo>
                    <a:pt x="2247" y="21051"/>
                  </a:lnTo>
                  <a:lnTo>
                    <a:pt x="2333" y="20941"/>
                  </a:lnTo>
                  <a:lnTo>
                    <a:pt x="2422" y="20693"/>
                  </a:lnTo>
                  <a:lnTo>
                    <a:pt x="2519" y="20556"/>
                  </a:lnTo>
                  <a:lnTo>
                    <a:pt x="2655" y="20387"/>
                  </a:lnTo>
                  <a:lnTo>
                    <a:pt x="2784" y="20214"/>
                  </a:lnTo>
                  <a:lnTo>
                    <a:pt x="2897" y="20063"/>
                  </a:lnTo>
                  <a:lnTo>
                    <a:pt x="2921" y="19885"/>
                  </a:lnTo>
                  <a:lnTo>
                    <a:pt x="2921" y="19541"/>
                  </a:lnTo>
                  <a:lnTo>
                    <a:pt x="2969" y="19349"/>
                  </a:lnTo>
                  <a:lnTo>
                    <a:pt x="3039" y="19161"/>
                  </a:lnTo>
                  <a:lnTo>
                    <a:pt x="3241" y="18748"/>
                  </a:lnTo>
                  <a:lnTo>
                    <a:pt x="3257" y="18515"/>
                  </a:lnTo>
                  <a:cubicBezTo>
                    <a:pt x="3267" y="18464"/>
                    <a:pt x="3283" y="18417"/>
                    <a:pt x="3305" y="18379"/>
                  </a:cubicBezTo>
                  <a:cubicBezTo>
                    <a:pt x="3367" y="18269"/>
                    <a:pt x="3459" y="18240"/>
                    <a:pt x="3541" y="18187"/>
                  </a:cubicBezTo>
                  <a:cubicBezTo>
                    <a:pt x="3616" y="18139"/>
                    <a:pt x="3685" y="18071"/>
                    <a:pt x="3745" y="17985"/>
                  </a:cubicBezTo>
                  <a:lnTo>
                    <a:pt x="3923" y="17728"/>
                  </a:lnTo>
                  <a:lnTo>
                    <a:pt x="4081" y="17581"/>
                  </a:lnTo>
                  <a:lnTo>
                    <a:pt x="4167" y="17554"/>
                  </a:lnTo>
                  <a:lnTo>
                    <a:pt x="4059" y="17247"/>
                  </a:lnTo>
                  <a:lnTo>
                    <a:pt x="3955" y="17261"/>
                  </a:lnTo>
                  <a:lnTo>
                    <a:pt x="3938" y="16973"/>
                  </a:lnTo>
                  <a:lnTo>
                    <a:pt x="4118" y="16859"/>
                  </a:lnTo>
                  <a:lnTo>
                    <a:pt x="4354" y="16726"/>
                  </a:lnTo>
                  <a:lnTo>
                    <a:pt x="4432" y="16658"/>
                  </a:lnTo>
                  <a:lnTo>
                    <a:pt x="4620" y="16554"/>
                  </a:lnTo>
                  <a:lnTo>
                    <a:pt x="4738" y="16663"/>
                  </a:lnTo>
                  <a:lnTo>
                    <a:pt x="4945" y="16842"/>
                  </a:lnTo>
                  <a:lnTo>
                    <a:pt x="5057" y="16801"/>
                  </a:lnTo>
                  <a:lnTo>
                    <a:pt x="5270" y="16614"/>
                  </a:lnTo>
                  <a:cubicBezTo>
                    <a:pt x="5348" y="16588"/>
                    <a:pt x="5424" y="16547"/>
                    <a:pt x="5495" y="16490"/>
                  </a:cubicBezTo>
                  <a:cubicBezTo>
                    <a:pt x="5582" y="16422"/>
                    <a:pt x="5661" y="16332"/>
                    <a:pt x="5732" y="16224"/>
                  </a:cubicBezTo>
                  <a:lnTo>
                    <a:pt x="5896" y="16096"/>
                  </a:lnTo>
                  <a:lnTo>
                    <a:pt x="6009" y="16027"/>
                  </a:lnTo>
                  <a:lnTo>
                    <a:pt x="6185" y="15959"/>
                  </a:lnTo>
                  <a:lnTo>
                    <a:pt x="6336" y="16187"/>
                  </a:lnTo>
                  <a:lnTo>
                    <a:pt x="6513" y="16558"/>
                  </a:lnTo>
                  <a:lnTo>
                    <a:pt x="6478" y="16957"/>
                  </a:lnTo>
                  <a:lnTo>
                    <a:pt x="6566" y="17191"/>
                  </a:lnTo>
                  <a:cubicBezTo>
                    <a:pt x="6627" y="17266"/>
                    <a:pt x="6693" y="17327"/>
                    <a:pt x="6762" y="17374"/>
                  </a:cubicBezTo>
                  <a:cubicBezTo>
                    <a:pt x="6828" y="17418"/>
                    <a:pt x="6896" y="17449"/>
                    <a:pt x="6961" y="17493"/>
                  </a:cubicBezTo>
                  <a:cubicBezTo>
                    <a:pt x="7076" y="17571"/>
                    <a:pt x="7181" y="17688"/>
                    <a:pt x="7268" y="17837"/>
                  </a:cubicBezTo>
                  <a:lnTo>
                    <a:pt x="7381" y="17960"/>
                  </a:lnTo>
                  <a:lnTo>
                    <a:pt x="7502" y="18097"/>
                  </a:lnTo>
                  <a:lnTo>
                    <a:pt x="7652" y="18230"/>
                  </a:lnTo>
                  <a:lnTo>
                    <a:pt x="7765" y="18312"/>
                  </a:lnTo>
                  <a:lnTo>
                    <a:pt x="7950" y="18500"/>
                  </a:lnTo>
                  <a:lnTo>
                    <a:pt x="8004" y="18619"/>
                  </a:lnTo>
                  <a:lnTo>
                    <a:pt x="8122" y="18894"/>
                  </a:lnTo>
                  <a:lnTo>
                    <a:pt x="8273" y="19251"/>
                  </a:lnTo>
                  <a:lnTo>
                    <a:pt x="8399" y="19535"/>
                  </a:lnTo>
                  <a:lnTo>
                    <a:pt x="8203" y="19705"/>
                  </a:lnTo>
                  <a:lnTo>
                    <a:pt x="8232" y="19896"/>
                  </a:lnTo>
                  <a:lnTo>
                    <a:pt x="8184" y="20192"/>
                  </a:lnTo>
                  <a:lnTo>
                    <a:pt x="8313" y="20256"/>
                  </a:lnTo>
                  <a:lnTo>
                    <a:pt x="8369" y="20092"/>
                  </a:lnTo>
                  <a:lnTo>
                    <a:pt x="8471" y="19927"/>
                  </a:lnTo>
                  <a:lnTo>
                    <a:pt x="8584" y="19703"/>
                  </a:lnTo>
                  <a:lnTo>
                    <a:pt x="8621" y="19542"/>
                  </a:lnTo>
                  <a:lnTo>
                    <a:pt x="8570" y="19314"/>
                  </a:lnTo>
                  <a:lnTo>
                    <a:pt x="8522" y="19090"/>
                  </a:lnTo>
                  <a:lnTo>
                    <a:pt x="8493" y="18927"/>
                  </a:lnTo>
                  <a:lnTo>
                    <a:pt x="8573" y="18716"/>
                  </a:lnTo>
                  <a:lnTo>
                    <a:pt x="8735" y="18702"/>
                  </a:lnTo>
                  <a:lnTo>
                    <a:pt x="8831" y="18752"/>
                  </a:lnTo>
                  <a:lnTo>
                    <a:pt x="8888" y="18876"/>
                  </a:lnTo>
                  <a:lnTo>
                    <a:pt x="9070" y="18944"/>
                  </a:lnTo>
                  <a:lnTo>
                    <a:pt x="9159" y="18880"/>
                  </a:lnTo>
                  <a:lnTo>
                    <a:pt x="9054" y="18697"/>
                  </a:lnTo>
                  <a:lnTo>
                    <a:pt x="8898" y="18523"/>
                  </a:lnTo>
                  <a:lnTo>
                    <a:pt x="8594" y="18261"/>
                  </a:lnTo>
                  <a:lnTo>
                    <a:pt x="8368" y="18041"/>
                  </a:lnTo>
                  <a:lnTo>
                    <a:pt x="8097" y="17835"/>
                  </a:lnTo>
                  <a:lnTo>
                    <a:pt x="7917" y="17422"/>
                  </a:lnTo>
                  <a:lnTo>
                    <a:pt x="7716" y="17353"/>
                  </a:lnTo>
                  <a:lnTo>
                    <a:pt x="7485" y="16964"/>
                  </a:lnTo>
                  <a:lnTo>
                    <a:pt x="7541" y="16565"/>
                  </a:lnTo>
                  <a:lnTo>
                    <a:pt x="7398" y="16378"/>
                  </a:lnTo>
                  <a:lnTo>
                    <a:pt x="7222" y="16240"/>
                  </a:lnTo>
                  <a:lnTo>
                    <a:pt x="6975" y="15938"/>
                  </a:lnTo>
                  <a:lnTo>
                    <a:pt x="6974" y="15498"/>
                  </a:lnTo>
                  <a:lnTo>
                    <a:pt x="7213" y="15265"/>
                  </a:lnTo>
                  <a:lnTo>
                    <a:pt x="7388" y="15320"/>
                  </a:lnTo>
                  <a:lnTo>
                    <a:pt x="7527" y="15712"/>
                  </a:lnTo>
                  <a:lnTo>
                    <a:pt x="7790" y="15919"/>
                  </a:lnTo>
                  <a:cubicBezTo>
                    <a:pt x="7896" y="15936"/>
                    <a:pt x="7997" y="15992"/>
                    <a:pt x="8089" y="16084"/>
                  </a:cubicBezTo>
                  <a:cubicBezTo>
                    <a:pt x="8148" y="16143"/>
                    <a:pt x="8203" y="16217"/>
                    <a:pt x="8250" y="16304"/>
                  </a:cubicBezTo>
                  <a:lnTo>
                    <a:pt x="8390" y="16623"/>
                  </a:lnTo>
                  <a:lnTo>
                    <a:pt x="8497" y="16783"/>
                  </a:lnTo>
                  <a:lnTo>
                    <a:pt x="8659" y="16893"/>
                  </a:lnTo>
                  <a:cubicBezTo>
                    <a:pt x="8718" y="16911"/>
                    <a:pt x="8777" y="16939"/>
                    <a:pt x="8833" y="16975"/>
                  </a:cubicBezTo>
                  <a:cubicBezTo>
                    <a:pt x="8886" y="17009"/>
                    <a:pt x="8937" y="17050"/>
                    <a:pt x="8986" y="17098"/>
                  </a:cubicBezTo>
                  <a:lnTo>
                    <a:pt x="9201" y="17368"/>
                  </a:lnTo>
                  <a:lnTo>
                    <a:pt x="9367" y="17642"/>
                  </a:lnTo>
                  <a:lnTo>
                    <a:pt x="9448" y="18069"/>
                  </a:lnTo>
                  <a:lnTo>
                    <a:pt x="9472" y="18476"/>
                  </a:lnTo>
                  <a:lnTo>
                    <a:pt x="9480" y="18860"/>
                  </a:lnTo>
                  <a:lnTo>
                    <a:pt x="9606" y="19231"/>
                  </a:lnTo>
                  <a:lnTo>
                    <a:pt x="9708" y="19433"/>
                  </a:lnTo>
                  <a:lnTo>
                    <a:pt x="9931" y="19550"/>
                  </a:lnTo>
                  <a:lnTo>
                    <a:pt x="10097" y="19631"/>
                  </a:lnTo>
                  <a:lnTo>
                    <a:pt x="10223" y="19645"/>
                  </a:lnTo>
                  <a:lnTo>
                    <a:pt x="10379" y="19791"/>
                  </a:lnTo>
                  <a:lnTo>
                    <a:pt x="10473" y="19924"/>
                  </a:lnTo>
                  <a:lnTo>
                    <a:pt x="10384" y="20183"/>
                  </a:lnTo>
                  <a:lnTo>
                    <a:pt x="10159" y="20128"/>
                  </a:lnTo>
                  <a:lnTo>
                    <a:pt x="10073" y="20243"/>
                  </a:lnTo>
                  <a:lnTo>
                    <a:pt x="10193" y="20472"/>
                  </a:lnTo>
                  <a:lnTo>
                    <a:pt x="10266" y="20815"/>
                  </a:lnTo>
                  <a:cubicBezTo>
                    <a:pt x="10273" y="20912"/>
                    <a:pt x="10304" y="20999"/>
                    <a:pt x="10352" y="21053"/>
                  </a:cubicBezTo>
                  <a:cubicBezTo>
                    <a:pt x="10384" y="21090"/>
                    <a:pt x="10423" y="21109"/>
                    <a:pt x="10462" y="21108"/>
                  </a:cubicBezTo>
                  <a:lnTo>
                    <a:pt x="10696" y="20998"/>
                  </a:lnTo>
                  <a:lnTo>
                    <a:pt x="10712" y="20701"/>
                  </a:lnTo>
                  <a:cubicBezTo>
                    <a:pt x="10707" y="20596"/>
                    <a:pt x="10707" y="20491"/>
                    <a:pt x="10712" y="20387"/>
                  </a:cubicBezTo>
                  <a:cubicBezTo>
                    <a:pt x="10716" y="20296"/>
                    <a:pt x="10724" y="20206"/>
                    <a:pt x="10736" y="20117"/>
                  </a:cubicBezTo>
                  <a:cubicBezTo>
                    <a:pt x="10735" y="20034"/>
                    <a:pt x="10727" y="19953"/>
                    <a:pt x="10712" y="19874"/>
                  </a:cubicBezTo>
                  <a:cubicBezTo>
                    <a:pt x="10684" y="19724"/>
                    <a:pt x="10633" y="19589"/>
                    <a:pt x="10564" y="19484"/>
                  </a:cubicBezTo>
                  <a:lnTo>
                    <a:pt x="10443" y="19117"/>
                  </a:lnTo>
                  <a:cubicBezTo>
                    <a:pt x="10405" y="19035"/>
                    <a:pt x="10398" y="18922"/>
                    <a:pt x="10427" y="18829"/>
                  </a:cubicBezTo>
                  <a:cubicBezTo>
                    <a:pt x="10451" y="18751"/>
                    <a:pt x="10497" y="18700"/>
                    <a:pt x="10548" y="18692"/>
                  </a:cubicBezTo>
                  <a:lnTo>
                    <a:pt x="10680" y="18705"/>
                  </a:lnTo>
                  <a:lnTo>
                    <a:pt x="10811" y="18765"/>
                  </a:lnTo>
                  <a:lnTo>
                    <a:pt x="10929" y="18911"/>
                  </a:lnTo>
                  <a:lnTo>
                    <a:pt x="10953" y="18597"/>
                  </a:lnTo>
                  <a:lnTo>
                    <a:pt x="11025" y="18391"/>
                  </a:lnTo>
                  <a:lnTo>
                    <a:pt x="11310" y="18336"/>
                  </a:lnTo>
                  <a:lnTo>
                    <a:pt x="11533" y="18336"/>
                  </a:lnTo>
                  <a:lnTo>
                    <a:pt x="11766" y="18570"/>
                  </a:lnTo>
                  <a:lnTo>
                    <a:pt x="11991" y="18469"/>
                  </a:lnTo>
                  <a:lnTo>
                    <a:pt x="12104" y="18400"/>
                  </a:lnTo>
                  <a:lnTo>
                    <a:pt x="12392" y="18317"/>
                  </a:lnTo>
                  <a:lnTo>
                    <a:pt x="12469" y="18171"/>
                  </a:lnTo>
                  <a:cubicBezTo>
                    <a:pt x="12441" y="18118"/>
                    <a:pt x="12413" y="18066"/>
                    <a:pt x="12383" y="18015"/>
                  </a:cubicBezTo>
                  <a:cubicBezTo>
                    <a:pt x="12320" y="17907"/>
                    <a:pt x="12252" y="17806"/>
                    <a:pt x="12181" y="17713"/>
                  </a:cubicBezTo>
                  <a:cubicBezTo>
                    <a:pt x="12169" y="17590"/>
                    <a:pt x="12166" y="17465"/>
                    <a:pt x="12173" y="17342"/>
                  </a:cubicBezTo>
                  <a:cubicBezTo>
                    <a:pt x="12182" y="17201"/>
                    <a:pt x="12204" y="17063"/>
                    <a:pt x="12238" y="16934"/>
                  </a:cubicBezTo>
                  <a:lnTo>
                    <a:pt x="12262" y="16700"/>
                  </a:lnTo>
                  <a:lnTo>
                    <a:pt x="12383" y="16233"/>
                  </a:lnTo>
                  <a:lnTo>
                    <a:pt x="12447" y="15904"/>
                  </a:lnTo>
                  <a:lnTo>
                    <a:pt x="12552" y="15455"/>
                  </a:lnTo>
                  <a:lnTo>
                    <a:pt x="12671" y="15194"/>
                  </a:lnTo>
                  <a:lnTo>
                    <a:pt x="12888" y="14822"/>
                  </a:lnTo>
                  <a:lnTo>
                    <a:pt x="13179" y="14607"/>
                  </a:lnTo>
                  <a:lnTo>
                    <a:pt x="13407" y="14414"/>
                  </a:lnTo>
                  <a:lnTo>
                    <a:pt x="13485" y="14588"/>
                  </a:lnTo>
                  <a:lnTo>
                    <a:pt x="13485" y="14898"/>
                  </a:lnTo>
                  <a:lnTo>
                    <a:pt x="13692" y="14926"/>
                  </a:lnTo>
                  <a:lnTo>
                    <a:pt x="13794" y="15008"/>
                  </a:lnTo>
                  <a:lnTo>
                    <a:pt x="13842" y="15254"/>
                  </a:lnTo>
                  <a:lnTo>
                    <a:pt x="13659" y="15264"/>
                  </a:lnTo>
                  <a:lnTo>
                    <a:pt x="13643" y="15414"/>
                  </a:lnTo>
                  <a:lnTo>
                    <a:pt x="13845" y="15703"/>
                  </a:lnTo>
                  <a:lnTo>
                    <a:pt x="13960" y="15946"/>
                  </a:lnTo>
                  <a:lnTo>
                    <a:pt x="14162" y="15979"/>
                  </a:lnTo>
                  <a:lnTo>
                    <a:pt x="14250" y="15857"/>
                  </a:lnTo>
                  <a:lnTo>
                    <a:pt x="14403" y="15678"/>
                  </a:lnTo>
                  <a:lnTo>
                    <a:pt x="14752" y="15546"/>
                  </a:lnTo>
                  <a:lnTo>
                    <a:pt x="14728" y="15315"/>
                  </a:lnTo>
                  <a:lnTo>
                    <a:pt x="14639" y="15250"/>
                  </a:lnTo>
                  <a:lnTo>
                    <a:pt x="14489" y="15305"/>
                  </a:lnTo>
                  <a:cubicBezTo>
                    <a:pt x="14437" y="15251"/>
                    <a:pt x="14386" y="15193"/>
                    <a:pt x="14336" y="15132"/>
                  </a:cubicBezTo>
                  <a:cubicBezTo>
                    <a:pt x="14301" y="15088"/>
                    <a:pt x="14266" y="15042"/>
                    <a:pt x="14232" y="14994"/>
                  </a:cubicBezTo>
                  <a:lnTo>
                    <a:pt x="14288" y="14817"/>
                  </a:lnTo>
                  <a:lnTo>
                    <a:pt x="14447" y="14721"/>
                  </a:lnTo>
                  <a:lnTo>
                    <a:pt x="14613" y="14569"/>
                  </a:lnTo>
                  <a:lnTo>
                    <a:pt x="14824" y="14382"/>
                  </a:lnTo>
                  <a:lnTo>
                    <a:pt x="14966" y="14231"/>
                  </a:lnTo>
                  <a:lnTo>
                    <a:pt x="15155" y="14089"/>
                  </a:lnTo>
                  <a:lnTo>
                    <a:pt x="15299" y="14048"/>
                  </a:lnTo>
                  <a:lnTo>
                    <a:pt x="15474" y="14204"/>
                  </a:lnTo>
                  <a:lnTo>
                    <a:pt x="15391" y="14386"/>
                  </a:lnTo>
                  <a:lnTo>
                    <a:pt x="15273" y="14666"/>
                  </a:lnTo>
                  <a:lnTo>
                    <a:pt x="15265" y="14990"/>
                  </a:lnTo>
                  <a:lnTo>
                    <a:pt x="15230" y="15325"/>
                  </a:lnTo>
                  <a:lnTo>
                    <a:pt x="15118" y="15517"/>
                  </a:lnTo>
                  <a:lnTo>
                    <a:pt x="15096" y="15705"/>
                  </a:lnTo>
                  <a:lnTo>
                    <a:pt x="15233" y="15800"/>
                  </a:lnTo>
                  <a:cubicBezTo>
                    <a:pt x="15284" y="15813"/>
                    <a:pt x="15335" y="15836"/>
                    <a:pt x="15383" y="15869"/>
                  </a:cubicBezTo>
                  <a:cubicBezTo>
                    <a:pt x="15456" y="15919"/>
                    <a:pt x="15524" y="15992"/>
                    <a:pt x="15582" y="16084"/>
                  </a:cubicBezTo>
                  <a:lnTo>
                    <a:pt x="15792" y="16341"/>
                  </a:lnTo>
                  <a:lnTo>
                    <a:pt x="16009" y="16409"/>
                  </a:lnTo>
                  <a:lnTo>
                    <a:pt x="16163" y="16684"/>
                  </a:lnTo>
                  <a:lnTo>
                    <a:pt x="16364" y="16863"/>
                  </a:lnTo>
                  <a:lnTo>
                    <a:pt x="16519" y="17063"/>
                  </a:lnTo>
                  <a:lnTo>
                    <a:pt x="16602" y="17384"/>
                  </a:lnTo>
                  <a:lnTo>
                    <a:pt x="16900" y="17421"/>
                  </a:lnTo>
                  <a:lnTo>
                    <a:pt x="17231" y="17499"/>
                  </a:lnTo>
                  <a:lnTo>
                    <a:pt x="17545" y="17705"/>
                  </a:lnTo>
                  <a:lnTo>
                    <a:pt x="17840" y="17980"/>
                  </a:lnTo>
                  <a:lnTo>
                    <a:pt x="18090" y="18259"/>
                  </a:lnTo>
                  <a:lnTo>
                    <a:pt x="18475" y="18575"/>
                  </a:lnTo>
                  <a:lnTo>
                    <a:pt x="18792" y="18777"/>
                  </a:lnTo>
                  <a:lnTo>
                    <a:pt x="19129" y="19050"/>
                  </a:lnTo>
                  <a:lnTo>
                    <a:pt x="19351" y="19182"/>
                  </a:lnTo>
                  <a:lnTo>
                    <a:pt x="19359" y="18839"/>
                  </a:lnTo>
                  <a:lnTo>
                    <a:pt x="19201" y="18353"/>
                  </a:lnTo>
                  <a:lnTo>
                    <a:pt x="19056" y="17804"/>
                  </a:lnTo>
                  <a:lnTo>
                    <a:pt x="18836" y="17575"/>
                  </a:lnTo>
                  <a:lnTo>
                    <a:pt x="18691" y="17287"/>
                  </a:lnTo>
                  <a:lnTo>
                    <a:pt x="18580" y="17027"/>
                  </a:lnTo>
                  <a:lnTo>
                    <a:pt x="18437" y="16793"/>
                  </a:lnTo>
                  <a:lnTo>
                    <a:pt x="18437" y="16531"/>
                  </a:lnTo>
                  <a:lnTo>
                    <a:pt x="18220" y="16330"/>
                  </a:lnTo>
                  <a:lnTo>
                    <a:pt x="18064" y="15973"/>
                  </a:lnTo>
                  <a:lnTo>
                    <a:pt x="18247" y="15607"/>
                  </a:lnTo>
                  <a:lnTo>
                    <a:pt x="18424" y="15318"/>
                  </a:lnTo>
                  <a:lnTo>
                    <a:pt x="18655" y="15304"/>
                  </a:lnTo>
                  <a:lnTo>
                    <a:pt x="18759" y="15057"/>
                  </a:lnTo>
                  <a:cubicBezTo>
                    <a:pt x="18777" y="14995"/>
                    <a:pt x="18799" y="14935"/>
                    <a:pt x="18824" y="14880"/>
                  </a:cubicBezTo>
                  <a:cubicBezTo>
                    <a:pt x="18871" y="14776"/>
                    <a:pt x="18929" y="14689"/>
                    <a:pt x="18996" y="14623"/>
                  </a:cubicBezTo>
                  <a:lnTo>
                    <a:pt x="19321" y="14418"/>
                  </a:lnTo>
                  <a:lnTo>
                    <a:pt x="19622" y="14295"/>
                  </a:lnTo>
                  <a:lnTo>
                    <a:pt x="19459" y="13998"/>
                  </a:lnTo>
                  <a:lnTo>
                    <a:pt x="19352" y="13728"/>
                  </a:lnTo>
                  <a:lnTo>
                    <a:pt x="19263" y="13311"/>
                  </a:lnTo>
                  <a:lnTo>
                    <a:pt x="19263" y="12674"/>
                  </a:lnTo>
                  <a:lnTo>
                    <a:pt x="19094" y="12413"/>
                  </a:lnTo>
                  <a:lnTo>
                    <a:pt x="18905" y="12303"/>
                  </a:lnTo>
                  <a:lnTo>
                    <a:pt x="18825" y="11587"/>
                  </a:lnTo>
                  <a:lnTo>
                    <a:pt x="18825" y="11300"/>
                  </a:lnTo>
                  <a:lnTo>
                    <a:pt x="19026" y="11176"/>
                  </a:lnTo>
                  <a:lnTo>
                    <a:pt x="19153" y="11204"/>
                  </a:lnTo>
                  <a:lnTo>
                    <a:pt x="19685" y="11492"/>
                  </a:lnTo>
                  <a:lnTo>
                    <a:pt x="19916" y="11286"/>
                  </a:lnTo>
                  <a:lnTo>
                    <a:pt x="20085" y="11176"/>
                  </a:lnTo>
                  <a:lnTo>
                    <a:pt x="20330" y="11204"/>
                  </a:lnTo>
                  <a:lnTo>
                    <a:pt x="20504" y="11392"/>
                  </a:lnTo>
                  <a:lnTo>
                    <a:pt x="20892" y="11571"/>
                  </a:lnTo>
                  <a:lnTo>
                    <a:pt x="21279" y="11763"/>
                  </a:lnTo>
                  <a:lnTo>
                    <a:pt x="21416" y="11557"/>
                  </a:lnTo>
                  <a:lnTo>
                    <a:pt x="21488" y="11250"/>
                  </a:lnTo>
                  <a:lnTo>
                    <a:pt x="21480" y="10939"/>
                  </a:lnTo>
                  <a:lnTo>
                    <a:pt x="21585" y="10788"/>
                  </a:lnTo>
                  <a:lnTo>
                    <a:pt x="21472" y="10615"/>
                  </a:lnTo>
                  <a:lnTo>
                    <a:pt x="21445" y="10409"/>
                  </a:lnTo>
                  <a:lnTo>
                    <a:pt x="21539" y="10161"/>
                  </a:lnTo>
                  <a:lnTo>
                    <a:pt x="21600" y="9773"/>
                  </a:lnTo>
                  <a:lnTo>
                    <a:pt x="21449" y="9398"/>
                  </a:lnTo>
                  <a:lnTo>
                    <a:pt x="21248" y="9192"/>
                  </a:lnTo>
                  <a:lnTo>
                    <a:pt x="21117" y="9270"/>
                  </a:lnTo>
                  <a:lnTo>
                    <a:pt x="21077" y="9513"/>
                  </a:lnTo>
                  <a:lnTo>
                    <a:pt x="21021" y="9718"/>
                  </a:lnTo>
                  <a:lnTo>
                    <a:pt x="20909" y="9814"/>
                  </a:lnTo>
                  <a:lnTo>
                    <a:pt x="20756" y="9882"/>
                  </a:lnTo>
                  <a:lnTo>
                    <a:pt x="20592" y="9662"/>
                  </a:lnTo>
                  <a:lnTo>
                    <a:pt x="20385" y="9355"/>
                  </a:lnTo>
                  <a:lnTo>
                    <a:pt x="20422" y="9122"/>
                  </a:lnTo>
                  <a:lnTo>
                    <a:pt x="20264" y="8894"/>
                  </a:lnTo>
                  <a:lnTo>
                    <a:pt x="20434" y="8637"/>
                  </a:lnTo>
                  <a:lnTo>
                    <a:pt x="20710" y="8587"/>
                  </a:lnTo>
                  <a:lnTo>
                    <a:pt x="20858" y="8416"/>
                  </a:lnTo>
                  <a:lnTo>
                    <a:pt x="20898" y="8128"/>
                  </a:lnTo>
                  <a:lnTo>
                    <a:pt x="20858" y="7798"/>
                  </a:lnTo>
                  <a:lnTo>
                    <a:pt x="20732" y="7675"/>
                  </a:lnTo>
                  <a:lnTo>
                    <a:pt x="20644" y="7355"/>
                  </a:lnTo>
                  <a:lnTo>
                    <a:pt x="20491" y="7121"/>
                  </a:lnTo>
                  <a:lnTo>
                    <a:pt x="20507" y="6709"/>
                  </a:lnTo>
                  <a:lnTo>
                    <a:pt x="20499" y="6365"/>
                  </a:lnTo>
                  <a:lnTo>
                    <a:pt x="20459" y="5985"/>
                  </a:lnTo>
                  <a:lnTo>
                    <a:pt x="20451" y="5531"/>
                  </a:lnTo>
                  <a:lnTo>
                    <a:pt x="20370" y="5106"/>
                  </a:lnTo>
                  <a:lnTo>
                    <a:pt x="20231" y="4810"/>
                  </a:lnTo>
                  <a:lnTo>
                    <a:pt x="20145" y="4182"/>
                  </a:lnTo>
                  <a:lnTo>
                    <a:pt x="20065" y="3716"/>
                  </a:lnTo>
                  <a:lnTo>
                    <a:pt x="19979" y="3404"/>
                  </a:lnTo>
                  <a:lnTo>
                    <a:pt x="19963" y="3062"/>
                  </a:lnTo>
                  <a:lnTo>
                    <a:pt x="20091" y="2842"/>
                  </a:lnTo>
                  <a:lnTo>
                    <a:pt x="20317" y="2737"/>
                  </a:lnTo>
                  <a:lnTo>
                    <a:pt x="20570" y="2546"/>
                  </a:lnTo>
                  <a:lnTo>
                    <a:pt x="20683" y="2340"/>
                  </a:lnTo>
                  <a:lnTo>
                    <a:pt x="20965" y="2162"/>
                  </a:lnTo>
                  <a:lnTo>
                    <a:pt x="21059" y="2043"/>
                  </a:lnTo>
                  <a:lnTo>
                    <a:pt x="21076" y="1814"/>
                  </a:lnTo>
                  <a:lnTo>
                    <a:pt x="21092" y="1581"/>
                  </a:lnTo>
                  <a:lnTo>
                    <a:pt x="20928" y="1371"/>
                  </a:lnTo>
                  <a:lnTo>
                    <a:pt x="20807" y="1150"/>
                  </a:lnTo>
                  <a:close/>
                </a:path>
              </a:pathLst>
            </a:custGeom>
            <a:grpFill/>
            <a:ln w="25400" cap="flat">
              <a:noFill/>
              <a:prstDash val="solid"/>
              <a:miter lim="400000"/>
            </a:ln>
            <a:effectLst/>
          </p:spPr>
          <p:txBody>
            <a:bodyPr anchor="ctr"/>
            <a:lstStyle/>
            <a:p>
              <a:pPr algn="ctr"/>
              <a:endParaRPr/>
            </a:p>
          </p:txBody>
        </p:sp>
        <p:sp>
          <p:nvSpPr>
            <p:cNvPr id="302" name="任意多边形: 形状 301">
              <a:extLst>
                <a:ext uri="{FF2B5EF4-FFF2-40B4-BE49-F238E27FC236}">
                  <a16:creationId xmlns:a16="http://schemas.microsoft.com/office/drawing/2014/main" id="{8A5B995D-0333-401B-B877-49CA5803740B}"/>
                </a:ext>
              </a:extLst>
            </p:cNvPr>
            <p:cNvSpPr/>
            <p:nvPr/>
          </p:nvSpPr>
          <p:spPr>
            <a:xfrm>
              <a:off x="6872934" y="1426645"/>
              <a:ext cx="308560" cy="179738"/>
            </a:xfrm>
            <a:custGeom>
              <a:avLst/>
              <a:gdLst/>
              <a:ahLst/>
              <a:cxnLst>
                <a:cxn ang="0">
                  <a:pos x="wd2" y="hd2"/>
                </a:cxn>
                <a:cxn ang="5400000">
                  <a:pos x="wd2" y="hd2"/>
                </a:cxn>
                <a:cxn ang="10800000">
                  <a:pos x="wd2" y="hd2"/>
                </a:cxn>
                <a:cxn ang="16200000">
                  <a:pos x="wd2" y="hd2"/>
                </a:cxn>
              </a:cxnLst>
              <a:rect l="0" t="0" r="r" b="b"/>
              <a:pathLst>
                <a:path w="21600" h="21600" extrusionOk="0">
                  <a:moveTo>
                    <a:pt x="4445" y="7866"/>
                  </a:moveTo>
                  <a:lnTo>
                    <a:pt x="3880" y="8515"/>
                  </a:lnTo>
                  <a:lnTo>
                    <a:pt x="2778" y="8369"/>
                  </a:lnTo>
                  <a:lnTo>
                    <a:pt x="2178" y="9461"/>
                  </a:lnTo>
                  <a:lnTo>
                    <a:pt x="3120" y="10277"/>
                  </a:lnTo>
                  <a:lnTo>
                    <a:pt x="3156" y="12185"/>
                  </a:lnTo>
                  <a:lnTo>
                    <a:pt x="2430" y="12337"/>
                  </a:lnTo>
                  <a:lnTo>
                    <a:pt x="1278" y="11885"/>
                  </a:lnTo>
                  <a:lnTo>
                    <a:pt x="769" y="12613"/>
                  </a:lnTo>
                  <a:lnTo>
                    <a:pt x="566" y="13516"/>
                  </a:lnTo>
                  <a:lnTo>
                    <a:pt x="1354" y="13873"/>
                  </a:lnTo>
                  <a:lnTo>
                    <a:pt x="1463" y="14966"/>
                  </a:lnTo>
                  <a:lnTo>
                    <a:pt x="698" y="15754"/>
                  </a:lnTo>
                  <a:lnTo>
                    <a:pt x="273" y="16479"/>
                  </a:lnTo>
                  <a:lnTo>
                    <a:pt x="0" y="18023"/>
                  </a:lnTo>
                  <a:lnTo>
                    <a:pt x="841" y="18266"/>
                  </a:lnTo>
                  <a:lnTo>
                    <a:pt x="2336" y="18448"/>
                  </a:lnTo>
                  <a:lnTo>
                    <a:pt x="3297" y="19783"/>
                  </a:lnTo>
                  <a:lnTo>
                    <a:pt x="3987" y="20416"/>
                  </a:lnTo>
                  <a:lnTo>
                    <a:pt x="5126" y="21509"/>
                  </a:lnTo>
                  <a:lnTo>
                    <a:pt x="6761" y="21418"/>
                  </a:lnTo>
                  <a:lnTo>
                    <a:pt x="8539" y="21600"/>
                  </a:lnTo>
                  <a:lnTo>
                    <a:pt x="8021" y="19297"/>
                  </a:lnTo>
                  <a:lnTo>
                    <a:pt x="6548" y="18235"/>
                  </a:lnTo>
                  <a:lnTo>
                    <a:pt x="6499" y="15428"/>
                  </a:lnTo>
                  <a:lnTo>
                    <a:pt x="6997" y="13668"/>
                  </a:lnTo>
                  <a:lnTo>
                    <a:pt x="8012" y="10664"/>
                  </a:lnTo>
                  <a:lnTo>
                    <a:pt x="8386" y="8570"/>
                  </a:lnTo>
                  <a:lnTo>
                    <a:pt x="9594" y="6965"/>
                  </a:lnTo>
                  <a:lnTo>
                    <a:pt x="10818" y="7328"/>
                  </a:lnTo>
                  <a:lnTo>
                    <a:pt x="12132" y="6430"/>
                  </a:lnTo>
                  <a:lnTo>
                    <a:pt x="13272" y="5308"/>
                  </a:lnTo>
                  <a:lnTo>
                    <a:pt x="14533" y="4941"/>
                  </a:lnTo>
                  <a:lnTo>
                    <a:pt x="16291" y="4582"/>
                  </a:lnTo>
                  <a:cubicBezTo>
                    <a:pt x="16608" y="4821"/>
                    <a:pt x="16969" y="4821"/>
                    <a:pt x="17286" y="4583"/>
                  </a:cubicBezTo>
                  <a:cubicBezTo>
                    <a:pt x="17607" y="4341"/>
                    <a:pt x="17852" y="3877"/>
                    <a:pt x="17960" y="3308"/>
                  </a:cubicBezTo>
                  <a:lnTo>
                    <a:pt x="19113" y="3551"/>
                  </a:lnTo>
                  <a:lnTo>
                    <a:pt x="19985" y="3581"/>
                  </a:lnTo>
                  <a:lnTo>
                    <a:pt x="20338" y="2523"/>
                  </a:lnTo>
                  <a:lnTo>
                    <a:pt x="21351" y="2592"/>
                  </a:lnTo>
                  <a:lnTo>
                    <a:pt x="21600" y="1704"/>
                  </a:lnTo>
                  <a:lnTo>
                    <a:pt x="20641" y="1406"/>
                  </a:lnTo>
                  <a:lnTo>
                    <a:pt x="20071" y="705"/>
                  </a:lnTo>
                  <a:lnTo>
                    <a:pt x="18972" y="0"/>
                  </a:lnTo>
                  <a:lnTo>
                    <a:pt x="18514" y="430"/>
                  </a:lnTo>
                  <a:lnTo>
                    <a:pt x="18354" y="1523"/>
                  </a:lnTo>
                  <a:lnTo>
                    <a:pt x="17731" y="802"/>
                  </a:lnTo>
                  <a:lnTo>
                    <a:pt x="16469" y="984"/>
                  </a:lnTo>
                  <a:lnTo>
                    <a:pt x="15528" y="1617"/>
                  </a:lnTo>
                  <a:lnTo>
                    <a:pt x="14947" y="2494"/>
                  </a:lnTo>
                  <a:lnTo>
                    <a:pt x="13721" y="2312"/>
                  </a:lnTo>
                  <a:lnTo>
                    <a:pt x="11020" y="2130"/>
                  </a:lnTo>
                  <a:lnTo>
                    <a:pt x="9792" y="2039"/>
                  </a:lnTo>
                  <a:lnTo>
                    <a:pt x="8352" y="2392"/>
                  </a:lnTo>
                  <a:lnTo>
                    <a:pt x="7818" y="3025"/>
                  </a:lnTo>
                  <a:lnTo>
                    <a:pt x="6699" y="4565"/>
                  </a:lnTo>
                  <a:lnTo>
                    <a:pt x="5633" y="4656"/>
                  </a:lnTo>
                  <a:lnTo>
                    <a:pt x="4834" y="5829"/>
                  </a:lnTo>
                  <a:lnTo>
                    <a:pt x="4445" y="7866"/>
                  </a:lnTo>
                  <a:close/>
                </a:path>
              </a:pathLst>
            </a:custGeom>
            <a:grpFill/>
            <a:ln w="25400" cap="flat">
              <a:noFill/>
              <a:prstDash val="solid"/>
              <a:miter lim="400000"/>
            </a:ln>
            <a:effectLst/>
          </p:spPr>
          <p:txBody>
            <a:bodyPr anchor="ctr"/>
            <a:lstStyle/>
            <a:p>
              <a:pPr algn="ctr"/>
              <a:endParaRPr/>
            </a:p>
          </p:txBody>
        </p:sp>
        <p:sp>
          <p:nvSpPr>
            <p:cNvPr id="303" name="任意多边形: 形状 302">
              <a:extLst>
                <a:ext uri="{FF2B5EF4-FFF2-40B4-BE49-F238E27FC236}">
                  <a16:creationId xmlns:a16="http://schemas.microsoft.com/office/drawing/2014/main" id="{D6974611-6753-4116-8660-2EB1A1F614AE}"/>
                </a:ext>
              </a:extLst>
            </p:cNvPr>
            <p:cNvSpPr/>
            <p:nvPr/>
          </p:nvSpPr>
          <p:spPr>
            <a:xfrm>
              <a:off x="5869377" y="1326101"/>
              <a:ext cx="358160" cy="136980"/>
            </a:xfrm>
            <a:custGeom>
              <a:avLst/>
              <a:gdLst/>
              <a:ahLst/>
              <a:cxnLst>
                <a:cxn ang="0">
                  <a:pos x="wd2" y="hd2"/>
                </a:cxn>
                <a:cxn ang="5400000">
                  <a:pos x="wd2" y="hd2"/>
                </a:cxn>
                <a:cxn ang="10800000">
                  <a:pos x="wd2" y="hd2"/>
                </a:cxn>
                <a:cxn ang="16200000">
                  <a:pos x="wd2" y="hd2"/>
                </a:cxn>
              </a:cxnLst>
              <a:rect l="0" t="0" r="r" b="b"/>
              <a:pathLst>
                <a:path w="21600" h="21600" extrusionOk="0">
                  <a:moveTo>
                    <a:pt x="21036" y="2810"/>
                  </a:moveTo>
                  <a:lnTo>
                    <a:pt x="18126" y="2696"/>
                  </a:lnTo>
                  <a:lnTo>
                    <a:pt x="15876" y="2514"/>
                  </a:lnTo>
                  <a:lnTo>
                    <a:pt x="14560" y="2399"/>
                  </a:lnTo>
                  <a:lnTo>
                    <a:pt x="13964" y="607"/>
                  </a:lnTo>
                  <a:lnTo>
                    <a:pt x="13265" y="0"/>
                  </a:lnTo>
                  <a:lnTo>
                    <a:pt x="13209" y="2844"/>
                  </a:lnTo>
                  <a:lnTo>
                    <a:pt x="12490" y="2839"/>
                  </a:lnTo>
                  <a:lnTo>
                    <a:pt x="12105" y="3909"/>
                  </a:lnTo>
                  <a:lnTo>
                    <a:pt x="12121" y="6612"/>
                  </a:lnTo>
                  <a:lnTo>
                    <a:pt x="11757" y="7673"/>
                  </a:lnTo>
                  <a:lnTo>
                    <a:pt x="11102" y="6284"/>
                  </a:lnTo>
                  <a:lnTo>
                    <a:pt x="11237" y="3700"/>
                  </a:lnTo>
                  <a:lnTo>
                    <a:pt x="10419" y="2546"/>
                  </a:lnTo>
                  <a:lnTo>
                    <a:pt x="9953" y="4134"/>
                  </a:lnTo>
                  <a:lnTo>
                    <a:pt x="9148" y="5886"/>
                  </a:lnTo>
                  <a:lnTo>
                    <a:pt x="7705" y="5408"/>
                  </a:lnTo>
                  <a:lnTo>
                    <a:pt x="6697" y="5288"/>
                  </a:lnTo>
                  <a:lnTo>
                    <a:pt x="6009" y="4218"/>
                  </a:lnTo>
                  <a:lnTo>
                    <a:pt x="5379" y="3745"/>
                  </a:lnTo>
                  <a:lnTo>
                    <a:pt x="2617" y="4347"/>
                  </a:lnTo>
                  <a:lnTo>
                    <a:pt x="1144" y="3636"/>
                  </a:lnTo>
                  <a:lnTo>
                    <a:pt x="135" y="4591"/>
                  </a:lnTo>
                  <a:lnTo>
                    <a:pt x="0" y="6851"/>
                  </a:lnTo>
                  <a:lnTo>
                    <a:pt x="1109" y="8265"/>
                  </a:lnTo>
                  <a:lnTo>
                    <a:pt x="1858" y="9728"/>
                  </a:lnTo>
                  <a:lnTo>
                    <a:pt x="2773" y="10918"/>
                  </a:lnTo>
                  <a:lnTo>
                    <a:pt x="3798" y="10560"/>
                  </a:lnTo>
                  <a:lnTo>
                    <a:pt x="4488" y="11864"/>
                  </a:lnTo>
                  <a:lnTo>
                    <a:pt x="5238" y="12297"/>
                  </a:lnTo>
                  <a:lnTo>
                    <a:pt x="5238" y="9037"/>
                  </a:lnTo>
                  <a:lnTo>
                    <a:pt x="6816" y="8599"/>
                  </a:lnTo>
                  <a:lnTo>
                    <a:pt x="6769" y="11506"/>
                  </a:lnTo>
                  <a:lnTo>
                    <a:pt x="6906" y="13288"/>
                  </a:lnTo>
                  <a:lnTo>
                    <a:pt x="4182" y="13367"/>
                  </a:lnTo>
                  <a:lnTo>
                    <a:pt x="4105" y="14562"/>
                  </a:lnTo>
                  <a:lnTo>
                    <a:pt x="4611" y="15358"/>
                  </a:lnTo>
                  <a:lnTo>
                    <a:pt x="5606" y="16747"/>
                  </a:lnTo>
                  <a:lnTo>
                    <a:pt x="7302" y="19415"/>
                  </a:lnTo>
                  <a:lnTo>
                    <a:pt x="8040" y="21600"/>
                  </a:lnTo>
                  <a:lnTo>
                    <a:pt x="8822" y="21485"/>
                  </a:lnTo>
                  <a:lnTo>
                    <a:pt x="9465" y="18116"/>
                  </a:lnTo>
                  <a:lnTo>
                    <a:pt x="9649" y="15258"/>
                  </a:lnTo>
                  <a:lnTo>
                    <a:pt x="10369" y="13745"/>
                  </a:lnTo>
                  <a:lnTo>
                    <a:pt x="11287" y="14343"/>
                  </a:lnTo>
                  <a:lnTo>
                    <a:pt x="11640" y="11993"/>
                  </a:lnTo>
                  <a:lnTo>
                    <a:pt x="11640" y="9136"/>
                  </a:lnTo>
                  <a:lnTo>
                    <a:pt x="13126" y="8703"/>
                  </a:lnTo>
                  <a:lnTo>
                    <a:pt x="14029" y="10490"/>
                  </a:lnTo>
                  <a:lnTo>
                    <a:pt x="14715" y="12003"/>
                  </a:lnTo>
                  <a:lnTo>
                    <a:pt x="14303" y="13193"/>
                  </a:lnTo>
                  <a:lnTo>
                    <a:pt x="13891" y="14507"/>
                  </a:lnTo>
                  <a:lnTo>
                    <a:pt x="14441" y="16856"/>
                  </a:lnTo>
                  <a:lnTo>
                    <a:pt x="15346" y="16264"/>
                  </a:lnTo>
                  <a:lnTo>
                    <a:pt x="15759" y="14472"/>
                  </a:lnTo>
                  <a:lnTo>
                    <a:pt x="16864" y="14472"/>
                  </a:lnTo>
                  <a:lnTo>
                    <a:pt x="17370" y="15303"/>
                  </a:lnTo>
                  <a:lnTo>
                    <a:pt x="17732" y="17409"/>
                  </a:lnTo>
                  <a:lnTo>
                    <a:pt x="18407" y="16692"/>
                  </a:lnTo>
                  <a:lnTo>
                    <a:pt x="19503" y="15398"/>
                  </a:lnTo>
                  <a:lnTo>
                    <a:pt x="18539" y="14208"/>
                  </a:lnTo>
                  <a:lnTo>
                    <a:pt x="18004" y="13969"/>
                  </a:lnTo>
                  <a:lnTo>
                    <a:pt x="17870" y="12460"/>
                  </a:lnTo>
                  <a:lnTo>
                    <a:pt x="17136" y="11630"/>
                  </a:lnTo>
                  <a:lnTo>
                    <a:pt x="15759" y="11037"/>
                  </a:lnTo>
                  <a:lnTo>
                    <a:pt x="14891" y="9608"/>
                  </a:lnTo>
                  <a:lnTo>
                    <a:pt x="14017" y="8334"/>
                  </a:lnTo>
                  <a:lnTo>
                    <a:pt x="13655" y="7742"/>
                  </a:lnTo>
                  <a:lnTo>
                    <a:pt x="13563" y="5253"/>
                  </a:lnTo>
                  <a:lnTo>
                    <a:pt x="14253" y="4895"/>
                  </a:lnTo>
                  <a:lnTo>
                    <a:pt x="14864" y="7105"/>
                  </a:lnTo>
                  <a:lnTo>
                    <a:pt x="16948" y="7941"/>
                  </a:lnTo>
                  <a:lnTo>
                    <a:pt x="18002" y="8891"/>
                  </a:lnTo>
                  <a:lnTo>
                    <a:pt x="19472" y="7458"/>
                  </a:lnTo>
                  <a:lnTo>
                    <a:pt x="20699" y="6542"/>
                  </a:lnTo>
                  <a:lnTo>
                    <a:pt x="21374" y="4805"/>
                  </a:lnTo>
                  <a:lnTo>
                    <a:pt x="21600" y="3028"/>
                  </a:lnTo>
                  <a:lnTo>
                    <a:pt x="21036" y="2810"/>
                  </a:lnTo>
                  <a:close/>
                </a:path>
              </a:pathLst>
            </a:custGeom>
            <a:grpFill/>
            <a:ln w="25400" cap="flat">
              <a:noFill/>
              <a:prstDash val="solid"/>
              <a:miter lim="400000"/>
            </a:ln>
            <a:effectLst/>
          </p:spPr>
          <p:txBody>
            <a:bodyPr anchor="ctr"/>
            <a:lstStyle/>
            <a:p>
              <a:pPr algn="ctr"/>
              <a:endParaRPr/>
            </a:p>
          </p:txBody>
        </p:sp>
        <p:sp>
          <p:nvSpPr>
            <p:cNvPr id="304" name="任意多边形: 形状 303">
              <a:extLst>
                <a:ext uri="{FF2B5EF4-FFF2-40B4-BE49-F238E27FC236}">
                  <a16:creationId xmlns:a16="http://schemas.microsoft.com/office/drawing/2014/main" id="{5202F8B2-2B73-401D-A7C1-B9127A1094CD}"/>
                </a:ext>
              </a:extLst>
            </p:cNvPr>
            <p:cNvSpPr/>
            <p:nvPr/>
          </p:nvSpPr>
          <p:spPr>
            <a:xfrm>
              <a:off x="5016160" y="1729403"/>
              <a:ext cx="228706" cy="93668"/>
            </a:xfrm>
            <a:custGeom>
              <a:avLst/>
              <a:gdLst/>
              <a:ahLst/>
              <a:cxnLst>
                <a:cxn ang="0">
                  <a:pos x="wd2" y="hd2"/>
                </a:cxn>
                <a:cxn ang="5400000">
                  <a:pos x="wd2" y="hd2"/>
                </a:cxn>
                <a:cxn ang="10800000">
                  <a:pos x="wd2" y="hd2"/>
                </a:cxn>
                <a:cxn ang="16200000">
                  <a:pos x="wd2" y="hd2"/>
                </a:cxn>
              </a:cxnLst>
              <a:rect l="0" t="0" r="r" b="b"/>
              <a:pathLst>
                <a:path w="21600" h="21600" extrusionOk="0">
                  <a:moveTo>
                    <a:pt x="17441" y="270"/>
                  </a:moveTo>
                  <a:lnTo>
                    <a:pt x="15742" y="0"/>
                  </a:lnTo>
                  <a:lnTo>
                    <a:pt x="14405" y="1481"/>
                  </a:lnTo>
                  <a:lnTo>
                    <a:pt x="12187" y="4101"/>
                  </a:lnTo>
                  <a:lnTo>
                    <a:pt x="10897" y="4101"/>
                  </a:lnTo>
                  <a:lnTo>
                    <a:pt x="8628" y="1546"/>
                  </a:lnTo>
                  <a:lnTo>
                    <a:pt x="6724" y="2070"/>
                  </a:lnTo>
                  <a:lnTo>
                    <a:pt x="5296" y="4167"/>
                  </a:lnTo>
                  <a:lnTo>
                    <a:pt x="1948" y="7428"/>
                  </a:lnTo>
                  <a:lnTo>
                    <a:pt x="1232" y="7428"/>
                  </a:lnTo>
                  <a:lnTo>
                    <a:pt x="0" y="9510"/>
                  </a:lnTo>
                  <a:lnTo>
                    <a:pt x="92" y="13288"/>
                  </a:lnTo>
                  <a:lnTo>
                    <a:pt x="773" y="15544"/>
                  </a:lnTo>
                  <a:lnTo>
                    <a:pt x="2067" y="12989"/>
                  </a:lnTo>
                  <a:lnTo>
                    <a:pt x="3646" y="15959"/>
                  </a:lnTo>
                  <a:cubicBezTo>
                    <a:pt x="4278" y="16734"/>
                    <a:pt x="4893" y="17587"/>
                    <a:pt x="5489" y="18514"/>
                  </a:cubicBezTo>
                  <a:cubicBezTo>
                    <a:pt x="6102" y="19467"/>
                    <a:pt x="6694" y="20497"/>
                    <a:pt x="7263" y="21600"/>
                  </a:cubicBezTo>
                  <a:lnTo>
                    <a:pt x="8821" y="21600"/>
                  </a:lnTo>
                  <a:lnTo>
                    <a:pt x="10787" y="16890"/>
                  </a:lnTo>
                  <a:lnTo>
                    <a:pt x="12583" y="16890"/>
                  </a:lnTo>
                  <a:lnTo>
                    <a:pt x="15533" y="16716"/>
                  </a:lnTo>
                  <a:lnTo>
                    <a:pt x="17142" y="13513"/>
                  </a:lnTo>
                  <a:lnTo>
                    <a:pt x="18721" y="10914"/>
                  </a:lnTo>
                  <a:lnTo>
                    <a:pt x="20955" y="10041"/>
                  </a:lnTo>
                  <a:lnTo>
                    <a:pt x="21600" y="8323"/>
                  </a:lnTo>
                  <a:lnTo>
                    <a:pt x="20688" y="4902"/>
                  </a:lnTo>
                  <a:lnTo>
                    <a:pt x="19658" y="3045"/>
                  </a:lnTo>
                  <a:lnTo>
                    <a:pt x="18823" y="1655"/>
                  </a:lnTo>
                  <a:lnTo>
                    <a:pt x="17441" y="270"/>
                  </a:lnTo>
                  <a:close/>
                </a:path>
              </a:pathLst>
            </a:custGeom>
            <a:grpFill/>
            <a:ln w="25400" cap="flat">
              <a:noFill/>
              <a:prstDash val="solid"/>
              <a:miter lim="400000"/>
            </a:ln>
            <a:effectLst/>
          </p:spPr>
          <p:txBody>
            <a:bodyPr anchor="ctr"/>
            <a:lstStyle/>
            <a:p>
              <a:pPr algn="ctr"/>
              <a:endParaRPr/>
            </a:p>
          </p:txBody>
        </p:sp>
        <p:sp>
          <p:nvSpPr>
            <p:cNvPr id="305" name="任意多边形: 形状 304">
              <a:extLst>
                <a:ext uri="{FF2B5EF4-FFF2-40B4-BE49-F238E27FC236}">
                  <a16:creationId xmlns:a16="http://schemas.microsoft.com/office/drawing/2014/main" id="{6A13DEFC-9598-44F3-B0C1-38F1CB8C33BC}"/>
                </a:ext>
              </a:extLst>
            </p:cNvPr>
            <p:cNvSpPr/>
            <p:nvPr/>
          </p:nvSpPr>
          <p:spPr>
            <a:xfrm>
              <a:off x="5414902" y="1601282"/>
              <a:ext cx="41288" cy="20045"/>
            </a:xfrm>
            <a:custGeom>
              <a:avLst/>
              <a:gdLst/>
              <a:ahLst/>
              <a:cxnLst>
                <a:cxn ang="0">
                  <a:pos x="wd2" y="hd2"/>
                </a:cxn>
                <a:cxn ang="5400000">
                  <a:pos x="wd2" y="hd2"/>
                </a:cxn>
                <a:cxn ang="10800000">
                  <a:pos x="wd2" y="hd2"/>
                </a:cxn>
                <a:cxn ang="16200000">
                  <a:pos x="wd2" y="hd2"/>
                </a:cxn>
              </a:cxnLst>
              <a:rect l="0" t="0" r="r" b="b"/>
              <a:pathLst>
                <a:path w="21600" h="21600" extrusionOk="0">
                  <a:moveTo>
                    <a:pt x="15176" y="0"/>
                  </a:moveTo>
                  <a:lnTo>
                    <a:pt x="10983" y="4657"/>
                  </a:lnTo>
                  <a:lnTo>
                    <a:pt x="5919" y="4185"/>
                  </a:lnTo>
                  <a:lnTo>
                    <a:pt x="0" y="5818"/>
                  </a:lnTo>
                  <a:lnTo>
                    <a:pt x="17" y="18606"/>
                  </a:lnTo>
                  <a:lnTo>
                    <a:pt x="11091" y="21600"/>
                  </a:lnTo>
                  <a:lnTo>
                    <a:pt x="21600" y="16735"/>
                  </a:lnTo>
                  <a:lnTo>
                    <a:pt x="21483" y="2347"/>
                  </a:lnTo>
                  <a:lnTo>
                    <a:pt x="15176" y="0"/>
                  </a:lnTo>
                  <a:close/>
                </a:path>
              </a:pathLst>
            </a:custGeom>
            <a:grpFill/>
            <a:ln w="25400" cap="flat">
              <a:noFill/>
              <a:prstDash val="solid"/>
              <a:miter lim="400000"/>
            </a:ln>
            <a:effectLst/>
          </p:spPr>
          <p:txBody>
            <a:bodyPr anchor="ctr"/>
            <a:lstStyle/>
            <a:p>
              <a:pPr algn="ctr"/>
              <a:endParaRPr/>
            </a:p>
          </p:txBody>
        </p:sp>
        <p:sp>
          <p:nvSpPr>
            <p:cNvPr id="306" name="任意多边形: 形状 305">
              <a:extLst>
                <a:ext uri="{FF2B5EF4-FFF2-40B4-BE49-F238E27FC236}">
                  <a16:creationId xmlns:a16="http://schemas.microsoft.com/office/drawing/2014/main" id="{CE5F9D85-2615-4F40-9EC5-5EE107C874DE}"/>
                </a:ext>
              </a:extLst>
            </p:cNvPr>
            <p:cNvSpPr/>
            <p:nvPr/>
          </p:nvSpPr>
          <p:spPr>
            <a:xfrm>
              <a:off x="5426458" y="1837882"/>
              <a:ext cx="35170" cy="22995"/>
            </a:xfrm>
            <a:custGeom>
              <a:avLst/>
              <a:gdLst/>
              <a:ahLst/>
              <a:cxnLst>
                <a:cxn ang="0">
                  <a:pos x="wd2" y="hd2"/>
                </a:cxn>
                <a:cxn ang="5400000">
                  <a:pos x="wd2" y="hd2"/>
                </a:cxn>
                <a:cxn ang="10800000">
                  <a:pos x="wd2" y="hd2"/>
                </a:cxn>
                <a:cxn ang="16200000">
                  <a:pos x="wd2" y="hd2"/>
                </a:cxn>
              </a:cxnLst>
              <a:rect l="0" t="0" r="r" b="b"/>
              <a:pathLst>
                <a:path w="21600" h="21600" extrusionOk="0">
                  <a:moveTo>
                    <a:pt x="9779" y="0"/>
                  </a:moveTo>
                  <a:lnTo>
                    <a:pt x="0" y="1898"/>
                  </a:lnTo>
                  <a:lnTo>
                    <a:pt x="497" y="14515"/>
                  </a:lnTo>
                  <a:lnTo>
                    <a:pt x="10043" y="15938"/>
                  </a:lnTo>
                  <a:lnTo>
                    <a:pt x="21600" y="21600"/>
                  </a:lnTo>
                  <a:lnTo>
                    <a:pt x="18457" y="5083"/>
                  </a:lnTo>
                  <a:lnTo>
                    <a:pt x="9779" y="0"/>
                  </a:lnTo>
                  <a:close/>
                </a:path>
              </a:pathLst>
            </a:custGeom>
            <a:grpFill/>
            <a:ln w="25400" cap="flat">
              <a:noFill/>
              <a:prstDash val="solid"/>
              <a:miter lim="400000"/>
            </a:ln>
            <a:effectLst/>
          </p:spPr>
          <p:txBody>
            <a:bodyPr anchor="ctr"/>
            <a:lstStyle/>
            <a:p>
              <a:pPr algn="ctr"/>
              <a:endParaRPr/>
            </a:p>
          </p:txBody>
        </p:sp>
        <p:sp>
          <p:nvSpPr>
            <p:cNvPr id="307" name="任意多边形: 形状 306">
              <a:extLst>
                <a:ext uri="{FF2B5EF4-FFF2-40B4-BE49-F238E27FC236}">
                  <a16:creationId xmlns:a16="http://schemas.microsoft.com/office/drawing/2014/main" id="{04A06109-4186-4AAD-8367-F818A7EB22DF}"/>
                </a:ext>
              </a:extLst>
            </p:cNvPr>
            <p:cNvSpPr/>
            <p:nvPr/>
          </p:nvSpPr>
          <p:spPr>
            <a:xfrm>
              <a:off x="5430421" y="1863360"/>
              <a:ext cx="21346" cy="16360"/>
            </a:xfrm>
            <a:custGeom>
              <a:avLst/>
              <a:gdLst/>
              <a:ahLst/>
              <a:cxnLst>
                <a:cxn ang="0">
                  <a:pos x="wd2" y="hd2"/>
                </a:cxn>
                <a:cxn ang="5400000">
                  <a:pos x="wd2" y="hd2"/>
                </a:cxn>
                <a:cxn ang="10800000">
                  <a:pos x="wd2" y="hd2"/>
                </a:cxn>
                <a:cxn ang="16200000">
                  <a:pos x="wd2" y="hd2"/>
                </a:cxn>
              </a:cxnLst>
              <a:rect l="0" t="0" r="r" b="b"/>
              <a:pathLst>
                <a:path w="21600" h="21600" extrusionOk="0">
                  <a:moveTo>
                    <a:pt x="12170" y="2345"/>
                  </a:moveTo>
                  <a:lnTo>
                    <a:pt x="2749" y="0"/>
                  </a:lnTo>
                  <a:lnTo>
                    <a:pt x="0" y="17437"/>
                  </a:lnTo>
                  <a:lnTo>
                    <a:pt x="16227" y="21600"/>
                  </a:lnTo>
                  <a:lnTo>
                    <a:pt x="21600" y="10871"/>
                  </a:lnTo>
                  <a:lnTo>
                    <a:pt x="12170" y="2345"/>
                  </a:lnTo>
                  <a:close/>
                </a:path>
              </a:pathLst>
            </a:custGeom>
            <a:grpFill/>
            <a:ln w="25400" cap="flat">
              <a:noFill/>
              <a:prstDash val="solid"/>
              <a:miter lim="400000"/>
            </a:ln>
            <a:effectLst/>
          </p:spPr>
          <p:txBody>
            <a:bodyPr anchor="ctr"/>
            <a:lstStyle/>
            <a:p>
              <a:pPr algn="ctr"/>
              <a:endParaRPr/>
            </a:p>
          </p:txBody>
        </p:sp>
        <p:sp>
          <p:nvSpPr>
            <p:cNvPr id="308" name="任意多边形: 形状 307">
              <a:extLst>
                <a:ext uri="{FF2B5EF4-FFF2-40B4-BE49-F238E27FC236}">
                  <a16:creationId xmlns:a16="http://schemas.microsoft.com/office/drawing/2014/main" id="{8787ECA1-A542-4C9C-A2EE-69716F7ECCBB}"/>
                </a:ext>
              </a:extLst>
            </p:cNvPr>
            <p:cNvSpPr/>
            <p:nvPr/>
          </p:nvSpPr>
          <p:spPr>
            <a:xfrm>
              <a:off x="5276566" y="2090226"/>
              <a:ext cx="141495" cy="136887"/>
            </a:xfrm>
            <a:custGeom>
              <a:avLst/>
              <a:gdLst/>
              <a:ahLst/>
              <a:cxnLst>
                <a:cxn ang="0">
                  <a:pos x="wd2" y="hd2"/>
                </a:cxn>
                <a:cxn ang="5400000">
                  <a:pos x="wd2" y="hd2"/>
                </a:cxn>
                <a:cxn ang="10800000">
                  <a:pos x="wd2" y="hd2"/>
                </a:cxn>
                <a:cxn ang="16200000">
                  <a:pos x="wd2" y="hd2"/>
                </a:cxn>
              </a:cxnLst>
              <a:rect l="0" t="0" r="r" b="b"/>
              <a:pathLst>
                <a:path w="21600" h="21600" extrusionOk="0">
                  <a:moveTo>
                    <a:pt x="15382" y="115"/>
                  </a:moveTo>
                  <a:lnTo>
                    <a:pt x="11359" y="0"/>
                  </a:lnTo>
                  <a:lnTo>
                    <a:pt x="9153" y="2568"/>
                  </a:lnTo>
                  <a:lnTo>
                    <a:pt x="6986" y="4361"/>
                  </a:lnTo>
                  <a:lnTo>
                    <a:pt x="4456" y="4002"/>
                  </a:lnTo>
                  <a:lnTo>
                    <a:pt x="1440" y="5073"/>
                  </a:lnTo>
                  <a:lnTo>
                    <a:pt x="1800" y="7574"/>
                  </a:lnTo>
                  <a:lnTo>
                    <a:pt x="3652" y="8406"/>
                  </a:lnTo>
                  <a:lnTo>
                    <a:pt x="4457" y="9915"/>
                  </a:lnTo>
                  <a:lnTo>
                    <a:pt x="3642" y="11583"/>
                  </a:lnTo>
                  <a:lnTo>
                    <a:pt x="2953" y="12535"/>
                  </a:lnTo>
                  <a:lnTo>
                    <a:pt x="2371" y="14995"/>
                  </a:lnTo>
                  <a:lnTo>
                    <a:pt x="42" y="15588"/>
                  </a:lnTo>
                  <a:lnTo>
                    <a:pt x="0" y="17102"/>
                  </a:lnTo>
                  <a:lnTo>
                    <a:pt x="974" y="18138"/>
                  </a:lnTo>
                  <a:lnTo>
                    <a:pt x="1672" y="20768"/>
                  </a:lnTo>
                  <a:lnTo>
                    <a:pt x="3483" y="21600"/>
                  </a:lnTo>
                  <a:lnTo>
                    <a:pt x="5773" y="20165"/>
                  </a:lnTo>
                  <a:lnTo>
                    <a:pt x="8334" y="18253"/>
                  </a:lnTo>
                  <a:lnTo>
                    <a:pt x="10697" y="17097"/>
                  </a:lnTo>
                  <a:cubicBezTo>
                    <a:pt x="11878" y="17476"/>
                    <a:pt x="13148" y="17434"/>
                    <a:pt x="14302" y="16978"/>
                  </a:cubicBezTo>
                  <a:cubicBezTo>
                    <a:pt x="14998" y="16703"/>
                    <a:pt x="15630" y="16284"/>
                    <a:pt x="16161" y="15748"/>
                  </a:cubicBezTo>
                  <a:cubicBezTo>
                    <a:pt x="16616" y="15267"/>
                    <a:pt x="16972" y="14698"/>
                    <a:pt x="17209" y="14074"/>
                  </a:cubicBezTo>
                  <a:cubicBezTo>
                    <a:pt x="17751" y="12641"/>
                    <a:pt x="17639" y="11035"/>
                    <a:pt x="16903" y="9696"/>
                  </a:cubicBezTo>
                  <a:lnTo>
                    <a:pt x="17252" y="7434"/>
                  </a:lnTo>
                  <a:lnTo>
                    <a:pt x="18650" y="5686"/>
                  </a:lnTo>
                  <a:lnTo>
                    <a:pt x="20358" y="4730"/>
                  </a:lnTo>
                  <a:lnTo>
                    <a:pt x="21600" y="2658"/>
                  </a:lnTo>
                  <a:lnTo>
                    <a:pt x="19703" y="870"/>
                  </a:lnTo>
                  <a:lnTo>
                    <a:pt x="16922" y="162"/>
                  </a:lnTo>
                  <a:lnTo>
                    <a:pt x="15382" y="115"/>
                  </a:lnTo>
                  <a:close/>
                </a:path>
              </a:pathLst>
            </a:custGeom>
            <a:grpFill/>
            <a:ln w="25400" cap="flat">
              <a:noFill/>
              <a:prstDash val="solid"/>
              <a:miter lim="400000"/>
            </a:ln>
            <a:effectLst/>
          </p:spPr>
          <p:txBody>
            <a:bodyPr anchor="ctr"/>
            <a:lstStyle/>
            <a:p>
              <a:pPr algn="ctr"/>
              <a:endParaRPr/>
            </a:p>
          </p:txBody>
        </p:sp>
        <p:sp>
          <p:nvSpPr>
            <p:cNvPr id="309" name="任意多边形: 形状 308">
              <a:extLst>
                <a:ext uri="{FF2B5EF4-FFF2-40B4-BE49-F238E27FC236}">
                  <a16:creationId xmlns:a16="http://schemas.microsoft.com/office/drawing/2014/main" id="{7C29D3F3-CCB1-4C1F-AB64-967837CCB220}"/>
                </a:ext>
              </a:extLst>
            </p:cNvPr>
            <p:cNvSpPr/>
            <p:nvPr/>
          </p:nvSpPr>
          <p:spPr>
            <a:xfrm>
              <a:off x="5407156" y="1993299"/>
              <a:ext cx="206900" cy="271619"/>
            </a:xfrm>
            <a:custGeom>
              <a:avLst/>
              <a:gdLst/>
              <a:ahLst/>
              <a:cxnLst>
                <a:cxn ang="0">
                  <a:pos x="wd2" y="hd2"/>
                </a:cxn>
                <a:cxn ang="5400000">
                  <a:pos x="wd2" y="hd2"/>
                </a:cxn>
                <a:cxn ang="10800000">
                  <a:pos x="wd2" y="hd2"/>
                </a:cxn>
                <a:cxn ang="16200000">
                  <a:pos x="wd2" y="hd2"/>
                </a:cxn>
              </a:cxnLst>
              <a:rect l="0" t="0" r="r" b="b"/>
              <a:pathLst>
                <a:path w="21600" h="21600" extrusionOk="0">
                  <a:moveTo>
                    <a:pt x="6288" y="0"/>
                  </a:moveTo>
                  <a:lnTo>
                    <a:pt x="5027" y="806"/>
                  </a:lnTo>
                  <a:lnTo>
                    <a:pt x="3705" y="828"/>
                  </a:lnTo>
                  <a:lnTo>
                    <a:pt x="3047" y="1789"/>
                  </a:lnTo>
                  <a:lnTo>
                    <a:pt x="3106" y="2665"/>
                  </a:lnTo>
                  <a:lnTo>
                    <a:pt x="2104" y="3622"/>
                  </a:lnTo>
                  <a:lnTo>
                    <a:pt x="2256" y="4561"/>
                  </a:lnTo>
                  <a:lnTo>
                    <a:pt x="3288" y="5341"/>
                  </a:lnTo>
                  <a:lnTo>
                    <a:pt x="4241" y="6303"/>
                  </a:lnTo>
                  <a:lnTo>
                    <a:pt x="3288" y="6900"/>
                  </a:lnTo>
                  <a:lnTo>
                    <a:pt x="3129" y="7663"/>
                  </a:lnTo>
                  <a:cubicBezTo>
                    <a:pt x="3378" y="7883"/>
                    <a:pt x="3663" y="8077"/>
                    <a:pt x="3979" y="8241"/>
                  </a:cubicBezTo>
                  <a:cubicBezTo>
                    <a:pt x="4404" y="8461"/>
                    <a:pt x="4878" y="8624"/>
                    <a:pt x="5379" y="8720"/>
                  </a:cubicBezTo>
                  <a:lnTo>
                    <a:pt x="6013" y="7816"/>
                  </a:lnTo>
                  <a:lnTo>
                    <a:pt x="7340" y="7877"/>
                  </a:lnTo>
                  <a:lnTo>
                    <a:pt x="8475" y="8655"/>
                  </a:lnTo>
                  <a:lnTo>
                    <a:pt x="8475" y="9799"/>
                  </a:lnTo>
                  <a:cubicBezTo>
                    <a:pt x="8649" y="10161"/>
                    <a:pt x="8756" y="10540"/>
                    <a:pt x="8794" y="10924"/>
                  </a:cubicBezTo>
                  <a:cubicBezTo>
                    <a:pt x="8852" y="11516"/>
                    <a:pt x="8744" y="12110"/>
                    <a:pt x="8478" y="12668"/>
                  </a:cubicBezTo>
                  <a:lnTo>
                    <a:pt x="6756" y="12970"/>
                  </a:lnTo>
                  <a:lnTo>
                    <a:pt x="5830" y="13030"/>
                  </a:lnTo>
                  <a:lnTo>
                    <a:pt x="3796" y="13504"/>
                  </a:lnTo>
                  <a:lnTo>
                    <a:pt x="3975" y="14368"/>
                  </a:lnTo>
                  <a:lnTo>
                    <a:pt x="4901" y="14529"/>
                  </a:lnTo>
                  <a:lnTo>
                    <a:pt x="4662" y="15465"/>
                  </a:lnTo>
                  <a:lnTo>
                    <a:pt x="3020" y="15884"/>
                  </a:lnTo>
                  <a:lnTo>
                    <a:pt x="2091" y="16123"/>
                  </a:lnTo>
                  <a:lnTo>
                    <a:pt x="3022" y="16841"/>
                  </a:lnTo>
                  <a:lnTo>
                    <a:pt x="4564" y="17538"/>
                  </a:lnTo>
                  <a:lnTo>
                    <a:pt x="5725" y="17538"/>
                  </a:lnTo>
                  <a:lnTo>
                    <a:pt x="8134" y="17880"/>
                  </a:lnTo>
                  <a:lnTo>
                    <a:pt x="8426" y="18623"/>
                  </a:lnTo>
                  <a:lnTo>
                    <a:pt x="7232" y="19258"/>
                  </a:lnTo>
                  <a:lnTo>
                    <a:pt x="4232" y="19559"/>
                  </a:lnTo>
                  <a:lnTo>
                    <a:pt x="2642" y="20099"/>
                  </a:lnTo>
                  <a:lnTo>
                    <a:pt x="735" y="20340"/>
                  </a:lnTo>
                  <a:lnTo>
                    <a:pt x="0" y="21060"/>
                  </a:lnTo>
                  <a:lnTo>
                    <a:pt x="502" y="21600"/>
                  </a:lnTo>
                  <a:lnTo>
                    <a:pt x="2782" y="21359"/>
                  </a:lnTo>
                  <a:cubicBezTo>
                    <a:pt x="3310" y="21133"/>
                    <a:pt x="3861" y="20938"/>
                    <a:pt x="4428" y="20777"/>
                  </a:cubicBezTo>
                  <a:cubicBezTo>
                    <a:pt x="5234" y="20547"/>
                    <a:pt x="6071" y="20386"/>
                    <a:pt x="6924" y="20295"/>
                  </a:cubicBezTo>
                  <a:lnTo>
                    <a:pt x="8622" y="20174"/>
                  </a:lnTo>
                  <a:lnTo>
                    <a:pt x="11277" y="19873"/>
                  </a:lnTo>
                  <a:lnTo>
                    <a:pt x="12657" y="19753"/>
                  </a:lnTo>
                  <a:lnTo>
                    <a:pt x="14884" y="19050"/>
                  </a:lnTo>
                  <a:lnTo>
                    <a:pt x="16583" y="19391"/>
                  </a:lnTo>
                  <a:lnTo>
                    <a:pt x="19689" y="19030"/>
                  </a:lnTo>
                  <a:lnTo>
                    <a:pt x="18335" y="18548"/>
                  </a:lnTo>
                  <a:lnTo>
                    <a:pt x="16662" y="17767"/>
                  </a:lnTo>
                  <a:lnTo>
                    <a:pt x="21520" y="16502"/>
                  </a:lnTo>
                  <a:lnTo>
                    <a:pt x="21600" y="15842"/>
                  </a:lnTo>
                  <a:lnTo>
                    <a:pt x="21042" y="14238"/>
                  </a:lnTo>
                  <a:lnTo>
                    <a:pt x="19695" y="14120"/>
                  </a:lnTo>
                  <a:lnTo>
                    <a:pt x="18773" y="15157"/>
                  </a:lnTo>
                  <a:lnTo>
                    <a:pt x="16954" y="14916"/>
                  </a:lnTo>
                  <a:cubicBezTo>
                    <a:pt x="16658" y="14546"/>
                    <a:pt x="16446" y="14141"/>
                    <a:pt x="16327" y="13718"/>
                  </a:cubicBezTo>
                  <a:cubicBezTo>
                    <a:pt x="16175" y="13182"/>
                    <a:pt x="16175" y="12628"/>
                    <a:pt x="16327" y="12092"/>
                  </a:cubicBezTo>
                  <a:cubicBezTo>
                    <a:pt x="16208" y="11609"/>
                    <a:pt x="15994" y="11142"/>
                    <a:pt x="15690" y="10709"/>
                  </a:cubicBezTo>
                  <a:cubicBezTo>
                    <a:pt x="15360" y="10238"/>
                    <a:pt x="14929" y="9811"/>
                    <a:pt x="14416" y="9446"/>
                  </a:cubicBezTo>
                  <a:lnTo>
                    <a:pt x="13327" y="7779"/>
                  </a:lnTo>
                  <a:lnTo>
                    <a:pt x="10543" y="6097"/>
                  </a:lnTo>
                  <a:lnTo>
                    <a:pt x="8818" y="6097"/>
                  </a:lnTo>
                  <a:lnTo>
                    <a:pt x="7603" y="5799"/>
                  </a:lnTo>
                  <a:cubicBezTo>
                    <a:pt x="7249" y="5554"/>
                    <a:pt x="7071" y="5196"/>
                    <a:pt x="7125" y="4835"/>
                  </a:cubicBezTo>
                  <a:cubicBezTo>
                    <a:pt x="7216" y="4226"/>
                    <a:pt x="7901" y="3767"/>
                    <a:pt x="8711" y="3773"/>
                  </a:cubicBezTo>
                  <a:lnTo>
                    <a:pt x="10301" y="2689"/>
                  </a:lnTo>
                  <a:lnTo>
                    <a:pt x="8469" y="2151"/>
                  </a:lnTo>
                  <a:lnTo>
                    <a:pt x="6346" y="1730"/>
                  </a:lnTo>
                  <a:lnTo>
                    <a:pt x="6979" y="1072"/>
                  </a:lnTo>
                  <a:lnTo>
                    <a:pt x="7431" y="111"/>
                  </a:lnTo>
                  <a:lnTo>
                    <a:pt x="6288" y="0"/>
                  </a:lnTo>
                  <a:close/>
                </a:path>
              </a:pathLst>
            </a:custGeom>
            <a:grpFill/>
            <a:ln w="25400" cap="flat">
              <a:noFill/>
              <a:prstDash val="solid"/>
              <a:miter lim="400000"/>
            </a:ln>
            <a:effectLst/>
          </p:spPr>
          <p:txBody>
            <a:bodyPr anchor="ctr"/>
            <a:lstStyle/>
            <a:p>
              <a:pPr algn="ctr"/>
              <a:endParaRPr/>
            </a:p>
          </p:txBody>
        </p:sp>
        <p:sp>
          <p:nvSpPr>
            <p:cNvPr id="310" name="任意多边形: 形状 309">
              <a:extLst>
                <a:ext uri="{FF2B5EF4-FFF2-40B4-BE49-F238E27FC236}">
                  <a16:creationId xmlns:a16="http://schemas.microsoft.com/office/drawing/2014/main" id="{1BDF3A18-659A-4557-97F1-E13DE379F8EC}"/>
                </a:ext>
              </a:extLst>
            </p:cNvPr>
            <p:cNvSpPr/>
            <p:nvPr/>
          </p:nvSpPr>
          <p:spPr>
            <a:xfrm>
              <a:off x="5439609" y="2113104"/>
              <a:ext cx="16360" cy="21150"/>
            </a:xfrm>
            <a:custGeom>
              <a:avLst/>
              <a:gdLst/>
              <a:ahLst/>
              <a:cxnLst>
                <a:cxn ang="0">
                  <a:pos x="wd2" y="hd2"/>
                </a:cxn>
                <a:cxn ang="5400000">
                  <a:pos x="wd2" y="hd2"/>
                </a:cxn>
                <a:cxn ang="10800000">
                  <a:pos x="wd2" y="hd2"/>
                </a:cxn>
                <a:cxn ang="16200000">
                  <a:pos x="wd2" y="hd2"/>
                </a:cxn>
              </a:cxnLst>
              <a:rect l="0" t="0" r="r" b="b"/>
              <a:pathLst>
                <a:path w="21600" h="21600" extrusionOk="0">
                  <a:moveTo>
                    <a:pt x="4405" y="858"/>
                  </a:moveTo>
                  <a:lnTo>
                    <a:pt x="0" y="8854"/>
                  </a:lnTo>
                  <a:lnTo>
                    <a:pt x="5633" y="18505"/>
                  </a:lnTo>
                  <a:lnTo>
                    <a:pt x="16548" y="21600"/>
                  </a:lnTo>
                  <a:lnTo>
                    <a:pt x="21600" y="10060"/>
                  </a:lnTo>
                  <a:lnTo>
                    <a:pt x="18861" y="0"/>
                  </a:lnTo>
                  <a:lnTo>
                    <a:pt x="4405" y="858"/>
                  </a:lnTo>
                  <a:close/>
                </a:path>
              </a:pathLst>
            </a:custGeom>
            <a:grpFill/>
            <a:ln w="25400" cap="flat">
              <a:noFill/>
              <a:prstDash val="solid"/>
              <a:miter lim="400000"/>
            </a:ln>
            <a:effectLst/>
          </p:spPr>
          <p:txBody>
            <a:bodyPr anchor="ctr"/>
            <a:lstStyle/>
            <a:p>
              <a:pPr algn="ctr"/>
              <a:endParaRPr/>
            </a:p>
          </p:txBody>
        </p:sp>
        <p:sp>
          <p:nvSpPr>
            <p:cNvPr id="311" name="任意多边形: 形状 310">
              <a:extLst>
                <a:ext uri="{FF2B5EF4-FFF2-40B4-BE49-F238E27FC236}">
                  <a16:creationId xmlns:a16="http://schemas.microsoft.com/office/drawing/2014/main" id="{0718CA6E-BAA6-4A50-B393-30B5A1166E43}"/>
                </a:ext>
              </a:extLst>
            </p:cNvPr>
            <p:cNvSpPr/>
            <p:nvPr/>
          </p:nvSpPr>
          <p:spPr>
            <a:xfrm>
              <a:off x="5461229" y="2281207"/>
              <a:ext cx="17764" cy="16360"/>
            </a:xfrm>
            <a:custGeom>
              <a:avLst/>
              <a:gdLst/>
              <a:ahLst/>
              <a:cxnLst>
                <a:cxn ang="0">
                  <a:pos x="wd2" y="hd2"/>
                </a:cxn>
                <a:cxn ang="5400000">
                  <a:pos x="wd2" y="hd2"/>
                </a:cxn>
                <a:cxn ang="10800000">
                  <a:pos x="wd2" y="hd2"/>
                </a:cxn>
                <a:cxn ang="16200000">
                  <a:pos x="wd2" y="hd2"/>
                </a:cxn>
              </a:cxnLst>
              <a:rect l="0" t="0" r="r" b="b"/>
              <a:pathLst>
                <a:path w="21600" h="21600" extrusionOk="0">
                  <a:moveTo>
                    <a:pt x="13214" y="0"/>
                  </a:moveTo>
                  <a:lnTo>
                    <a:pt x="0" y="6137"/>
                  </a:lnTo>
                  <a:lnTo>
                    <a:pt x="4727" y="21600"/>
                  </a:lnTo>
                  <a:lnTo>
                    <a:pt x="21600" y="12940"/>
                  </a:lnTo>
                  <a:lnTo>
                    <a:pt x="13214" y="0"/>
                  </a:lnTo>
                  <a:close/>
                </a:path>
              </a:pathLst>
            </a:custGeom>
            <a:grpFill/>
            <a:ln w="25400" cap="flat">
              <a:noFill/>
              <a:prstDash val="solid"/>
              <a:miter lim="400000"/>
            </a:ln>
            <a:effectLst/>
          </p:spPr>
          <p:txBody>
            <a:bodyPr anchor="ctr"/>
            <a:lstStyle/>
            <a:p>
              <a:pPr algn="ctr"/>
              <a:endParaRPr/>
            </a:p>
          </p:txBody>
        </p:sp>
        <p:sp>
          <p:nvSpPr>
            <p:cNvPr id="312" name="任意多边形: 形状 311">
              <a:extLst>
                <a:ext uri="{FF2B5EF4-FFF2-40B4-BE49-F238E27FC236}">
                  <a16:creationId xmlns:a16="http://schemas.microsoft.com/office/drawing/2014/main" id="{18E7C72D-9471-44B7-A9CF-E8C5A6F3A512}"/>
                </a:ext>
              </a:extLst>
            </p:cNvPr>
            <p:cNvSpPr/>
            <p:nvPr/>
          </p:nvSpPr>
          <p:spPr>
            <a:xfrm>
              <a:off x="5486629" y="228676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630" y="1789"/>
                  </a:lnTo>
                  <a:lnTo>
                    <a:pt x="0" y="17575"/>
                  </a:lnTo>
                  <a:lnTo>
                    <a:pt x="16425" y="21600"/>
                  </a:lnTo>
                  <a:lnTo>
                    <a:pt x="21600" y="0"/>
                  </a:lnTo>
                  <a:close/>
                </a:path>
              </a:pathLst>
            </a:custGeom>
            <a:grpFill/>
            <a:ln w="25400" cap="flat">
              <a:noFill/>
              <a:prstDash val="solid"/>
              <a:miter lim="400000"/>
            </a:ln>
            <a:effectLst/>
          </p:spPr>
          <p:txBody>
            <a:bodyPr anchor="ctr"/>
            <a:lstStyle/>
            <a:p>
              <a:pPr algn="ctr"/>
              <a:endParaRPr/>
            </a:p>
          </p:txBody>
        </p:sp>
        <p:sp>
          <p:nvSpPr>
            <p:cNvPr id="313" name="任意多边形: 形状 312">
              <a:extLst>
                <a:ext uri="{FF2B5EF4-FFF2-40B4-BE49-F238E27FC236}">
                  <a16:creationId xmlns:a16="http://schemas.microsoft.com/office/drawing/2014/main" id="{E9BE4F17-3870-4C85-8A7A-C7254CEB7F8C}"/>
                </a:ext>
              </a:extLst>
            </p:cNvPr>
            <p:cNvSpPr/>
            <p:nvPr/>
          </p:nvSpPr>
          <p:spPr>
            <a:xfrm>
              <a:off x="5605003" y="2617425"/>
              <a:ext cx="39478" cy="45925"/>
            </a:xfrm>
            <a:custGeom>
              <a:avLst/>
              <a:gdLst/>
              <a:ahLst/>
              <a:cxnLst>
                <a:cxn ang="0">
                  <a:pos x="wd2" y="hd2"/>
                </a:cxn>
                <a:cxn ang="5400000">
                  <a:pos x="wd2" y="hd2"/>
                </a:cxn>
                <a:cxn ang="10800000">
                  <a:pos x="wd2" y="hd2"/>
                </a:cxn>
                <a:cxn ang="16200000">
                  <a:pos x="wd2" y="hd2"/>
                </a:cxn>
              </a:cxnLst>
              <a:rect l="0" t="0" r="r" b="b"/>
              <a:pathLst>
                <a:path w="20245" h="21188" extrusionOk="0">
                  <a:moveTo>
                    <a:pt x="11664" y="4816"/>
                  </a:moveTo>
                  <a:lnTo>
                    <a:pt x="9025" y="9331"/>
                  </a:lnTo>
                  <a:lnTo>
                    <a:pt x="6223" y="14637"/>
                  </a:lnTo>
                  <a:lnTo>
                    <a:pt x="0" y="13938"/>
                  </a:lnTo>
                  <a:lnTo>
                    <a:pt x="635" y="18481"/>
                  </a:lnTo>
                  <a:lnTo>
                    <a:pt x="7824" y="19865"/>
                  </a:lnTo>
                  <a:cubicBezTo>
                    <a:pt x="10049" y="21332"/>
                    <a:pt x="12992" y="21600"/>
                    <a:pt x="15502" y="20564"/>
                  </a:cubicBezTo>
                  <a:cubicBezTo>
                    <a:pt x="19950" y="18729"/>
                    <a:pt x="21600" y="13831"/>
                    <a:pt x="19023" y="10107"/>
                  </a:cubicBezTo>
                  <a:lnTo>
                    <a:pt x="19415" y="0"/>
                  </a:lnTo>
                  <a:lnTo>
                    <a:pt x="11664" y="4816"/>
                  </a:lnTo>
                  <a:close/>
                </a:path>
              </a:pathLst>
            </a:custGeom>
            <a:grpFill/>
            <a:ln w="25400" cap="flat">
              <a:noFill/>
              <a:prstDash val="solid"/>
              <a:miter lim="400000"/>
            </a:ln>
            <a:effectLst/>
          </p:spPr>
          <p:txBody>
            <a:bodyPr anchor="ctr"/>
            <a:lstStyle/>
            <a:p>
              <a:pPr algn="ctr"/>
              <a:endParaRPr/>
            </a:p>
          </p:txBody>
        </p:sp>
        <p:sp>
          <p:nvSpPr>
            <p:cNvPr id="314" name="任意多边形: 形状 313">
              <a:extLst>
                <a:ext uri="{FF2B5EF4-FFF2-40B4-BE49-F238E27FC236}">
                  <a16:creationId xmlns:a16="http://schemas.microsoft.com/office/drawing/2014/main" id="{C5DFFDE3-FD66-412D-934E-EC1A04FFEB81}"/>
                </a:ext>
              </a:extLst>
            </p:cNvPr>
            <p:cNvSpPr/>
            <p:nvPr/>
          </p:nvSpPr>
          <p:spPr>
            <a:xfrm>
              <a:off x="5813157" y="2519155"/>
              <a:ext cx="32675" cy="52401"/>
            </a:xfrm>
            <a:custGeom>
              <a:avLst/>
              <a:gdLst/>
              <a:ahLst/>
              <a:cxnLst>
                <a:cxn ang="0">
                  <a:pos x="wd2" y="hd2"/>
                </a:cxn>
                <a:cxn ang="5400000">
                  <a:pos x="wd2" y="hd2"/>
                </a:cxn>
                <a:cxn ang="10800000">
                  <a:pos x="wd2" y="hd2"/>
                </a:cxn>
                <a:cxn ang="16200000">
                  <a:pos x="wd2" y="hd2"/>
                </a:cxn>
              </a:cxnLst>
              <a:rect l="0" t="0" r="r" b="b"/>
              <a:pathLst>
                <a:path w="21600" h="21600" extrusionOk="0">
                  <a:moveTo>
                    <a:pt x="13661" y="1731"/>
                  </a:moveTo>
                  <a:lnTo>
                    <a:pt x="11853" y="5894"/>
                  </a:lnTo>
                  <a:lnTo>
                    <a:pt x="4206" y="5101"/>
                  </a:lnTo>
                  <a:lnTo>
                    <a:pt x="0" y="9460"/>
                  </a:lnTo>
                  <a:lnTo>
                    <a:pt x="168" y="14442"/>
                  </a:lnTo>
                  <a:cubicBezTo>
                    <a:pt x="2798" y="15061"/>
                    <a:pt x="5194" y="16010"/>
                    <a:pt x="7206" y="17228"/>
                  </a:cubicBezTo>
                  <a:cubicBezTo>
                    <a:pt x="9251" y="18466"/>
                    <a:pt x="10854" y="19955"/>
                    <a:pt x="11913" y="21600"/>
                  </a:cubicBezTo>
                  <a:lnTo>
                    <a:pt x="21600" y="20338"/>
                  </a:lnTo>
                  <a:lnTo>
                    <a:pt x="21600" y="12245"/>
                  </a:lnTo>
                  <a:lnTo>
                    <a:pt x="20591" y="5088"/>
                  </a:lnTo>
                  <a:lnTo>
                    <a:pt x="18069" y="0"/>
                  </a:lnTo>
                  <a:lnTo>
                    <a:pt x="13661" y="1731"/>
                  </a:lnTo>
                  <a:close/>
                </a:path>
              </a:pathLst>
            </a:custGeom>
            <a:grpFill/>
            <a:ln w="25400" cap="flat">
              <a:noFill/>
              <a:prstDash val="solid"/>
              <a:miter lim="400000"/>
            </a:ln>
            <a:effectLst/>
          </p:spPr>
          <p:txBody>
            <a:bodyPr anchor="ctr"/>
            <a:lstStyle/>
            <a:p>
              <a:pPr algn="ctr"/>
              <a:endParaRPr/>
            </a:p>
          </p:txBody>
        </p:sp>
        <p:sp>
          <p:nvSpPr>
            <p:cNvPr id="315" name="任意多边形: 形状 314">
              <a:extLst>
                <a:ext uri="{FF2B5EF4-FFF2-40B4-BE49-F238E27FC236}">
                  <a16:creationId xmlns:a16="http://schemas.microsoft.com/office/drawing/2014/main" id="{3B0AAF19-680B-49D7-A6F9-76F5F8B271D9}"/>
                </a:ext>
              </a:extLst>
            </p:cNvPr>
            <p:cNvSpPr/>
            <p:nvPr/>
          </p:nvSpPr>
          <p:spPr>
            <a:xfrm>
              <a:off x="5800394" y="2590774"/>
              <a:ext cx="44328" cy="77472"/>
            </a:xfrm>
            <a:custGeom>
              <a:avLst/>
              <a:gdLst/>
              <a:ahLst/>
              <a:cxnLst>
                <a:cxn ang="0">
                  <a:pos x="wd2" y="hd2"/>
                </a:cxn>
                <a:cxn ang="5400000">
                  <a:pos x="wd2" y="hd2"/>
                </a:cxn>
                <a:cxn ang="10800000">
                  <a:pos x="wd2" y="hd2"/>
                </a:cxn>
                <a:cxn ang="16200000">
                  <a:pos x="wd2" y="hd2"/>
                </a:cxn>
              </a:cxnLst>
              <a:rect l="0" t="0" r="r" b="b"/>
              <a:pathLst>
                <a:path w="21055" h="21324" extrusionOk="0">
                  <a:moveTo>
                    <a:pt x="8993" y="0"/>
                  </a:moveTo>
                  <a:lnTo>
                    <a:pt x="4720" y="2328"/>
                  </a:lnTo>
                  <a:lnTo>
                    <a:pt x="264" y="4061"/>
                  </a:lnTo>
                  <a:lnTo>
                    <a:pt x="0" y="7596"/>
                  </a:lnTo>
                  <a:lnTo>
                    <a:pt x="4908" y="9951"/>
                  </a:lnTo>
                  <a:lnTo>
                    <a:pt x="4908" y="14304"/>
                  </a:lnTo>
                  <a:lnTo>
                    <a:pt x="7308" y="16172"/>
                  </a:lnTo>
                  <a:lnTo>
                    <a:pt x="8380" y="19699"/>
                  </a:lnTo>
                  <a:cubicBezTo>
                    <a:pt x="8501" y="20496"/>
                    <a:pt x="9534" y="21148"/>
                    <a:pt x="10902" y="21289"/>
                  </a:cubicBezTo>
                  <a:cubicBezTo>
                    <a:pt x="13902" y="21600"/>
                    <a:pt x="16165" y="19752"/>
                    <a:pt x="14647" y="18231"/>
                  </a:cubicBezTo>
                  <a:lnTo>
                    <a:pt x="18270" y="17605"/>
                  </a:lnTo>
                  <a:cubicBezTo>
                    <a:pt x="19422" y="16417"/>
                    <a:pt x="20233" y="15129"/>
                    <a:pt x="20671" y="13792"/>
                  </a:cubicBezTo>
                  <a:cubicBezTo>
                    <a:pt x="21600" y="10953"/>
                    <a:pt x="20834" y="8017"/>
                    <a:pt x="18496" y="5460"/>
                  </a:cubicBezTo>
                  <a:lnTo>
                    <a:pt x="18149" y="907"/>
                  </a:lnTo>
                  <a:lnTo>
                    <a:pt x="8993" y="0"/>
                  </a:lnTo>
                  <a:close/>
                </a:path>
              </a:pathLst>
            </a:custGeom>
            <a:grpFill/>
            <a:ln w="25400" cap="flat">
              <a:noFill/>
              <a:prstDash val="solid"/>
              <a:miter lim="400000"/>
            </a:ln>
            <a:effectLst/>
          </p:spPr>
          <p:txBody>
            <a:bodyPr anchor="ctr"/>
            <a:lstStyle/>
            <a:p>
              <a:pPr algn="ctr"/>
              <a:endParaRPr/>
            </a:p>
          </p:txBody>
        </p:sp>
        <p:sp>
          <p:nvSpPr>
            <p:cNvPr id="316" name="任意多边形: 形状 315">
              <a:extLst>
                <a:ext uri="{FF2B5EF4-FFF2-40B4-BE49-F238E27FC236}">
                  <a16:creationId xmlns:a16="http://schemas.microsoft.com/office/drawing/2014/main" id="{E46DB8C2-4AB3-4977-9F01-CED23E81C198}"/>
                </a:ext>
              </a:extLst>
            </p:cNvPr>
            <p:cNvSpPr/>
            <p:nvPr/>
          </p:nvSpPr>
          <p:spPr>
            <a:xfrm>
              <a:off x="5935621" y="2695122"/>
              <a:ext cx="87464" cy="46959"/>
            </a:xfrm>
            <a:custGeom>
              <a:avLst/>
              <a:gdLst/>
              <a:ahLst/>
              <a:cxnLst>
                <a:cxn ang="0">
                  <a:pos x="wd2" y="hd2"/>
                </a:cxn>
                <a:cxn ang="5400000">
                  <a:pos x="wd2" y="hd2"/>
                </a:cxn>
                <a:cxn ang="10800000">
                  <a:pos x="wd2" y="hd2"/>
                </a:cxn>
                <a:cxn ang="16200000">
                  <a:pos x="wd2" y="hd2"/>
                </a:cxn>
              </a:cxnLst>
              <a:rect l="0" t="0" r="r" b="b"/>
              <a:pathLst>
                <a:path w="21600" h="21334" extrusionOk="0">
                  <a:moveTo>
                    <a:pt x="7882" y="0"/>
                  </a:moveTo>
                  <a:lnTo>
                    <a:pt x="5685" y="3441"/>
                  </a:lnTo>
                  <a:lnTo>
                    <a:pt x="1488" y="2877"/>
                  </a:lnTo>
                  <a:lnTo>
                    <a:pt x="0" y="5287"/>
                  </a:lnTo>
                  <a:lnTo>
                    <a:pt x="2117" y="8371"/>
                  </a:lnTo>
                  <a:lnTo>
                    <a:pt x="8892" y="11123"/>
                  </a:lnTo>
                  <a:lnTo>
                    <a:pt x="13224" y="15942"/>
                  </a:lnTo>
                  <a:lnTo>
                    <a:pt x="17549" y="21334"/>
                  </a:lnTo>
                  <a:lnTo>
                    <a:pt x="19418" y="15125"/>
                  </a:lnTo>
                  <a:lnTo>
                    <a:pt x="19418" y="11123"/>
                  </a:lnTo>
                  <a:lnTo>
                    <a:pt x="21600" y="5502"/>
                  </a:lnTo>
                  <a:cubicBezTo>
                    <a:pt x="21188" y="3626"/>
                    <a:pt x="20374" y="2139"/>
                    <a:pt x="19348" y="1386"/>
                  </a:cubicBezTo>
                  <a:cubicBezTo>
                    <a:pt x="17095" y="-266"/>
                    <a:pt x="14537" y="1740"/>
                    <a:pt x="13641" y="5861"/>
                  </a:cubicBezTo>
                  <a:lnTo>
                    <a:pt x="11263" y="1414"/>
                  </a:lnTo>
                  <a:lnTo>
                    <a:pt x="7882" y="0"/>
                  </a:lnTo>
                  <a:close/>
                </a:path>
              </a:pathLst>
            </a:custGeom>
            <a:grpFill/>
            <a:ln w="25400" cap="flat">
              <a:noFill/>
              <a:prstDash val="solid"/>
              <a:miter lim="400000"/>
            </a:ln>
            <a:effectLst/>
          </p:spPr>
          <p:txBody>
            <a:bodyPr anchor="ctr"/>
            <a:lstStyle/>
            <a:p>
              <a:pPr algn="ctr"/>
              <a:endParaRPr/>
            </a:p>
          </p:txBody>
        </p:sp>
        <p:sp>
          <p:nvSpPr>
            <p:cNvPr id="317" name="任意多边形: 形状 316">
              <a:extLst>
                <a:ext uri="{FF2B5EF4-FFF2-40B4-BE49-F238E27FC236}">
                  <a16:creationId xmlns:a16="http://schemas.microsoft.com/office/drawing/2014/main" id="{A845D6B3-F87E-4FC6-B7C2-37405D2AC242}"/>
                </a:ext>
              </a:extLst>
            </p:cNvPr>
            <p:cNvSpPr/>
            <p:nvPr/>
          </p:nvSpPr>
          <p:spPr>
            <a:xfrm>
              <a:off x="5977156" y="2768475"/>
              <a:ext cx="19383" cy="16966"/>
            </a:xfrm>
            <a:custGeom>
              <a:avLst/>
              <a:gdLst/>
              <a:ahLst/>
              <a:cxnLst>
                <a:cxn ang="0">
                  <a:pos x="wd2" y="hd2"/>
                </a:cxn>
                <a:cxn ang="5400000">
                  <a:pos x="wd2" y="hd2"/>
                </a:cxn>
                <a:cxn ang="10800000">
                  <a:pos x="wd2" y="hd2"/>
                </a:cxn>
                <a:cxn ang="16200000">
                  <a:pos x="wd2" y="hd2"/>
                </a:cxn>
              </a:cxnLst>
              <a:rect l="0" t="0" r="r" b="b"/>
              <a:pathLst>
                <a:path w="21600" h="21600" extrusionOk="0">
                  <a:moveTo>
                    <a:pt x="15774" y="1048"/>
                  </a:moveTo>
                  <a:lnTo>
                    <a:pt x="1426" y="0"/>
                  </a:lnTo>
                  <a:lnTo>
                    <a:pt x="0" y="17702"/>
                  </a:lnTo>
                  <a:lnTo>
                    <a:pt x="21600" y="21600"/>
                  </a:lnTo>
                  <a:lnTo>
                    <a:pt x="15774" y="1048"/>
                  </a:lnTo>
                  <a:close/>
                </a:path>
              </a:pathLst>
            </a:custGeom>
            <a:grpFill/>
            <a:ln w="25400" cap="flat">
              <a:noFill/>
              <a:prstDash val="solid"/>
              <a:miter lim="400000"/>
            </a:ln>
            <a:effectLst/>
          </p:spPr>
          <p:txBody>
            <a:bodyPr anchor="ctr"/>
            <a:lstStyle/>
            <a:p>
              <a:pPr algn="ctr"/>
              <a:endParaRPr/>
            </a:p>
          </p:txBody>
        </p:sp>
        <p:sp>
          <p:nvSpPr>
            <p:cNvPr id="318" name="任意多边形: 形状 317">
              <a:extLst>
                <a:ext uri="{FF2B5EF4-FFF2-40B4-BE49-F238E27FC236}">
                  <a16:creationId xmlns:a16="http://schemas.microsoft.com/office/drawing/2014/main" id="{92E7E804-8666-4E63-9C05-FF0C8DAB3CEB}"/>
                </a:ext>
              </a:extLst>
            </p:cNvPr>
            <p:cNvSpPr/>
            <p:nvPr/>
          </p:nvSpPr>
          <p:spPr>
            <a:xfrm>
              <a:off x="6277853" y="2784962"/>
              <a:ext cx="97332" cy="33679"/>
            </a:xfrm>
            <a:custGeom>
              <a:avLst/>
              <a:gdLst/>
              <a:ahLst/>
              <a:cxnLst>
                <a:cxn ang="0">
                  <a:pos x="wd2" y="hd2"/>
                </a:cxn>
                <a:cxn ang="5400000">
                  <a:pos x="wd2" y="hd2"/>
                </a:cxn>
                <a:cxn ang="10800000">
                  <a:pos x="wd2" y="hd2"/>
                </a:cxn>
                <a:cxn ang="16200000">
                  <a:pos x="wd2" y="hd2"/>
                </a:cxn>
              </a:cxnLst>
              <a:rect l="0" t="0" r="r" b="b"/>
              <a:pathLst>
                <a:path w="21565" h="19779" extrusionOk="0">
                  <a:moveTo>
                    <a:pt x="12434" y="4397"/>
                  </a:moveTo>
                  <a:lnTo>
                    <a:pt x="7006" y="2044"/>
                  </a:lnTo>
                  <a:lnTo>
                    <a:pt x="3364" y="1828"/>
                  </a:lnTo>
                  <a:cubicBezTo>
                    <a:pt x="2241" y="-1757"/>
                    <a:pt x="29" y="279"/>
                    <a:pt x="0" y="4926"/>
                  </a:cubicBezTo>
                  <a:cubicBezTo>
                    <a:pt x="-35" y="10379"/>
                    <a:pt x="2718" y="12346"/>
                    <a:pt x="3736" y="7595"/>
                  </a:cubicBezTo>
                  <a:lnTo>
                    <a:pt x="6269" y="12491"/>
                  </a:lnTo>
                  <a:lnTo>
                    <a:pt x="8797" y="17829"/>
                  </a:lnTo>
                  <a:cubicBezTo>
                    <a:pt x="10237" y="18722"/>
                    <a:pt x="11702" y="19311"/>
                    <a:pt x="13178" y="19590"/>
                  </a:cubicBezTo>
                  <a:cubicBezTo>
                    <a:pt x="14509" y="19843"/>
                    <a:pt x="15846" y="19843"/>
                    <a:pt x="17178" y="19590"/>
                  </a:cubicBezTo>
                  <a:lnTo>
                    <a:pt x="21565" y="16031"/>
                  </a:lnTo>
                  <a:lnTo>
                    <a:pt x="21234" y="9358"/>
                  </a:lnTo>
                  <a:cubicBezTo>
                    <a:pt x="20150" y="10055"/>
                    <a:pt x="19031" y="10305"/>
                    <a:pt x="17917" y="10099"/>
                  </a:cubicBezTo>
                  <a:cubicBezTo>
                    <a:pt x="16919" y="9915"/>
                    <a:pt x="15935" y="9366"/>
                    <a:pt x="14995" y="8468"/>
                  </a:cubicBezTo>
                  <a:lnTo>
                    <a:pt x="12434" y="4397"/>
                  </a:lnTo>
                  <a:close/>
                </a:path>
              </a:pathLst>
            </a:custGeom>
            <a:grpFill/>
            <a:ln w="25400" cap="flat">
              <a:noFill/>
              <a:prstDash val="solid"/>
              <a:miter lim="400000"/>
            </a:ln>
            <a:effectLst/>
          </p:spPr>
          <p:txBody>
            <a:bodyPr anchor="ctr"/>
            <a:lstStyle/>
            <a:p>
              <a:pPr algn="ctr"/>
              <a:endParaRPr/>
            </a:p>
          </p:txBody>
        </p:sp>
        <p:sp>
          <p:nvSpPr>
            <p:cNvPr id="319" name="任意多边形: 形状 318">
              <a:extLst>
                <a:ext uri="{FF2B5EF4-FFF2-40B4-BE49-F238E27FC236}">
                  <a16:creationId xmlns:a16="http://schemas.microsoft.com/office/drawing/2014/main" id="{DE1C29D5-51C9-467D-BCEE-9972778D46D9}"/>
                </a:ext>
              </a:extLst>
            </p:cNvPr>
            <p:cNvSpPr/>
            <p:nvPr/>
          </p:nvSpPr>
          <p:spPr>
            <a:xfrm>
              <a:off x="6105633" y="1911267"/>
              <a:ext cx="32397" cy="27552"/>
            </a:xfrm>
            <a:custGeom>
              <a:avLst/>
              <a:gdLst/>
              <a:ahLst/>
              <a:cxnLst>
                <a:cxn ang="0">
                  <a:pos x="wd2" y="hd2"/>
                </a:cxn>
                <a:cxn ang="5400000">
                  <a:pos x="wd2" y="hd2"/>
                </a:cxn>
                <a:cxn ang="10800000">
                  <a:pos x="wd2" y="hd2"/>
                </a:cxn>
                <a:cxn ang="16200000">
                  <a:pos x="wd2" y="hd2"/>
                </a:cxn>
              </a:cxnLst>
              <a:rect l="0" t="0" r="r" b="b"/>
              <a:pathLst>
                <a:path w="20495" h="21600" extrusionOk="0">
                  <a:moveTo>
                    <a:pt x="13981" y="0"/>
                  </a:moveTo>
                  <a:lnTo>
                    <a:pt x="5719" y="857"/>
                  </a:lnTo>
                  <a:lnTo>
                    <a:pt x="0" y="11369"/>
                  </a:lnTo>
                  <a:lnTo>
                    <a:pt x="5962" y="17640"/>
                  </a:lnTo>
                  <a:lnTo>
                    <a:pt x="14301" y="21600"/>
                  </a:lnTo>
                  <a:cubicBezTo>
                    <a:pt x="17054" y="20527"/>
                    <a:pt x="19207" y="17865"/>
                    <a:pt x="20066" y="14472"/>
                  </a:cubicBezTo>
                  <a:cubicBezTo>
                    <a:pt x="21600" y="8411"/>
                    <a:pt x="18887" y="1959"/>
                    <a:pt x="13981" y="0"/>
                  </a:cubicBezTo>
                  <a:close/>
                </a:path>
              </a:pathLst>
            </a:custGeom>
            <a:grpFill/>
            <a:ln w="25400" cap="flat">
              <a:noFill/>
              <a:prstDash val="solid"/>
              <a:miter lim="400000"/>
            </a:ln>
            <a:effectLst/>
          </p:spPr>
          <p:txBody>
            <a:bodyPr anchor="ctr"/>
            <a:lstStyle/>
            <a:p>
              <a:pPr algn="ctr"/>
              <a:endParaRPr/>
            </a:p>
          </p:txBody>
        </p:sp>
        <p:sp>
          <p:nvSpPr>
            <p:cNvPr id="320" name="任意多边形: 形状 319">
              <a:extLst>
                <a:ext uri="{FF2B5EF4-FFF2-40B4-BE49-F238E27FC236}">
                  <a16:creationId xmlns:a16="http://schemas.microsoft.com/office/drawing/2014/main" id="{56EB070B-61B7-43AD-86F2-B6508ED6CAC9}"/>
                </a:ext>
              </a:extLst>
            </p:cNvPr>
            <p:cNvSpPr/>
            <p:nvPr/>
          </p:nvSpPr>
          <p:spPr>
            <a:xfrm>
              <a:off x="9216497" y="4500642"/>
              <a:ext cx="1322325" cy="1010305"/>
            </a:xfrm>
            <a:custGeom>
              <a:avLst/>
              <a:gdLst/>
              <a:ahLst/>
              <a:cxnLst>
                <a:cxn ang="0">
                  <a:pos x="wd2" y="hd2"/>
                </a:cxn>
                <a:cxn ang="5400000">
                  <a:pos x="wd2" y="hd2"/>
                </a:cxn>
                <a:cxn ang="10800000">
                  <a:pos x="wd2" y="hd2"/>
                </a:cxn>
                <a:cxn ang="16200000">
                  <a:pos x="wd2" y="hd2"/>
                </a:cxn>
              </a:cxnLst>
              <a:rect l="0" t="0" r="r" b="b"/>
              <a:pathLst>
                <a:path w="21600" h="21587" extrusionOk="0">
                  <a:moveTo>
                    <a:pt x="5954" y="5356"/>
                  </a:moveTo>
                  <a:lnTo>
                    <a:pt x="5796" y="5869"/>
                  </a:lnTo>
                  <a:lnTo>
                    <a:pt x="5503" y="6311"/>
                  </a:lnTo>
                  <a:lnTo>
                    <a:pt x="5365" y="6483"/>
                  </a:lnTo>
                  <a:lnTo>
                    <a:pt x="5082" y="6656"/>
                  </a:lnTo>
                  <a:lnTo>
                    <a:pt x="4719" y="6834"/>
                  </a:lnTo>
                  <a:lnTo>
                    <a:pt x="4278" y="6893"/>
                  </a:lnTo>
                  <a:lnTo>
                    <a:pt x="3867" y="6963"/>
                  </a:lnTo>
                  <a:lnTo>
                    <a:pt x="3605" y="7152"/>
                  </a:lnTo>
                  <a:lnTo>
                    <a:pt x="3201" y="7421"/>
                  </a:lnTo>
                  <a:lnTo>
                    <a:pt x="2840" y="7616"/>
                  </a:lnTo>
                  <a:lnTo>
                    <a:pt x="2159" y="7891"/>
                  </a:lnTo>
                  <a:lnTo>
                    <a:pt x="1627" y="8085"/>
                  </a:lnTo>
                  <a:lnTo>
                    <a:pt x="1116" y="8295"/>
                  </a:lnTo>
                  <a:lnTo>
                    <a:pt x="1025" y="8677"/>
                  </a:lnTo>
                  <a:lnTo>
                    <a:pt x="980" y="8983"/>
                  </a:lnTo>
                  <a:lnTo>
                    <a:pt x="880" y="9313"/>
                  </a:lnTo>
                  <a:lnTo>
                    <a:pt x="718" y="9572"/>
                  </a:lnTo>
                  <a:lnTo>
                    <a:pt x="742" y="9911"/>
                  </a:lnTo>
                  <a:lnTo>
                    <a:pt x="766" y="10200"/>
                  </a:lnTo>
                  <a:lnTo>
                    <a:pt x="887" y="10459"/>
                  </a:lnTo>
                  <a:lnTo>
                    <a:pt x="982" y="10658"/>
                  </a:lnTo>
                  <a:lnTo>
                    <a:pt x="945" y="10981"/>
                  </a:lnTo>
                  <a:lnTo>
                    <a:pt x="804" y="11271"/>
                  </a:lnTo>
                  <a:lnTo>
                    <a:pt x="643" y="11837"/>
                  </a:lnTo>
                  <a:lnTo>
                    <a:pt x="607" y="12409"/>
                  </a:lnTo>
                  <a:lnTo>
                    <a:pt x="619" y="12825"/>
                  </a:lnTo>
                  <a:lnTo>
                    <a:pt x="619" y="14159"/>
                  </a:lnTo>
                  <a:lnTo>
                    <a:pt x="657" y="14449"/>
                  </a:lnTo>
                  <a:lnTo>
                    <a:pt x="756" y="14821"/>
                  </a:lnTo>
                  <a:lnTo>
                    <a:pt x="756" y="15123"/>
                  </a:lnTo>
                  <a:lnTo>
                    <a:pt x="806" y="15510"/>
                  </a:lnTo>
                  <a:lnTo>
                    <a:pt x="856" y="15799"/>
                  </a:lnTo>
                  <a:lnTo>
                    <a:pt x="756" y="16171"/>
                  </a:lnTo>
                  <a:lnTo>
                    <a:pt x="620" y="16478"/>
                  </a:lnTo>
                  <a:lnTo>
                    <a:pt x="546" y="16734"/>
                  </a:lnTo>
                  <a:lnTo>
                    <a:pt x="484" y="17052"/>
                  </a:lnTo>
                  <a:lnTo>
                    <a:pt x="393" y="17251"/>
                  </a:lnTo>
                  <a:lnTo>
                    <a:pt x="218" y="17348"/>
                  </a:lnTo>
                  <a:lnTo>
                    <a:pt x="0" y="17440"/>
                  </a:lnTo>
                  <a:lnTo>
                    <a:pt x="75" y="17639"/>
                  </a:lnTo>
                  <a:lnTo>
                    <a:pt x="148" y="17822"/>
                  </a:lnTo>
                  <a:lnTo>
                    <a:pt x="409" y="18166"/>
                  </a:lnTo>
                  <a:lnTo>
                    <a:pt x="717" y="18165"/>
                  </a:lnTo>
                  <a:lnTo>
                    <a:pt x="954" y="18364"/>
                  </a:lnTo>
                  <a:lnTo>
                    <a:pt x="1202" y="18316"/>
                  </a:lnTo>
                  <a:lnTo>
                    <a:pt x="1439" y="18047"/>
                  </a:lnTo>
                  <a:lnTo>
                    <a:pt x="1767" y="17901"/>
                  </a:lnTo>
                  <a:lnTo>
                    <a:pt x="2169" y="17804"/>
                  </a:lnTo>
                  <a:lnTo>
                    <a:pt x="2597" y="17535"/>
                  </a:lnTo>
                  <a:lnTo>
                    <a:pt x="2792" y="17454"/>
                  </a:lnTo>
                  <a:lnTo>
                    <a:pt x="3078" y="17389"/>
                  </a:lnTo>
                  <a:lnTo>
                    <a:pt x="3572" y="17373"/>
                  </a:lnTo>
                  <a:lnTo>
                    <a:pt x="3783" y="17308"/>
                  </a:lnTo>
                  <a:lnTo>
                    <a:pt x="4016" y="17260"/>
                  </a:lnTo>
                  <a:lnTo>
                    <a:pt x="4277" y="17211"/>
                  </a:lnTo>
                  <a:cubicBezTo>
                    <a:pt x="4368" y="17227"/>
                    <a:pt x="4461" y="17227"/>
                    <a:pt x="4552" y="17211"/>
                  </a:cubicBezTo>
                  <a:cubicBezTo>
                    <a:pt x="4646" y="17194"/>
                    <a:pt x="4738" y="17159"/>
                    <a:pt x="4825" y="17108"/>
                  </a:cubicBezTo>
                  <a:lnTo>
                    <a:pt x="5149" y="16802"/>
                  </a:lnTo>
                  <a:lnTo>
                    <a:pt x="5410" y="16608"/>
                  </a:lnTo>
                  <a:lnTo>
                    <a:pt x="5793" y="16451"/>
                  </a:lnTo>
                  <a:lnTo>
                    <a:pt x="6066" y="16339"/>
                  </a:lnTo>
                  <a:lnTo>
                    <a:pt x="6419" y="16236"/>
                  </a:lnTo>
                  <a:lnTo>
                    <a:pt x="7073" y="16033"/>
                  </a:lnTo>
                  <a:lnTo>
                    <a:pt x="7555" y="15812"/>
                  </a:lnTo>
                  <a:lnTo>
                    <a:pt x="7812" y="15893"/>
                  </a:lnTo>
                  <a:lnTo>
                    <a:pt x="8156" y="15925"/>
                  </a:lnTo>
                  <a:lnTo>
                    <a:pt x="8413" y="15764"/>
                  </a:lnTo>
                  <a:cubicBezTo>
                    <a:pt x="8514" y="15721"/>
                    <a:pt x="8618" y="15693"/>
                    <a:pt x="8724" y="15683"/>
                  </a:cubicBezTo>
                  <a:cubicBezTo>
                    <a:pt x="8850" y="15670"/>
                    <a:pt x="8977" y="15680"/>
                    <a:pt x="9101" y="15714"/>
                  </a:cubicBezTo>
                  <a:lnTo>
                    <a:pt x="9309" y="15811"/>
                  </a:lnTo>
                  <a:lnTo>
                    <a:pt x="9665" y="16129"/>
                  </a:lnTo>
                  <a:lnTo>
                    <a:pt x="9802" y="16323"/>
                  </a:lnTo>
                  <a:lnTo>
                    <a:pt x="10014" y="16431"/>
                  </a:lnTo>
                  <a:cubicBezTo>
                    <a:pt x="10054" y="16535"/>
                    <a:pt x="10087" y="16643"/>
                    <a:pt x="10112" y="16754"/>
                  </a:cubicBezTo>
                  <a:cubicBezTo>
                    <a:pt x="10146" y="16901"/>
                    <a:pt x="10167" y="17052"/>
                    <a:pt x="10174" y="17205"/>
                  </a:cubicBezTo>
                  <a:lnTo>
                    <a:pt x="10302" y="17344"/>
                  </a:lnTo>
                  <a:lnTo>
                    <a:pt x="10401" y="17554"/>
                  </a:lnTo>
                  <a:lnTo>
                    <a:pt x="10451" y="17811"/>
                  </a:lnTo>
                  <a:lnTo>
                    <a:pt x="10476" y="18064"/>
                  </a:lnTo>
                  <a:lnTo>
                    <a:pt x="10688" y="18145"/>
                  </a:lnTo>
                  <a:lnTo>
                    <a:pt x="10787" y="17837"/>
                  </a:lnTo>
                  <a:lnTo>
                    <a:pt x="10899" y="17643"/>
                  </a:lnTo>
                  <a:lnTo>
                    <a:pt x="11281" y="17568"/>
                  </a:lnTo>
                  <a:lnTo>
                    <a:pt x="11514" y="17330"/>
                  </a:lnTo>
                  <a:lnTo>
                    <a:pt x="11659" y="16996"/>
                  </a:lnTo>
                  <a:lnTo>
                    <a:pt x="11759" y="16727"/>
                  </a:lnTo>
                  <a:lnTo>
                    <a:pt x="11983" y="16727"/>
                  </a:lnTo>
                  <a:lnTo>
                    <a:pt x="12102" y="16986"/>
                  </a:lnTo>
                  <a:lnTo>
                    <a:pt x="12069" y="17282"/>
                  </a:lnTo>
                  <a:lnTo>
                    <a:pt x="11874" y="17524"/>
                  </a:lnTo>
                  <a:lnTo>
                    <a:pt x="11654" y="17767"/>
                  </a:lnTo>
                  <a:lnTo>
                    <a:pt x="11510" y="17972"/>
                  </a:lnTo>
                  <a:lnTo>
                    <a:pt x="11473" y="18225"/>
                  </a:lnTo>
                  <a:lnTo>
                    <a:pt x="11274" y="18418"/>
                  </a:lnTo>
                  <a:lnTo>
                    <a:pt x="11125" y="18467"/>
                  </a:lnTo>
                  <a:lnTo>
                    <a:pt x="11188" y="18634"/>
                  </a:lnTo>
                  <a:lnTo>
                    <a:pt x="11336" y="18634"/>
                  </a:lnTo>
                  <a:lnTo>
                    <a:pt x="11507" y="18537"/>
                  </a:lnTo>
                  <a:lnTo>
                    <a:pt x="11648" y="18208"/>
                  </a:lnTo>
                  <a:lnTo>
                    <a:pt x="11859" y="17966"/>
                  </a:lnTo>
                  <a:lnTo>
                    <a:pt x="11982" y="17997"/>
                  </a:lnTo>
                  <a:lnTo>
                    <a:pt x="12028" y="18234"/>
                  </a:lnTo>
                  <a:lnTo>
                    <a:pt x="12003" y="18557"/>
                  </a:lnTo>
                  <a:lnTo>
                    <a:pt x="11990" y="18719"/>
                  </a:lnTo>
                  <a:lnTo>
                    <a:pt x="12143" y="18913"/>
                  </a:lnTo>
                  <a:lnTo>
                    <a:pt x="12243" y="19251"/>
                  </a:lnTo>
                  <a:lnTo>
                    <a:pt x="12130" y="19639"/>
                  </a:lnTo>
                  <a:lnTo>
                    <a:pt x="12031" y="19855"/>
                  </a:lnTo>
                  <a:lnTo>
                    <a:pt x="11944" y="20096"/>
                  </a:lnTo>
                  <a:lnTo>
                    <a:pt x="12193" y="20469"/>
                  </a:lnTo>
                  <a:lnTo>
                    <a:pt x="12600" y="20760"/>
                  </a:lnTo>
                  <a:lnTo>
                    <a:pt x="12912" y="21094"/>
                  </a:lnTo>
                  <a:lnTo>
                    <a:pt x="13119" y="21142"/>
                  </a:lnTo>
                  <a:lnTo>
                    <a:pt x="13372" y="21202"/>
                  </a:lnTo>
                  <a:cubicBezTo>
                    <a:pt x="13427" y="21195"/>
                    <a:pt x="13481" y="21173"/>
                    <a:pt x="13529" y="21138"/>
                  </a:cubicBezTo>
                  <a:cubicBezTo>
                    <a:pt x="13608" y="21080"/>
                    <a:pt x="13669" y="20988"/>
                    <a:pt x="13703" y="20879"/>
                  </a:cubicBezTo>
                  <a:lnTo>
                    <a:pt x="13911" y="20820"/>
                  </a:lnTo>
                  <a:lnTo>
                    <a:pt x="14131" y="20831"/>
                  </a:lnTo>
                  <a:lnTo>
                    <a:pt x="14366" y="21000"/>
                  </a:lnTo>
                  <a:lnTo>
                    <a:pt x="14503" y="21323"/>
                  </a:lnTo>
                  <a:cubicBezTo>
                    <a:pt x="14516" y="21451"/>
                    <a:pt x="14589" y="21554"/>
                    <a:pt x="14686" y="21581"/>
                  </a:cubicBezTo>
                  <a:cubicBezTo>
                    <a:pt x="14755" y="21600"/>
                    <a:pt x="14827" y="21576"/>
                    <a:pt x="14881" y="21516"/>
                  </a:cubicBezTo>
                  <a:lnTo>
                    <a:pt x="15117" y="21042"/>
                  </a:lnTo>
                  <a:cubicBezTo>
                    <a:pt x="15153" y="20962"/>
                    <a:pt x="15199" y="20891"/>
                    <a:pt x="15254" y="20832"/>
                  </a:cubicBezTo>
                  <a:cubicBezTo>
                    <a:pt x="15361" y="20715"/>
                    <a:pt x="15495" y="20649"/>
                    <a:pt x="15635" y="20643"/>
                  </a:cubicBezTo>
                  <a:lnTo>
                    <a:pt x="15896" y="20578"/>
                  </a:lnTo>
                  <a:lnTo>
                    <a:pt x="16108" y="20578"/>
                  </a:lnTo>
                  <a:lnTo>
                    <a:pt x="16320" y="20708"/>
                  </a:lnTo>
                  <a:cubicBezTo>
                    <a:pt x="16368" y="20765"/>
                    <a:pt x="16429" y="20799"/>
                    <a:pt x="16494" y="20805"/>
                  </a:cubicBezTo>
                  <a:cubicBezTo>
                    <a:pt x="16587" y="20814"/>
                    <a:pt x="16677" y="20766"/>
                    <a:pt x="16739" y="20676"/>
                  </a:cubicBezTo>
                  <a:lnTo>
                    <a:pt x="16988" y="20110"/>
                  </a:lnTo>
                  <a:lnTo>
                    <a:pt x="17250" y="19592"/>
                  </a:lnTo>
                  <a:cubicBezTo>
                    <a:pt x="17331" y="19471"/>
                    <a:pt x="17410" y="19347"/>
                    <a:pt x="17487" y="19220"/>
                  </a:cubicBezTo>
                  <a:cubicBezTo>
                    <a:pt x="17562" y="19095"/>
                    <a:pt x="17636" y="18967"/>
                    <a:pt x="17707" y="18837"/>
                  </a:cubicBezTo>
                  <a:lnTo>
                    <a:pt x="18063" y="18805"/>
                  </a:lnTo>
                  <a:lnTo>
                    <a:pt x="18151" y="18627"/>
                  </a:lnTo>
                  <a:lnTo>
                    <a:pt x="18358" y="18341"/>
                  </a:lnTo>
                  <a:lnTo>
                    <a:pt x="18454" y="18136"/>
                  </a:lnTo>
                  <a:lnTo>
                    <a:pt x="18691" y="17893"/>
                  </a:lnTo>
                  <a:cubicBezTo>
                    <a:pt x="18717" y="17817"/>
                    <a:pt x="18736" y="17738"/>
                    <a:pt x="18748" y="17656"/>
                  </a:cubicBezTo>
                  <a:cubicBezTo>
                    <a:pt x="18765" y="17543"/>
                    <a:pt x="18767" y="17423"/>
                    <a:pt x="18810" y="17321"/>
                  </a:cubicBezTo>
                  <a:cubicBezTo>
                    <a:pt x="18860" y="17203"/>
                    <a:pt x="18955" y="17129"/>
                    <a:pt x="19059" y="17127"/>
                  </a:cubicBezTo>
                  <a:lnTo>
                    <a:pt x="19413" y="16924"/>
                  </a:lnTo>
                  <a:lnTo>
                    <a:pt x="19787" y="16655"/>
                  </a:lnTo>
                  <a:lnTo>
                    <a:pt x="19874" y="16445"/>
                  </a:lnTo>
                  <a:lnTo>
                    <a:pt x="20023" y="16251"/>
                  </a:lnTo>
                  <a:lnTo>
                    <a:pt x="20285" y="15880"/>
                  </a:lnTo>
                  <a:lnTo>
                    <a:pt x="20451" y="15642"/>
                  </a:lnTo>
                  <a:lnTo>
                    <a:pt x="20476" y="15370"/>
                  </a:lnTo>
                  <a:cubicBezTo>
                    <a:pt x="20512" y="15250"/>
                    <a:pt x="20553" y="15133"/>
                    <a:pt x="20601" y="15020"/>
                  </a:cubicBezTo>
                  <a:cubicBezTo>
                    <a:pt x="20671" y="14852"/>
                    <a:pt x="20753" y="14693"/>
                    <a:pt x="20846" y="14545"/>
                  </a:cubicBezTo>
                  <a:cubicBezTo>
                    <a:pt x="20913" y="14433"/>
                    <a:pt x="20979" y="14320"/>
                    <a:pt x="21045" y="14206"/>
                  </a:cubicBezTo>
                  <a:cubicBezTo>
                    <a:pt x="21111" y="14091"/>
                    <a:pt x="21176" y="13976"/>
                    <a:pt x="21240" y="13860"/>
                  </a:cubicBezTo>
                  <a:cubicBezTo>
                    <a:pt x="21281" y="13719"/>
                    <a:pt x="21310" y="13572"/>
                    <a:pt x="21327" y="13423"/>
                  </a:cubicBezTo>
                  <a:cubicBezTo>
                    <a:pt x="21345" y="13266"/>
                    <a:pt x="21349" y="13107"/>
                    <a:pt x="21340" y="12948"/>
                  </a:cubicBezTo>
                  <a:lnTo>
                    <a:pt x="21550" y="12563"/>
                  </a:lnTo>
                  <a:cubicBezTo>
                    <a:pt x="21536" y="12461"/>
                    <a:pt x="21532" y="12358"/>
                    <a:pt x="21538" y="12255"/>
                  </a:cubicBezTo>
                  <a:cubicBezTo>
                    <a:pt x="21545" y="12135"/>
                    <a:pt x="21566" y="12016"/>
                    <a:pt x="21600" y="11904"/>
                  </a:cubicBezTo>
                  <a:lnTo>
                    <a:pt x="21600" y="11340"/>
                  </a:lnTo>
                  <a:lnTo>
                    <a:pt x="21538" y="11038"/>
                  </a:lnTo>
                  <a:lnTo>
                    <a:pt x="21389" y="10617"/>
                  </a:lnTo>
                  <a:lnTo>
                    <a:pt x="21281" y="10240"/>
                  </a:lnTo>
                  <a:lnTo>
                    <a:pt x="21028" y="9986"/>
                  </a:lnTo>
                  <a:lnTo>
                    <a:pt x="20791" y="9581"/>
                  </a:lnTo>
                  <a:lnTo>
                    <a:pt x="20733" y="9333"/>
                  </a:lnTo>
                  <a:lnTo>
                    <a:pt x="20397" y="8721"/>
                  </a:lnTo>
                  <a:lnTo>
                    <a:pt x="20297" y="8091"/>
                  </a:lnTo>
                  <a:lnTo>
                    <a:pt x="20106" y="7525"/>
                  </a:lnTo>
                  <a:lnTo>
                    <a:pt x="19820" y="6996"/>
                  </a:lnTo>
                  <a:lnTo>
                    <a:pt x="19620" y="6527"/>
                  </a:lnTo>
                  <a:lnTo>
                    <a:pt x="19210" y="6155"/>
                  </a:lnTo>
                  <a:lnTo>
                    <a:pt x="18886" y="5767"/>
                  </a:lnTo>
                  <a:cubicBezTo>
                    <a:pt x="18800" y="5685"/>
                    <a:pt x="18761" y="5544"/>
                    <a:pt x="18786" y="5410"/>
                  </a:cubicBezTo>
                  <a:cubicBezTo>
                    <a:pt x="18811" y="5280"/>
                    <a:pt x="18892" y="5181"/>
                    <a:pt x="18994" y="5157"/>
                  </a:cubicBezTo>
                  <a:lnTo>
                    <a:pt x="19055" y="4833"/>
                  </a:lnTo>
                  <a:lnTo>
                    <a:pt x="19055" y="4472"/>
                  </a:lnTo>
                  <a:lnTo>
                    <a:pt x="19217" y="4028"/>
                  </a:lnTo>
                  <a:lnTo>
                    <a:pt x="19027" y="3743"/>
                  </a:lnTo>
                  <a:lnTo>
                    <a:pt x="18969" y="3459"/>
                  </a:lnTo>
                  <a:lnTo>
                    <a:pt x="18936" y="3040"/>
                  </a:lnTo>
                  <a:lnTo>
                    <a:pt x="18737" y="2634"/>
                  </a:lnTo>
                  <a:lnTo>
                    <a:pt x="18500" y="2250"/>
                  </a:lnTo>
                  <a:lnTo>
                    <a:pt x="18264" y="1878"/>
                  </a:lnTo>
                  <a:cubicBezTo>
                    <a:pt x="18190" y="1776"/>
                    <a:pt x="18127" y="1662"/>
                    <a:pt x="18077" y="1539"/>
                  </a:cubicBezTo>
                  <a:cubicBezTo>
                    <a:pt x="17997" y="1344"/>
                    <a:pt x="17951" y="1129"/>
                    <a:pt x="17940" y="908"/>
                  </a:cubicBezTo>
                  <a:lnTo>
                    <a:pt x="17870" y="312"/>
                  </a:lnTo>
                  <a:lnTo>
                    <a:pt x="17679" y="0"/>
                  </a:lnTo>
                  <a:lnTo>
                    <a:pt x="17497" y="117"/>
                  </a:lnTo>
                  <a:lnTo>
                    <a:pt x="17298" y="441"/>
                  </a:lnTo>
                  <a:lnTo>
                    <a:pt x="17198" y="989"/>
                  </a:lnTo>
                  <a:lnTo>
                    <a:pt x="17173" y="1475"/>
                  </a:lnTo>
                  <a:lnTo>
                    <a:pt x="17090" y="1927"/>
                  </a:lnTo>
                  <a:lnTo>
                    <a:pt x="17016" y="2271"/>
                  </a:lnTo>
                  <a:lnTo>
                    <a:pt x="17003" y="2864"/>
                  </a:lnTo>
                  <a:lnTo>
                    <a:pt x="17016" y="3290"/>
                  </a:lnTo>
                  <a:cubicBezTo>
                    <a:pt x="16998" y="3361"/>
                    <a:pt x="16974" y="3430"/>
                    <a:pt x="16945" y="3495"/>
                  </a:cubicBezTo>
                  <a:cubicBezTo>
                    <a:pt x="16886" y="3627"/>
                    <a:pt x="16805" y="3742"/>
                    <a:pt x="16709" y="3829"/>
                  </a:cubicBezTo>
                  <a:lnTo>
                    <a:pt x="16476" y="4223"/>
                  </a:lnTo>
                  <a:lnTo>
                    <a:pt x="16090" y="4596"/>
                  </a:lnTo>
                  <a:lnTo>
                    <a:pt x="16028" y="4804"/>
                  </a:lnTo>
                  <a:lnTo>
                    <a:pt x="15868" y="4980"/>
                  </a:lnTo>
                  <a:lnTo>
                    <a:pt x="15471" y="4872"/>
                  </a:lnTo>
                  <a:lnTo>
                    <a:pt x="15263" y="4420"/>
                  </a:lnTo>
                  <a:lnTo>
                    <a:pt x="14941" y="4258"/>
                  </a:lnTo>
                  <a:lnTo>
                    <a:pt x="14663" y="4053"/>
                  </a:lnTo>
                  <a:lnTo>
                    <a:pt x="14476" y="3794"/>
                  </a:lnTo>
                  <a:lnTo>
                    <a:pt x="14089" y="3470"/>
                  </a:lnTo>
                  <a:lnTo>
                    <a:pt x="13749" y="3330"/>
                  </a:lnTo>
                  <a:lnTo>
                    <a:pt x="13637" y="2925"/>
                  </a:lnTo>
                  <a:lnTo>
                    <a:pt x="13637" y="2180"/>
                  </a:lnTo>
                  <a:lnTo>
                    <a:pt x="13757" y="1862"/>
                  </a:lnTo>
                  <a:lnTo>
                    <a:pt x="13894" y="1668"/>
                  </a:lnTo>
                  <a:lnTo>
                    <a:pt x="14093" y="1328"/>
                  </a:lnTo>
                  <a:lnTo>
                    <a:pt x="14301" y="1036"/>
                  </a:lnTo>
                  <a:lnTo>
                    <a:pt x="14077" y="799"/>
                  </a:lnTo>
                  <a:lnTo>
                    <a:pt x="13671" y="626"/>
                  </a:lnTo>
                  <a:lnTo>
                    <a:pt x="13551" y="529"/>
                  </a:lnTo>
                  <a:lnTo>
                    <a:pt x="12919" y="457"/>
                  </a:lnTo>
                  <a:lnTo>
                    <a:pt x="12492" y="155"/>
                  </a:lnTo>
                  <a:lnTo>
                    <a:pt x="12131" y="495"/>
                  </a:lnTo>
                  <a:lnTo>
                    <a:pt x="11861" y="716"/>
                  </a:lnTo>
                  <a:lnTo>
                    <a:pt x="11605" y="888"/>
                  </a:lnTo>
                  <a:lnTo>
                    <a:pt x="11058" y="1017"/>
                  </a:lnTo>
                  <a:lnTo>
                    <a:pt x="10851" y="1226"/>
                  </a:lnTo>
                  <a:lnTo>
                    <a:pt x="10702" y="1608"/>
                  </a:lnTo>
                  <a:lnTo>
                    <a:pt x="10603" y="1737"/>
                  </a:lnTo>
                  <a:lnTo>
                    <a:pt x="10416" y="1964"/>
                  </a:lnTo>
                  <a:lnTo>
                    <a:pt x="10428" y="2286"/>
                  </a:lnTo>
                  <a:lnTo>
                    <a:pt x="10594" y="2561"/>
                  </a:lnTo>
                  <a:lnTo>
                    <a:pt x="10478" y="2739"/>
                  </a:lnTo>
                  <a:lnTo>
                    <a:pt x="10159" y="3090"/>
                  </a:lnTo>
                  <a:cubicBezTo>
                    <a:pt x="10067" y="3086"/>
                    <a:pt x="9978" y="3052"/>
                    <a:pt x="9899" y="2993"/>
                  </a:cubicBezTo>
                  <a:cubicBezTo>
                    <a:pt x="9767" y="2894"/>
                    <a:pt x="9671" y="2731"/>
                    <a:pt x="9633" y="2540"/>
                  </a:cubicBezTo>
                  <a:lnTo>
                    <a:pt x="9197" y="2329"/>
                  </a:lnTo>
                  <a:cubicBezTo>
                    <a:pt x="9181" y="2199"/>
                    <a:pt x="9118" y="2087"/>
                    <a:pt x="9027" y="2027"/>
                  </a:cubicBezTo>
                  <a:cubicBezTo>
                    <a:pt x="8838" y="1903"/>
                    <a:pt x="8608" y="2025"/>
                    <a:pt x="8541" y="2286"/>
                  </a:cubicBezTo>
                  <a:lnTo>
                    <a:pt x="8250" y="2599"/>
                  </a:lnTo>
                  <a:cubicBezTo>
                    <a:pt x="8194" y="2686"/>
                    <a:pt x="8137" y="2772"/>
                    <a:pt x="8080" y="2857"/>
                  </a:cubicBezTo>
                  <a:cubicBezTo>
                    <a:pt x="7985" y="2999"/>
                    <a:pt x="7888" y="3139"/>
                    <a:pt x="7790" y="3277"/>
                  </a:cubicBezTo>
                  <a:lnTo>
                    <a:pt x="7467" y="3599"/>
                  </a:lnTo>
                  <a:lnTo>
                    <a:pt x="7293" y="3739"/>
                  </a:lnTo>
                  <a:lnTo>
                    <a:pt x="6986" y="3783"/>
                  </a:lnTo>
                  <a:lnTo>
                    <a:pt x="6987" y="4025"/>
                  </a:lnTo>
                  <a:lnTo>
                    <a:pt x="7057" y="4165"/>
                  </a:lnTo>
                  <a:lnTo>
                    <a:pt x="7119" y="4374"/>
                  </a:lnTo>
                  <a:lnTo>
                    <a:pt x="7007" y="4628"/>
                  </a:lnTo>
                  <a:cubicBezTo>
                    <a:pt x="7006" y="4750"/>
                    <a:pt x="6931" y="4851"/>
                    <a:pt x="6836" y="4854"/>
                  </a:cubicBezTo>
                  <a:cubicBezTo>
                    <a:pt x="6738" y="4858"/>
                    <a:pt x="6655" y="4756"/>
                    <a:pt x="6654" y="4628"/>
                  </a:cubicBezTo>
                  <a:lnTo>
                    <a:pt x="6421" y="4466"/>
                  </a:lnTo>
                  <a:lnTo>
                    <a:pt x="6280" y="4719"/>
                  </a:lnTo>
                  <a:lnTo>
                    <a:pt x="6160" y="4924"/>
                  </a:lnTo>
                  <a:lnTo>
                    <a:pt x="5954" y="5356"/>
                  </a:lnTo>
                  <a:close/>
                </a:path>
              </a:pathLst>
            </a:custGeom>
            <a:grpFill/>
            <a:ln w="25400" cap="flat">
              <a:noFill/>
              <a:prstDash val="solid"/>
              <a:miter lim="400000"/>
            </a:ln>
            <a:effectLst/>
          </p:spPr>
          <p:txBody>
            <a:bodyPr anchor="ctr"/>
            <a:lstStyle/>
            <a:p>
              <a:pPr algn="ctr"/>
              <a:endParaRPr/>
            </a:p>
          </p:txBody>
        </p:sp>
        <p:sp>
          <p:nvSpPr>
            <p:cNvPr id="321" name="任意多边形: 形状 320">
              <a:extLst>
                <a:ext uri="{FF2B5EF4-FFF2-40B4-BE49-F238E27FC236}">
                  <a16:creationId xmlns:a16="http://schemas.microsoft.com/office/drawing/2014/main" id="{6842D894-8BB2-4F2D-B8EF-0FC3B05F7913}"/>
                </a:ext>
              </a:extLst>
            </p:cNvPr>
            <p:cNvSpPr/>
            <p:nvPr/>
          </p:nvSpPr>
          <p:spPr>
            <a:xfrm>
              <a:off x="10006023" y="5571304"/>
              <a:ext cx="123850" cy="102464"/>
            </a:xfrm>
            <a:custGeom>
              <a:avLst/>
              <a:gdLst/>
              <a:ahLst/>
              <a:cxnLst>
                <a:cxn ang="0">
                  <a:pos x="wd2" y="hd2"/>
                </a:cxn>
                <a:cxn ang="5400000">
                  <a:pos x="wd2" y="hd2"/>
                </a:cxn>
                <a:cxn ang="10800000">
                  <a:pos x="wd2" y="hd2"/>
                </a:cxn>
                <a:cxn ang="16200000">
                  <a:pos x="wd2" y="hd2"/>
                </a:cxn>
              </a:cxnLst>
              <a:rect l="0" t="0" r="r" b="b"/>
              <a:pathLst>
                <a:path w="21600" h="21600" extrusionOk="0">
                  <a:moveTo>
                    <a:pt x="2734" y="1038"/>
                  </a:moveTo>
                  <a:lnTo>
                    <a:pt x="5578" y="0"/>
                  </a:lnTo>
                  <a:lnTo>
                    <a:pt x="6344" y="2077"/>
                  </a:lnTo>
                  <a:lnTo>
                    <a:pt x="8057" y="3507"/>
                  </a:lnTo>
                  <a:lnTo>
                    <a:pt x="11245" y="5736"/>
                  </a:lnTo>
                  <a:lnTo>
                    <a:pt x="13944" y="4944"/>
                  </a:lnTo>
                  <a:lnTo>
                    <a:pt x="15669" y="2555"/>
                  </a:lnTo>
                  <a:lnTo>
                    <a:pt x="17659" y="2290"/>
                  </a:lnTo>
                  <a:lnTo>
                    <a:pt x="20048" y="2290"/>
                  </a:lnTo>
                  <a:lnTo>
                    <a:pt x="21600" y="3886"/>
                  </a:lnTo>
                  <a:lnTo>
                    <a:pt x="21073" y="6102"/>
                  </a:lnTo>
                  <a:lnTo>
                    <a:pt x="19449" y="6901"/>
                  </a:lnTo>
                  <a:lnTo>
                    <a:pt x="18263" y="8165"/>
                  </a:lnTo>
                  <a:lnTo>
                    <a:pt x="18130" y="10554"/>
                  </a:lnTo>
                  <a:lnTo>
                    <a:pt x="16494" y="13003"/>
                  </a:lnTo>
                  <a:lnTo>
                    <a:pt x="14149" y="14540"/>
                  </a:lnTo>
                  <a:lnTo>
                    <a:pt x="10318" y="16118"/>
                  </a:lnTo>
                  <a:lnTo>
                    <a:pt x="8234" y="17714"/>
                  </a:lnTo>
                  <a:lnTo>
                    <a:pt x="6954" y="19365"/>
                  </a:lnTo>
                  <a:lnTo>
                    <a:pt x="6111" y="21121"/>
                  </a:lnTo>
                  <a:lnTo>
                    <a:pt x="4171" y="21600"/>
                  </a:lnTo>
                  <a:lnTo>
                    <a:pt x="3062" y="19311"/>
                  </a:lnTo>
                  <a:lnTo>
                    <a:pt x="1521" y="19311"/>
                  </a:lnTo>
                  <a:lnTo>
                    <a:pt x="0" y="19258"/>
                  </a:lnTo>
                  <a:lnTo>
                    <a:pt x="667" y="16130"/>
                  </a:lnTo>
                  <a:lnTo>
                    <a:pt x="2456" y="13422"/>
                  </a:lnTo>
                  <a:lnTo>
                    <a:pt x="2806" y="11838"/>
                  </a:lnTo>
                  <a:lnTo>
                    <a:pt x="2673" y="8557"/>
                  </a:lnTo>
                  <a:lnTo>
                    <a:pt x="2673" y="6056"/>
                  </a:lnTo>
                  <a:lnTo>
                    <a:pt x="2190" y="4678"/>
                  </a:lnTo>
                  <a:lnTo>
                    <a:pt x="2734" y="1038"/>
                  </a:lnTo>
                  <a:close/>
                </a:path>
              </a:pathLst>
            </a:custGeom>
            <a:grpFill/>
            <a:ln w="25400" cap="flat">
              <a:noFill/>
              <a:prstDash val="solid"/>
              <a:miter lim="400000"/>
            </a:ln>
            <a:effectLst/>
          </p:spPr>
          <p:txBody>
            <a:bodyPr anchor="ctr"/>
            <a:lstStyle/>
            <a:p>
              <a:pPr algn="ctr"/>
              <a:endParaRPr/>
            </a:p>
          </p:txBody>
        </p:sp>
        <p:sp>
          <p:nvSpPr>
            <p:cNvPr id="322" name="任意多边形: 形状 321">
              <a:extLst>
                <a:ext uri="{FF2B5EF4-FFF2-40B4-BE49-F238E27FC236}">
                  <a16:creationId xmlns:a16="http://schemas.microsoft.com/office/drawing/2014/main" id="{3BA3D964-D39E-4B13-85AE-C0787150F4BD}"/>
                </a:ext>
              </a:extLst>
            </p:cNvPr>
            <p:cNvSpPr/>
            <p:nvPr/>
          </p:nvSpPr>
          <p:spPr>
            <a:xfrm>
              <a:off x="10572355" y="5565246"/>
              <a:ext cx="336841" cy="210563"/>
            </a:xfrm>
            <a:custGeom>
              <a:avLst/>
              <a:gdLst/>
              <a:ahLst/>
              <a:cxnLst>
                <a:cxn ang="0">
                  <a:pos x="wd2" y="hd2"/>
                </a:cxn>
                <a:cxn ang="5400000">
                  <a:pos x="wd2" y="hd2"/>
                </a:cxn>
                <a:cxn ang="10800000">
                  <a:pos x="wd2" y="hd2"/>
                </a:cxn>
                <a:cxn ang="16200000">
                  <a:pos x="wd2" y="hd2"/>
                </a:cxn>
              </a:cxnLst>
              <a:rect l="0" t="0" r="r" b="b"/>
              <a:pathLst>
                <a:path w="21600" h="21544" extrusionOk="0">
                  <a:moveTo>
                    <a:pt x="2147" y="16913"/>
                  </a:moveTo>
                  <a:lnTo>
                    <a:pt x="1380" y="17278"/>
                  </a:lnTo>
                  <a:lnTo>
                    <a:pt x="508" y="19015"/>
                  </a:lnTo>
                  <a:lnTo>
                    <a:pt x="0" y="20356"/>
                  </a:lnTo>
                  <a:lnTo>
                    <a:pt x="1241" y="21466"/>
                  </a:lnTo>
                  <a:lnTo>
                    <a:pt x="2749" y="21544"/>
                  </a:lnTo>
                  <a:lnTo>
                    <a:pt x="5044" y="21466"/>
                  </a:lnTo>
                  <a:lnTo>
                    <a:pt x="6332" y="20691"/>
                  </a:lnTo>
                  <a:lnTo>
                    <a:pt x="8044" y="18990"/>
                  </a:lnTo>
                  <a:lnTo>
                    <a:pt x="9316" y="17905"/>
                  </a:lnTo>
                  <a:lnTo>
                    <a:pt x="10246" y="16587"/>
                  </a:lnTo>
                  <a:lnTo>
                    <a:pt x="11501" y="14151"/>
                  </a:lnTo>
                  <a:cubicBezTo>
                    <a:pt x="11635" y="13828"/>
                    <a:pt x="11800" y="13540"/>
                    <a:pt x="11990" y="13298"/>
                  </a:cubicBezTo>
                  <a:cubicBezTo>
                    <a:pt x="12464" y="12694"/>
                    <a:pt x="13064" y="12399"/>
                    <a:pt x="13670" y="12472"/>
                  </a:cubicBezTo>
                  <a:lnTo>
                    <a:pt x="14548" y="12562"/>
                  </a:lnTo>
                  <a:lnTo>
                    <a:pt x="15233" y="12097"/>
                  </a:lnTo>
                  <a:lnTo>
                    <a:pt x="15961" y="11558"/>
                  </a:lnTo>
                  <a:lnTo>
                    <a:pt x="16010" y="10246"/>
                  </a:lnTo>
                  <a:lnTo>
                    <a:pt x="17004" y="9130"/>
                  </a:lnTo>
                  <a:lnTo>
                    <a:pt x="18541" y="7346"/>
                  </a:lnTo>
                  <a:lnTo>
                    <a:pt x="20577" y="6490"/>
                  </a:lnTo>
                  <a:lnTo>
                    <a:pt x="21600" y="5415"/>
                  </a:lnTo>
                  <a:lnTo>
                    <a:pt x="21600" y="4405"/>
                  </a:lnTo>
                  <a:lnTo>
                    <a:pt x="21306" y="2773"/>
                  </a:lnTo>
                  <a:lnTo>
                    <a:pt x="20866" y="1007"/>
                  </a:lnTo>
                  <a:cubicBezTo>
                    <a:pt x="20843" y="468"/>
                    <a:pt x="20572" y="40"/>
                    <a:pt x="20232" y="3"/>
                  </a:cubicBezTo>
                  <a:cubicBezTo>
                    <a:pt x="19700" y="-56"/>
                    <a:pt x="19304" y="769"/>
                    <a:pt x="19482" y="1565"/>
                  </a:cubicBezTo>
                  <a:lnTo>
                    <a:pt x="18669" y="2426"/>
                  </a:lnTo>
                  <a:lnTo>
                    <a:pt x="17564" y="3640"/>
                  </a:lnTo>
                  <a:lnTo>
                    <a:pt x="17108" y="4363"/>
                  </a:lnTo>
                  <a:cubicBezTo>
                    <a:pt x="16812" y="4575"/>
                    <a:pt x="16538" y="4853"/>
                    <a:pt x="16293" y="5190"/>
                  </a:cubicBezTo>
                  <a:cubicBezTo>
                    <a:pt x="15810" y="5854"/>
                    <a:pt x="15457" y="6721"/>
                    <a:pt x="14988" y="7408"/>
                  </a:cubicBezTo>
                  <a:cubicBezTo>
                    <a:pt x="14591" y="7991"/>
                    <a:pt x="14119" y="8431"/>
                    <a:pt x="13604" y="8700"/>
                  </a:cubicBezTo>
                  <a:lnTo>
                    <a:pt x="11698" y="9704"/>
                  </a:lnTo>
                  <a:lnTo>
                    <a:pt x="9302" y="11254"/>
                  </a:lnTo>
                  <a:cubicBezTo>
                    <a:pt x="8906" y="11491"/>
                    <a:pt x="8515" y="11748"/>
                    <a:pt x="8130" y="12026"/>
                  </a:cubicBezTo>
                  <a:cubicBezTo>
                    <a:pt x="7579" y="12424"/>
                    <a:pt x="7040" y="12864"/>
                    <a:pt x="6515" y="13344"/>
                  </a:cubicBezTo>
                  <a:cubicBezTo>
                    <a:pt x="6085" y="13632"/>
                    <a:pt x="5652" y="13908"/>
                    <a:pt x="5215" y="14170"/>
                  </a:cubicBezTo>
                  <a:cubicBezTo>
                    <a:pt x="4730" y="14462"/>
                    <a:pt x="4240" y="14738"/>
                    <a:pt x="3748" y="14997"/>
                  </a:cubicBezTo>
                  <a:lnTo>
                    <a:pt x="2147" y="16913"/>
                  </a:lnTo>
                  <a:close/>
                </a:path>
              </a:pathLst>
            </a:custGeom>
            <a:grpFill/>
            <a:ln w="25400" cap="flat">
              <a:noFill/>
              <a:prstDash val="solid"/>
              <a:miter lim="400000"/>
            </a:ln>
            <a:effectLst/>
          </p:spPr>
          <p:txBody>
            <a:bodyPr anchor="ctr"/>
            <a:lstStyle/>
            <a:p>
              <a:pPr algn="ctr"/>
              <a:endParaRPr/>
            </a:p>
          </p:txBody>
        </p:sp>
        <p:sp>
          <p:nvSpPr>
            <p:cNvPr id="323" name="任意多边形: 形状 322">
              <a:extLst>
                <a:ext uri="{FF2B5EF4-FFF2-40B4-BE49-F238E27FC236}">
                  <a16:creationId xmlns:a16="http://schemas.microsoft.com/office/drawing/2014/main" id="{8F29D34D-782A-4B9B-BEF0-35B24F6DF919}"/>
                </a:ext>
              </a:extLst>
            </p:cNvPr>
            <p:cNvSpPr/>
            <p:nvPr/>
          </p:nvSpPr>
          <p:spPr>
            <a:xfrm>
              <a:off x="10955509" y="5355572"/>
              <a:ext cx="164775" cy="251094"/>
            </a:xfrm>
            <a:custGeom>
              <a:avLst/>
              <a:gdLst/>
              <a:ahLst/>
              <a:cxnLst>
                <a:cxn ang="0">
                  <a:pos x="wd2" y="hd2"/>
                </a:cxn>
                <a:cxn ang="5400000">
                  <a:pos x="wd2" y="hd2"/>
                </a:cxn>
                <a:cxn ang="10800000">
                  <a:pos x="wd2" y="hd2"/>
                </a:cxn>
                <a:cxn ang="16200000">
                  <a:pos x="wd2" y="hd2"/>
                </a:cxn>
              </a:cxnLst>
              <a:rect l="0" t="0" r="r" b="b"/>
              <a:pathLst>
                <a:path w="21600" h="21600" extrusionOk="0">
                  <a:moveTo>
                    <a:pt x="13019" y="321"/>
                  </a:moveTo>
                  <a:lnTo>
                    <a:pt x="11636" y="0"/>
                  </a:lnTo>
                  <a:lnTo>
                    <a:pt x="11352" y="2568"/>
                  </a:lnTo>
                  <a:lnTo>
                    <a:pt x="11383" y="3806"/>
                  </a:lnTo>
                  <a:lnTo>
                    <a:pt x="12079" y="5151"/>
                  </a:lnTo>
                  <a:lnTo>
                    <a:pt x="12375" y="6967"/>
                  </a:lnTo>
                  <a:cubicBezTo>
                    <a:pt x="12672" y="7601"/>
                    <a:pt x="12637" y="8281"/>
                    <a:pt x="12275" y="8900"/>
                  </a:cubicBezTo>
                  <a:cubicBezTo>
                    <a:pt x="12047" y="9291"/>
                    <a:pt x="11695" y="9645"/>
                    <a:pt x="11242" y="9941"/>
                  </a:cubicBezTo>
                  <a:lnTo>
                    <a:pt x="10432" y="11157"/>
                  </a:lnTo>
                  <a:lnTo>
                    <a:pt x="7384" y="11982"/>
                  </a:lnTo>
                  <a:lnTo>
                    <a:pt x="4025" y="12743"/>
                  </a:lnTo>
                  <a:lnTo>
                    <a:pt x="2560" y="14347"/>
                  </a:lnTo>
                  <a:lnTo>
                    <a:pt x="2552" y="16107"/>
                  </a:lnTo>
                  <a:lnTo>
                    <a:pt x="3355" y="17541"/>
                  </a:lnTo>
                  <a:lnTo>
                    <a:pt x="1955" y="19191"/>
                  </a:lnTo>
                  <a:lnTo>
                    <a:pt x="116" y="19974"/>
                  </a:lnTo>
                  <a:lnTo>
                    <a:pt x="0" y="20821"/>
                  </a:lnTo>
                  <a:lnTo>
                    <a:pt x="1421" y="21600"/>
                  </a:lnTo>
                  <a:lnTo>
                    <a:pt x="3317" y="20948"/>
                  </a:lnTo>
                  <a:lnTo>
                    <a:pt x="5646" y="19126"/>
                  </a:lnTo>
                  <a:cubicBezTo>
                    <a:pt x="6124" y="18808"/>
                    <a:pt x="6661" y="18530"/>
                    <a:pt x="7246" y="18301"/>
                  </a:cubicBezTo>
                  <a:cubicBezTo>
                    <a:pt x="7999" y="18006"/>
                    <a:pt x="8821" y="17793"/>
                    <a:pt x="9679" y="17671"/>
                  </a:cubicBezTo>
                  <a:cubicBezTo>
                    <a:pt x="10238" y="17511"/>
                    <a:pt x="10792" y="17345"/>
                    <a:pt x="11342" y="17174"/>
                  </a:cubicBezTo>
                  <a:cubicBezTo>
                    <a:pt x="12241" y="16894"/>
                    <a:pt x="13139" y="16593"/>
                    <a:pt x="13842" y="16131"/>
                  </a:cubicBezTo>
                  <a:cubicBezTo>
                    <a:pt x="14311" y="15823"/>
                    <a:pt x="14674" y="15454"/>
                    <a:pt x="14908" y="15048"/>
                  </a:cubicBezTo>
                  <a:cubicBezTo>
                    <a:pt x="15071" y="14768"/>
                    <a:pt x="15345" y="14521"/>
                    <a:pt x="15704" y="14334"/>
                  </a:cubicBezTo>
                  <a:cubicBezTo>
                    <a:pt x="16529" y="13904"/>
                    <a:pt x="17653" y="13847"/>
                    <a:pt x="18567" y="13508"/>
                  </a:cubicBezTo>
                  <a:cubicBezTo>
                    <a:pt x="19153" y="13291"/>
                    <a:pt x="19628" y="12966"/>
                    <a:pt x="19933" y="12574"/>
                  </a:cubicBezTo>
                  <a:lnTo>
                    <a:pt x="21100" y="11358"/>
                  </a:lnTo>
                  <a:lnTo>
                    <a:pt x="21600" y="10578"/>
                  </a:lnTo>
                  <a:lnTo>
                    <a:pt x="19804" y="10386"/>
                  </a:lnTo>
                  <a:lnTo>
                    <a:pt x="18624" y="10060"/>
                  </a:lnTo>
                  <a:lnTo>
                    <a:pt x="17125" y="9017"/>
                  </a:lnTo>
                  <a:lnTo>
                    <a:pt x="14529" y="7584"/>
                  </a:lnTo>
                  <a:cubicBezTo>
                    <a:pt x="14314" y="7294"/>
                    <a:pt x="14124" y="6997"/>
                    <a:pt x="13962" y="6693"/>
                  </a:cubicBezTo>
                  <a:cubicBezTo>
                    <a:pt x="13643" y="6095"/>
                    <a:pt x="13431" y="5476"/>
                    <a:pt x="13329" y="4847"/>
                  </a:cubicBezTo>
                  <a:lnTo>
                    <a:pt x="14325" y="3524"/>
                  </a:lnTo>
                  <a:lnTo>
                    <a:pt x="14325" y="1808"/>
                  </a:lnTo>
                  <a:lnTo>
                    <a:pt x="13019" y="321"/>
                  </a:lnTo>
                  <a:close/>
                </a:path>
              </a:pathLst>
            </a:custGeom>
            <a:grpFill/>
            <a:ln w="25400" cap="flat">
              <a:noFill/>
              <a:prstDash val="solid"/>
              <a:miter lim="400000"/>
            </a:ln>
            <a:effectLst/>
          </p:spPr>
          <p:txBody>
            <a:bodyPr anchor="ctr"/>
            <a:lstStyle/>
            <a:p>
              <a:pPr algn="ctr"/>
              <a:endParaRPr/>
            </a:p>
          </p:txBody>
        </p:sp>
        <p:sp>
          <p:nvSpPr>
            <p:cNvPr id="324" name="任意多边形: 形状 323">
              <a:extLst>
                <a:ext uri="{FF2B5EF4-FFF2-40B4-BE49-F238E27FC236}">
                  <a16:creationId xmlns:a16="http://schemas.microsoft.com/office/drawing/2014/main" id="{553521A5-7524-4D30-AD32-866DDE3ADFC8}"/>
                </a:ext>
              </a:extLst>
            </p:cNvPr>
            <p:cNvSpPr/>
            <p:nvPr/>
          </p:nvSpPr>
          <p:spPr>
            <a:xfrm>
              <a:off x="10967412" y="5132660"/>
              <a:ext cx="16360" cy="28333"/>
            </a:xfrm>
            <a:custGeom>
              <a:avLst/>
              <a:gdLst/>
              <a:ahLst/>
              <a:cxnLst>
                <a:cxn ang="0">
                  <a:pos x="wd2" y="hd2"/>
                </a:cxn>
                <a:cxn ang="5400000">
                  <a:pos x="wd2" y="hd2"/>
                </a:cxn>
                <a:cxn ang="10800000">
                  <a:pos x="wd2" y="hd2"/>
                </a:cxn>
                <a:cxn ang="16200000">
                  <a:pos x="wd2" y="hd2"/>
                </a:cxn>
              </a:cxnLst>
              <a:rect l="0" t="0" r="r" b="b"/>
              <a:pathLst>
                <a:path w="21600" h="21600" extrusionOk="0">
                  <a:moveTo>
                    <a:pt x="7518" y="240"/>
                  </a:moveTo>
                  <a:lnTo>
                    <a:pt x="21579" y="0"/>
                  </a:lnTo>
                  <a:lnTo>
                    <a:pt x="21600" y="11228"/>
                  </a:lnTo>
                  <a:lnTo>
                    <a:pt x="15549" y="21600"/>
                  </a:lnTo>
                  <a:lnTo>
                    <a:pt x="2290" y="19891"/>
                  </a:lnTo>
                  <a:lnTo>
                    <a:pt x="0" y="10674"/>
                  </a:lnTo>
                  <a:lnTo>
                    <a:pt x="7518" y="240"/>
                  </a:lnTo>
                  <a:close/>
                </a:path>
              </a:pathLst>
            </a:custGeom>
            <a:grpFill/>
            <a:ln w="25400" cap="flat">
              <a:noFill/>
              <a:prstDash val="solid"/>
              <a:miter lim="400000"/>
            </a:ln>
            <a:effectLst/>
          </p:spPr>
          <p:txBody>
            <a:bodyPr anchor="ctr"/>
            <a:lstStyle/>
            <a:p>
              <a:pPr algn="ctr"/>
              <a:endParaRPr/>
            </a:p>
          </p:txBody>
        </p:sp>
        <p:sp>
          <p:nvSpPr>
            <p:cNvPr id="325" name="任意多边形: 形状 324">
              <a:extLst>
                <a:ext uri="{FF2B5EF4-FFF2-40B4-BE49-F238E27FC236}">
                  <a16:creationId xmlns:a16="http://schemas.microsoft.com/office/drawing/2014/main" id="{1C70734C-971D-4E09-AA7E-256FAAF6D67C}"/>
                </a:ext>
              </a:extLst>
            </p:cNvPr>
            <p:cNvSpPr/>
            <p:nvPr/>
          </p:nvSpPr>
          <p:spPr>
            <a:xfrm>
              <a:off x="10931870" y="4777460"/>
              <a:ext cx="105002" cy="129954"/>
            </a:xfrm>
            <a:custGeom>
              <a:avLst/>
              <a:gdLst/>
              <a:ahLst/>
              <a:cxnLst>
                <a:cxn ang="0">
                  <a:pos x="wd2" y="hd2"/>
                </a:cxn>
                <a:cxn ang="5400000">
                  <a:pos x="wd2" y="hd2"/>
                </a:cxn>
                <a:cxn ang="10800000">
                  <a:pos x="wd2" y="hd2"/>
                </a:cxn>
                <a:cxn ang="16200000">
                  <a:pos x="wd2" y="hd2"/>
                </a:cxn>
              </a:cxnLst>
              <a:rect l="0" t="0" r="r" b="b"/>
              <a:pathLst>
                <a:path w="21600" h="21600" extrusionOk="0">
                  <a:moveTo>
                    <a:pt x="2266" y="0"/>
                  </a:moveTo>
                  <a:lnTo>
                    <a:pt x="5698" y="3526"/>
                  </a:lnTo>
                  <a:lnTo>
                    <a:pt x="8576" y="7970"/>
                  </a:lnTo>
                  <a:lnTo>
                    <a:pt x="9046" y="10950"/>
                  </a:lnTo>
                  <a:lnTo>
                    <a:pt x="12812" y="12581"/>
                  </a:lnTo>
                  <a:lnTo>
                    <a:pt x="16578" y="14974"/>
                  </a:lnTo>
                  <a:lnTo>
                    <a:pt x="21600" y="18247"/>
                  </a:lnTo>
                  <a:lnTo>
                    <a:pt x="21286" y="21600"/>
                  </a:lnTo>
                  <a:lnTo>
                    <a:pt x="18775" y="21264"/>
                  </a:lnTo>
                  <a:lnTo>
                    <a:pt x="14754" y="16779"/>
                  </a:lnTo>
                  <a:lnTo>
                    <a:pt x="12093" y="15393"/>
                  </a:lnTo>
                  <a:cubicBezTo>
                    <a:pt x="11092" y="15033"/>
                    <a:pt x="10116" y="14628"/>
                    <a:pt x="9170" y="14182"/>
                  </a:cubicBezTo>
                  <a:cubicBezTo>
                    <a:pt x="8123" y="13687"/>
                    <a:pt x="7114" y="13142"/>
                    <a:pt x="6149" y="12550"/>
                  </a:cubicBezTo>
                  <a:lnTo>
                    <a:pt x="5208" y="9024"/>
                  </a:lnTo>
                  <a:lnTo>
                    <a:pt x="3272" y="6968"/>
                  </a:lnTo>
                  <a:lnTo>
                    <a:pt x="467" y="3584"/>
                  </a:lnTo>
                  <a:lnTo>
                    <a:pt x="0" y="1873"/>
                  </a:lnTo>
                  <a:lnTo>
                    <a:pt x="2266" y="0"/>
                  </a:lnTo>
                  <a:close/>
                </a:path>
              </a:pathLst>
            </a:custGeom>
            <a:grpFill/>
            <a:ln w="25400" cap="flat">
              <a:noFill/>
              <a:prstDash val="solid"/>
              <a:miter lim="400000"/>
            </a:ln>
            <a:effectLst/>
          </p:spPr>
          <p:txBody>
            <a:bodyPr anchor="ctr"/>
            <a:lstStyle/>
            <a:p>
              <a:pPr algn="ctr"/>
              <a:endParaRPr/>
            </a:p>
          </p:txBody>
        </p:sp>
        <p:sp>
          <p:nvSpPr>
            <p:cNvPr id="326" name="任意多边形: 形状 325">
              <a:extLst>
                <a:ext uri="{FF2B5EF4-FFF2-40B4-BE49-F238E27FC236}">
                  <a16:creationId xmlns:a16="http://schemas.microsoft.com/office/drawing/2014/main" id="{82961BB6-DA0E-4821-8339-BC298562389D}"/>
                </a:ext>
              </a:extLst>
            </p:cNvPr>
            <p:cNvSpPr/>
            <p:nvPr/>
          </p:nvSpPr>
          <p:spPr>
            <a:xfrm>
              <a:off x="11078753" y="4636331"/>
              <a:ext cx="37595" cy="63302"/>
            </a:xfrm>
            <a:custGeom>
              <a:avLst/>
              <a:gdLst/>
              <a:ahLst/>
              <a:cxnLst>
                <a:cxn ang="0">
                  <a:pos x="wd2" y="hd2"/>
                </a:cxn>
                <a:cxn ang="5400000">
                  <a:pos x="wd2" y="hd2"/>
                </a:cxn>
                <a:cxn ang="10800000">
                  <a:pos x="wd2" y="hd2"/>
                </a:cxn>
                <a:cxn ang="16200000">
                  <a:pos x="wd2" y="hd2"/>
                </a:cxn>
              </a:cxnLst>
              <a:rect l="0" t="0" r="r" b="b"/>
              <a:pathLst>
                <a:path w="21600" h="21600" extrusionOk="0">
                  <a:moveTo>
                    <a:pt x="4384" y="0"/>
                  </a:moveTo>
                  <a:lnTo>
                    <a:pt x="0" y="6366"/>
                  </a:lnTo>
                  <a:lnTo>
                    <a:pt x="4998" y="11561"/>
                  </a:lnTo>
                  <a:lnTo>
                    <a:pt x="9054" y="12853"/>
                  </a:lnTo>
                  <a:lnTo>
                    <a:pt x="11974" y="16462"/>
                  </a:lnTo>
                  <a:lnTo>
                    <a:pt x="18532" y="21600"/>
                  </a:lnTo>
                  <a:lnTo>
                    <a:pt x="21600" y="18003"/>
                  </a:lnTo>
                  <a:lnTo>
                    <a:pt x="19408" y="13360"/>
                  </a:lnTo>
                  <a:lnTo>
                    <a:pt x="14184" y="10517"/>
                  </a:lnTo>
                  <a:lnTo>
                    <a:pt x="9965" y="6822"/>
                  </a:lnTo>
                  <a:lnTo>
                    <a:pt x="9528" y="3503"/>
                  </a:lnTo>
                  <a:lnTo>
                    <a:pt x="4384" y="0"/>
                  </a:lnTo>
                  <a:close/>
                </a:path>
              </a:pathLst>
            </a:custGeom>
            <a:grpFill/>
            <a:ln w="25400" cap="flat">
              <a:noFill/>
              <a:prstDash val="solid"/>
              <a:miter lim="400000"/>
            </a:ln>
            <a:effectLst/>
          </p:spPr>
          <p:txBody>
            <a:bodyPr anchor="ctr"/>
            <a:lstStyle/>
            <a:p>
              <a:pPr algn="ctr"/>
              <a:endParaRPr/>
            </a:p>
          </p:txBody>
        </p:sp>
        <p:sp>
          <p:nvSpPr>
            <p:cNvPr id="327" name="任意多边形: 形状 326">
              <a:extLst>
                <a:ext uri="{FF2B5EF4-FFF2-40B4-BE49-F238E27FC236}">
                  <a16:creationId xmlns:a16="http://schemas.microsoft.com/office/drawing/2014/main" id="{6E5290EF-8AE3-4EB0-AD4A-103E39F5F16E}"/>
                </a:ext>
              </a:extLst>
            </p:cNvPr>
            <p:cNvSpPr/>
            <p:nvPr/>
          </p:nvSpPr>
          <p:spPr>
            <a:xfrm>
              <a:off x="10694096" y="4283499"/>
              <a:ext cx="45740" cy="64407"/>
            </a:xfrm>
            <a:custGeom>
              <a:avLst/>
              <a:gdLst/>
              <a:ahLst/>
              <a:cxnLst>
                <a:cxn ang="0">
                  <a:pos x="wd2" y="hd2"/>
                </a:cxn>
                <a:cxn ang="5400000">
                  <a:pos x="wd2" y="hd2"/>
                </a:cxn>
                <a:cxn ang="10800000">
                  <a:pos x="wd2" y="hd2"/>
                </a:cxn>
                <a:cxn ang="16200000">
                  <a:pos x="wd2" y="hd2"/>
                </a:cxn>
              </a:cxnLst>
              <a:rect l="0" t="0" r="r" b="b"/>
              <a:pathLst>
                <a:path w="21600" h="21600" extrusionOk="0">
                  <a:moveTo>
                    <a:pt x="4335" y="0"/>
                  </a:moveTo>
                  <a:lnTo>
                    <a:pt x="8612" y="423"/>
                  </a:lnTo>
                  <a:lnTo>
                    <a:pt x="9548" y="10168"/>
                  </a:lnTo>
                  <a:lnTo>
                    <a:pt x="15069" y="14477"/>
                  </a:lnTo>
                  <a:lnTo>
                    <a:pt x="21600" y="16858"/>
                  </a:lnTo>
                  <a:lnTo>
                    <a:pt x="19199" y="21600"/>
                  </a:lnTo>
                  <a:lnTo>
                    <a:pt x="11398" y="20763"/>
                  </a:lnTo>
                  <a:lnTo>
                    <a:pt x="5755" y="17207"/>
                  </a:lnTo>
                  <a:lnTo>
                    <a:pt x="9" y="12157"/>
                  </a:lnTo>
                  <a:lnTo>
                    <a:pt x="0" y="6578"/>
                  </a:lnTo>
                  <a:lnTo>
                    <a:pt x="4335" y="0"/>
                  </a:lnTo>
                  <a:close/>
                </a:path>
              </a:pathLst>
            </a:custGeom>
            <a:grpFill/>
            <a:ln w="25400" cap="flat">
              <a:noFill/>
              <a:prstDash val="solid"/>
              <a:miter lim="400000"/>
            </a:ln>
            <a:effectLst/>
          </p:spPr>
          <p:txBody>
            <a:bodyPr anchor="ctr"/>
            <a:lstStyle/>
            <a:p>
              <a:pPr algn="ctr"/>
              <a:endParaRPr/>
            </a:p>
          </p:txBody>
        </p:sp>
        <p:sp>
          <p:nvSpPr>
            <p:cNvPr id="328" name="任意多边形: 形状 327">
              <a:extLst>
                <a:ext uri="{FF2B5EF4-FFF2-40B4-BE49-F238E27FC236}">
                  <a16:creationId xmlns:a16="http://schemas.microsoft.com/office/drawing/2014/main" id="{B1CF3C70-5789-49EB-9311-7860BDB9E702}"/>
                </a:ext>
              </a:extLst>
            </p:cNvPr>
            <p:cNvSpPr/>
            <p:nvPr/>
          </p:nvSpPr>
          <p:spPr>
            <a:xfrm>
              <a:off x="10754669" y="4332994"/>
              <a:ext cx="45601" cy="39490"/>
            </a:xfrm>
            <a:custGeom>
              <a:avLst/>
              <a:gdLst/>
              <a:ahLst/>
              <a:cxnLst>
                <a:cxn ang="0">
                  <a:pos x="wd2" y="hd2"/>
                </a:cxn>
                <a:cxn ang="5400000">
                  <a:pos x="wd2" y="hd2"/>
                </a:cxn>
                <a:cxn ang="10800000">
                  <a:pos x="wd2" y="hd2"/>
                </a:cxn>
                <a:cxn ang="16200000">
                  <a:pos x="wd2" y="hd2"/>
                </a:cxn>
              </a:cxnLst>
              <a:rect l="0" t="0" r="r" b="b"/>
              <a:pathLst>
                <a:path w="21600" h="21600" extrusionOk="0">
                  <a:moveTo>
                    <a:pt x="7085" y="0"/>
                  </a:moveTo>
                  <a:lnTo>
                    <a:pt x="17293" y="9046"/>
                  </a:lnTo>
                  <a:lnTo>
                    <a:pt x="21600" y="14848"/>
                  </a:lnTo>
                  <a:lnTo>
                    <a:pt x="21013" y="21600"/>
                  </a:lnTo>
                  <a:lnTo>
                    <a:pt x="12837" y="18854"/>
                  </a:lnTo>
                  <a:lnTo>
                    <a:pt x="5986" y="12225"/>
                  </a:lnTo>
                  <a:lnTo>
                    <a:pt x="0" y="7390"/>
                  </a:lnTo>
                  <a:lnTo>
                    <a:pt x="7085" y="0"/>
                  </a:lnTo>
                  <a:close/>
                </a:path>
              </a:pathLst>
            </a:custGeom>
            <a:grpFill/>
            <a:ln w="25400" cap="flat">
              <a:noFill/>
              <a:prstDash val="solid"/>
              <a:miter lim="400000"/>
            </a:ln>
            <a:effectLst/>
          </p:spPr>
          <p:txBody>
            <a:bodyPr anchor="ctr"/>
            <a:lstStyle/>
            <a:p>
              <a:pPr algn="ctr"/>
              <a:endParaRPr/>
            </a:p>
          </p:txBody>
        </p:sp>
        <p:sp>
          <p:nvSpPr>
            <p:cNvPr id="329" name="任意多边形: 形状 328">
              <a:extLst>
                <a:ext uri="{FF2B5EF4-FFF2-40B4-BE49-F238E27FC236}">
                  <a16:creationId xmlns:a16="http://schemas.microsoft.com/office/drawing/2014/main" id="{4993E544-337B-40D1-8338-D28EB6E4C7CD}"/>
                </a:ext>
              </a:extLst>
            </p:cNvPr>
            <p:cNvSpPr/>
            <p:nvPr/>
          </p:nvSpPr>
          <p:spPr>
            <a:xfrm>
              <a:off x="10773772" y="4386273"/>
              <a:ext cx="37288" cy="38949"/>
            </a:xfrm>
            <a:custGeom>
              <a:avLst/>
              <a:gdLst/>
              <a:ahLst/>
              <a:cxnLst>
                <a:cxn ang="0">
                  <a:pos x="wd2" y="hd2"/>
                </a:cxn>
                <a:cxn ang="5400000">
                  <a:pos x="wd2" y="hd2"/>
                </a:cxn>
                <a:cxn ang="10800000">
                  <a:pos x="wd2" y="hd2"/>
                </a:cxn>
                <a:cxn ang="16200000">
                  <a:pos x="wd2" y="hd2"/>
                </a:cxn>
              </a:cxnLst>
              <a:rect l="0" t="0" r="r" b="b"/>
              <a:pathLst>
                <a:path w="21600" h="21600" extrusionOk="0">
                  <a:moveTo>
                    <a:pt x="6399" y="0"/>
                  </a:moveTo>
                  <a:lnTo>
                    <a:pt x="12290" y="1855"/>
                  </a:lnTo>
                  <a:lnTo>
                    <a:pt x="12799" y="9871"/>
                  </a:lnTo>
                  <a:lnTo>
                    <a:pt x="15725" y="15036"/>
                  </a:lnTo>
                  <a:lnTo>
                    <a:pt x="21600" y="16577"/>
                  </a:lnTo>
                  <a:lnTo>
                    <a:pt x="18230" y="21600"/>
                  </a:lnTo>
                  <a:lnTo>
                    <a:pt x="12781" y="19919"/>
                  </a:lnTo>
                  <a:cubicBezTo>
                    <a:pt x="10763" y="19240"/>
                    <a:pt x="9023" y="17972"/>
                    <a:pt x="7808" y="16297"/>
                  </a:cubicBezTo>
                  <a:cubicBezTo>
                    <a:pt x="6475" y="14458"/>
                    <a:pt x="5850" y="12237"/>
                    <a:pt x="6040" y="10011"/>
                  </a:cubicBezTo>
                  <a:lnTo>
                    <a:pt x="0" y="5671"/>
                  </a:lnTo>
                  <a:lnTo>
                    <a:pt x="6399" y="0"/>
                  </a:lnTo>
                  <a:close/>
                </a:path>
              </a:pathLst>
            </a:custGeom>
            <a:grpFill/>
            <a:ln w="25400" cap="flat">
              <a:noFill/>
              <a:prstDash val="solid"/>
              <a:miter lim="400000"/>
            </a:ln>
            <a:effectLst/>
          </p:spPr>
          <p:txBody>
            <a:bodyPr anchor="ctr"/>
            <a:lstStyle/>
            <a:p>
              <a:pPr algn="ctr"/>
              <a:endParaRPr/>
            </a:p>
          </p:txBody>
        </p:sp>
        <p:sp>
          <p:nvSpPr>
            <p:cNvPr id="330" name="任意多边形: 形状 329">
              <a:extLst>
                <a:ext uri="{FF2B5EF4-FFF2-40B4-BE49-F238E27FC236}">
                  <a16:creationId xmlns:a16="http://schemas.microsoft.com/office/drawing/2014/main" id="{8DE065FE-6553-43AB-ADB5-AFDF472BAA74}"/>
                </a:ext>
              </a:extLst>
            </p:cNvPr>
            <p:cNvSpPr/>
            <p:nvPr/>
          </p:nvSpPr>
          <p:spPr>
            <a:xfrm>
              <a:off x="10819989" y="4368723"/>
              <a:ext cx="46739" cy="42114"/>
            </a:xfrm>
            <a:custGeom>
              <a:avLst/>
              <a:gdLst/>
              <a:ahLst/>
              <a:cxnLst>
                <a:cxn ang="0">
                  <a:pos x="wd2" y="hd2"/>
                </a:cxn>
                <a:cxn ang="5400000">
                  <a:pos x="wd2" y="hd2"/>
                </a:cxn>
                <a:cxn ang="10800000">
                  <a:pos x="wd2" y="hd2"/>
                </a:cxn>
                <a:cxn ang="16200000">
                  <a:pos x="wd2" y="hd2"/>
                </a:cxn>
              </a:cxnLst>
              <a:rect l="0" t="0" r="r" b="b"/>
              <a:pathLst>
                <a:path w="21600" h="21600" extrusionOk="0">
                  <a:moveTo>
                    <a:pt x="4105" y="0"/>
                  </a:moveTo>
                  <a:lnTo>
                    <a:pt x="8950" y="5326"/>
                  </a:lnTo>
                  <a:lnTo>
                    <a:pt x="16429" y="10105"/>
                  </a:lnTo>
                  <a:lnTo>
                    <a:pt x="21247" y="15787"/>
                  </a:lnTo>
                  <a:lnTo>
                    <a:pt x="21600" y="21227"/>
                  </a:lnTo>
                  <a:lnTo>
                    <a:pt x="14814" y="21600"/>
                  </a:lnTo>
                  <a:lnTo>
                    <a:pt x="10715" y="19268"/>
                  </a:lnTo>
                  <a:lnTo>
                    <a:pt x="6249" y="13959"/>
                  </a:lnTo>
                  <a:lnTo>
                    <a:pt x="3576" y="9700"/>
                  </a:lnTo>
                  <a:lnTo>
                    <a:pt x="25" y="6121"/>
                  </a:lnTo>
                  <a:lnTo>
                    <a:pt x="0" y="1589"/>
                  </a:lnTo>
                  <a:lnTo>
                    <a:pt x="4105" y="0"/>
                  </a:lnTo>
                  <a:close/>
                </a:path>
              </a:pathLst>
            </a:custGeom>
            <a:grpFill/>
            <a:ln w="25400" cap="flat">
              <a:noFill/>
              <a:prstDash val="solid"/>
              <a:miter lim="400000"/>
            </a:ln>
            <a:effectLst/>
          </p:spPr>
          <p:txBody>
            <a:bodyPr anchor="ctr"/>
            <a:lstStyle/>
            <a:p>
              <a:pPr algn="ctr"/>
              <a:endParaRPr/>
            </a:p>
          </p:txBody>
        </p:sp>
        <p:sp>
          <p:nvSpPr>
            <p:cNvPr id="331" name="任意多边形: 形状 330">
              <a:extLst>
                <a:ext uri="{FF2B5EF4-FFF2-40B4-BE49-F238E27FC236}">
                  <a16:creationId xmlns:a16="http://schemas.microsoft.com/office/drawing/2014/main" id="{CFDA0D07-D450-47EF-9575-4234B97C33A4}"/>
                </a:ext>
              </a:extLst>
            </p:cNvPr>
            <p:cNvSpPr/>
            <p:nvPr/>
          </p:nvSpPr>
          <p:spPr>
            <a:xfrm>
              <a:off x="10844148" y="4433313"/>
              <a:ext cx="37473" cy="23925"/>
            </a:xfrm>
            <a:custGeom>
              <a:avLst/>
              <a:gdLst/>
              <a:ahLst/>
              <a:cxnLst>
                <a:cxn ang="0">
                  <a:pos x="wd2" y="hd2"/>
                </a:cxn>
                <a:cxn ang="5400000">
                  <a:pos x="wd2" y="hd2"/>
                </a:cxn>
                <a:cxn ang="10800000">
                  <a:pos x="wd2" y="hd2"/>
                </a:cxn>
                <a:cxn ang="16200000">
                  <a:pos x="wd2" y="hd2"/>
                </a:cxn>
              </a:cxnLst>
              <a:rect l="0" t="0" r="r" b="b"/>
              <a:pathLst>
                <a:path w="21600" h="21600" extrusionOk="0">
                  <a:moveTo>
                    <a:pt x="8649" y="530"/>
                  </a:moveTo>
                  <a:lnTo>
                    <a:pt x="13099" y="8995"/>
                  </a:lnTo>
                  <a:lnTo>
                    <a:pt x="21600" y="8519"/>
                  </a:lnTo>
                  <a:lnTo>
                    <a:pt x="21600" y="17555"/>
                  </a:lnTo>
                  <a:lnTo>
                    <a:pt x="15901" y="21600"/>
                  </a:lnTo>
                  <a:lnTo>
                    <a:pt x="8481" y="18211"/>
                  </a:lnTo>
                  <a:lnTo>
                    <a:pt x="1799" y="7978"/>
                  </a:lnTo>
                  <a:lnTo>
                    <a:pt x="0" y="0"/>
                  </a:lnTo>
                  <a:lnTo>
                    <a:pt x="8649" y="530"/>
                  </a:lnTo>
                  <a:close/>
                </a:path>
              </a:pathLst>
            </a:custGeom>
            <a:grpFill/>
            <a:ln w="25400" cap="flat">
              <a:noFill/>
              <a:prstDash val="solid"/>
              <a:miter lim="400000"/>
            </a:ln>
            <a:effectLst/>
          </p:spPr>
          <p:txBody>
            <a:bodyPr anchor="ctr"/>
            <a:lstStyle/>
            <a:p>
              <a:pPr algn="ctr"/>
              <a:endParaRPr/>
            </a:p>
          </p:txBody>
        </p:sp>
        <p:sp>
          <p:nvSpPr>
            <p:cNvPr id="332" name="任意多边形: 形状 331">
              <a:extLst>
                <a:ext uri="{FF2B5EF4-FFF2-40B4-BE49-F238E27FC236}">
                  <a16:creationId xmlns:a16="http://schemas.microsoft.com/office/drawing/2014/main" id="{5F254BDB-F287-4D3F-8E11-DF88424EAFE6}"/>
                </a:ext>
              </a:extLst>
            </p:cNvPr>
            <p:cNvSpPr/>
            <p:nvPr/>
          </p:nvSpPr>
          <p:spPr>
            <a:xfrm>
              <a:off x="10888902" y="4398838"/>
              <a:ext cx="27449" cy="54123"/>
            </a:xfrm>
            <a:custGeom>
              <a:avLst/>
              <a:gdLst/>
              <a:ahLst/>
              <a:cxnLst>
                <a:cxn ang="0">
                  <a:pos x="wd2" y="hd2"/>
                </a:cxn>
                <a:cxn ang="5400000">
                  <a:pos x="wd2" y="hd2"/>
                </a:cxn>
                <a:cxn ang="10800000">
                  <a:pos x="wd2" y="hd2"/>
                </a:cxn>
                <a:cxn ang="16200000">
                  <a:pos x="wd2" y="hd2"/>
                </a:cxn>
              </a:cxnLst>
              <a:rect l="0" t="0" r="r" b="b"/>
              <a:pathLst>
                <a:path w="21600" h="21600" extrusionOk="0">
                  <a:moveTo>
                    <a:pt x="4203" y="0"/>
                  </a:moveTo>
                  <a:lnTo>
                    <a:pt x="0" y="4749"/>
                  </a:lnTo>
                  <a:lnTo>
                    <a:pt x="263" y="12857"/>
                  </a:lnTo>
                  <a:lnTo>
                    <a:pt x="8018" y="13953"/>
                  </a:lnTo>
                  <a:lnTo>
                    <a:pt x="8018" y="17984"/>
                  </a:lnTo>
                  <a:lnTo>
                    <a:pt x="13422" y="21600"/>
                  </a:lnTo>
                  <a:lnTo>
                    <a:pt x="21600" y="17064"/>
                  </a:lnTo>
                  <a:lnTo>
                    <a:pt x="14422" y="12038"/>
                  </a:lnTo>
                  <a:lnTo>
                    <a:pt x="7443" y="8221"/>
                  </a:lnTo>
                  <a:lnTo>
                    <a:pt x="4203" y="0"/>
                  </a:lnTo>
                  <a:close/>
                </a:path>
              </a:pathLst>
            </a:custGeom>
            <a:grpFill/>
            <a:ln w="25400" cap="flat">
              <a:noFill/>
              <a:prstDash val="solid"/>
              <a:miter lim="400000"/>
            </a:ln>
            <a:effectLst/>
          </p:spPr>
          <p:txBody>
            <a:bodyPr anchor="ctr"/>
            <a:lstStyle/>
            <a:p>
              <a:pPr algn="ctr"/>
              <a:endParaRPr/>
            </a:p>
          </p:txBody>
        </p:sp>
        <p:sp>
          <p:nvSpPr>
            <p:cNvPr id="333" name="任意多边形: 形状 332">
              <a:extLst>
                <a:ext uri="{FF2B5EF4-FFF2-40B4-BE49-F238E27FC236}">
                  <a16:creationId xmlns:a16="http://schemas.microsoft.com/office/drawing/2014/main" id="{D943AC35-AE7E-4935-A57A-73439BD9FF8C}"/>
                </a:ext>
              </a:extLst>
            </p:cNvPr>
            <p:cNvSpPr/>
            <p:nvPr/>
          </p:nvSpPr>
          <p:spPr>
            <a:xfrm>
              <a:off x="10903842" y="4471308"/>
              <a:ext cx="24415" cy="210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703" y="9868"/>
                  </a:lnTo>
                  <a:lnTo>
                    <a:pt x="12853" y="21600"/>
                  </a:lnTo>
                  <a:lnTo>
                    <a:pt x="21600" y="16680"/>
                  </a:lnTo>
                  <a:lnTo>
                    <a:pt x="12403" y="144"/>
                  </a:lnTo>
                  <a:lnTo>
                    <a:pt x="0" y="0"/>
                  </a:lnTo>
                  <a:close/>
                </a:path>
              </a:pathLst>
            </a:custGeom>
            <a:grpFill/>
            <a:ln w="25400" cap="flat">
              <a:noFill/>
              <a:prstDash val="solid"/>
              <a:miter lim="400000"/>
            </a:ln>
            <a:effectLst/>
          </p:spPr>
          <p:txBody>
            <a:bodyPr anchor="ctr"/>
            <a:lstStyle/>
            <a:p>
              <a:pPr algn="ctr"/>
              <a:endParaRPr/>
            </a:p>
          </p:txBody>
        </p:sp>
        <p:sp>
          <p:nvSpPr>
            <p:cNvPr id="334" name="任意多边形: 形状 333">
              <a:extLst>
                <a:ext uri="{FF2B5EF4-FFF2-40B4-BE49-F238E27FC236}">
                  <a16:creationId xmlns:a16="http://schemas.microsoft.com/office/drawing/2014/main" id="{6F79FCB2-E339-4104-8CD2-85CD59CB02C8}"/>
                </a:ext>
              </a:extLst>
            </p:cNvPr>
            <p:cNvSpPr/>
            <p:nvPr/>
          </p:nvSpPr>
          <p:spPr>
            <a:xfrm>
              <a:off x="10588123" y="4181404"/>
              <a:ext cx="87031" cy="76197"/>
            </a:xfrm>
            <a:custGeom>
              <a:avLst/>
              <a:gdLst/>
              <a:ahLst/>
              <a:cxnLst>
                <a:cxn ang="0">
                  <a:pos x="wd2" y="hd2"/>
                </a:cxn>
                <a:cxn ang="5400000">
                  <a:pos x="wd2" y="hd2"/>
                </a:cxn>
                <a:cxn ang="10800000">
                  <a:pos x="wd2" y="hd2"/>
                </a:cxn>
                <a:cxn ang="16200000">
                  <a:pos x="wd2" y="hd2"/>
                </a:cxn>
              </a:cxnLst>
              <a:rect l="0" t="0" r="r" b="b"/>
              <a:pathLst>
                <a:path w="21600" h="21600" extrusionOk="0">
                  <a:moveTo>
                    <a:pt x="560" y="0"/>
                  </a:moveTo>
                  <a:lnTo>
                    <a:pt x="0" y="2479"/>
                  </a:lnTo>
                  <a:lnTo>
                    <a:pt x="4688" y="4518"/>
                  </a:lnTo>
                  <a:lnTo>
                    <a:pt x="9042" y="7739"/>
                  </a:lnTo>
                  <a:lnTo>
                    <a:pt x="12639" y="11175"/>
                  </a:lnTo>
                  <a:lnTo>
                    <a:pt x="16173" y="15327"/>
                  </a:lnTo>
                  <a:lnTo>
                    <a:pt x="17687" y="21385"/>
                  </a:lnTo>
                  <a:lnTo>
                    <a:pt x="21600" y="21600"/>
                  </a:lnTo>
                  <a:lnTo>
                    <a:pt x="19336" y="12589"/>
                  </a:lnTo>
                  <a:lnTo>
                    <a:pt x="12733" y="8079"/>
                  </a:lnTo>
                  <a:lnTo>
                    <a:pt x="7069" y="2791"/>
                  </a:lnTo>
                  <a:lnTo>
                    <a:pt x="3732" y="804"/>
                  </a:lnTo>
                  <a:lnTo>
                    <a:pt x="560" y="0"/>
                  </a:lnTo>
                  <a:close/>
                </a:path>
              </a:pathLst>
            </a:custGeom>
            <a:grpFill/>
            <a:ln w="25400" cap="flat">
              <a:noFill/>
              <a:prstDash val="solid"/>
              <a:miter lim="400000"/>
            </a:ln>
            <a:effectLst/>
          </p:spPr>
          <p:txBody>
            <a:bodyPr anchor="ctr"/>
            <a:lstStyle/>
            <a:p>
              <a:pPr algn="ctr"/>
              <a:endParaRPr/>
            </a:p>
          </p:txBody>
        </p:sp>
        <p:sp>
          <p:nvSpPr>
            <p:cNvPr id="335" name="任意多边形: 形状 334">
              <a:extLst>
                <a:ext uri="{FF2B5EF4-FFF2-40B4-BE49-F238E27FC236}">
                  <a16:creationId xmlns:a16="http://schemas.microsoft.com/office/drawing/2014/main" id="{A4205D2A-3564-4547-A8D5-E6AAB470627B}"/>
                </a:ext>
              </a:extLst>
            </p:cNvPr>
            <p:cNvSpPr/>
            <p:nvPr/>
          </p:nvSpPr>
          <p:spPr>
            <a:xfrm>
              <a:off x="10528896" y="4237475"/>
              <a:ext cx="115414" cy="92661"/>
            </a:xfrm>
            <a:custGeom>
              <a:avLst/>
              <a:gdLst/>
              <a:ahLst/>
              <a:cxnLst>
                <a:cxn ang="0">
                  <a:pos x="wd2" y="hd2"/>
                </a:cxn>
                <a:cxn ang="5400000">
                  <a:pos x="wd2" y="hd2"/>
                </a:cxn>
                <a:cxn ang="10800000">
                  <a:pos x="wd2" y="hd2"/>
                </a:cxn>
                <a:cxn ang="16200000">
                  <a:pos x="wd2" y="hd2"/>
                </a:cxn>
              </a:cxnLst>
              <a:rect l="0" t="0" r="r" b="b"/>
              <a:pathLst>
                <a:path w="21600" h="21600" extrusionOk="0">
                  <a:moveTo>
                    <a:pt x="18234" y="5118"/>
                  </a:moveTo>
                  <a:lnTo>
                    <a:pt x="15276" y="8929"/>
                  </a:lnTo>
                  <a:lnTo>
                    <a:pt x="12042" y="12689"/>
                  </a:lnTo>
                  <a:lnTo>
                    <a:pt x="9529" y="13918"/>
                  </a:lnTo>
                  <a:lnTo>
                    <a:pt x="6129" y="13388"/>
                  </a:lnTo>
                  <a:lnTo>
                    <a:pt x="4458" y="14970"/>
                  </a:lnTo>
                  <a:lnTo>
                    <a:pt x="2410" y="14970"/>
                  </a:lnTo>
                  <a:lnTo>
                    <a:pt x="0" y="15500"/>
                  </a:lnTo>
                  <a:lnTo>
                    <a:pt x="1862" y="17604"/>
                  </a:lnTo>
                  <a:lnTo>
                    <a:pt x="4420" y="17781"/>
                  </a:lnTo>
                  <a:lnTo>
                    <a:pt x="6466" y="21431"/>
                  </a:lnTo>
                  <a:lnTo>
                    <a:pt x="8263" y="21600"/>
                  </a:lnTo>
                  <a:lnTo>
                    <a:pt x="9828" y="19488"/>
                  </a:lnTo>
                  <a:lnTo>
                    <a:pt x="11671" y="17906"/>
                  </a:lnTo>
                  <a:lnTo>
                    <a:pt x="15657" y="16508"/>
                  </a:lnTo>
                  <a:lnTo>
                    <a:pt x="18364" y="13167"/>
                  </a:lnTo>
                  <a:lnTo>
                    <a:pt x="19934" y="9988"/>
                  </a:lnTo>
                  <a:lnTo>
                    <a:pt x="21457" y="7288"/>
                  </a:lnTo>
                  <a:lnTo>
                    <a:pt x="21600" y="3285"/>
                  </a:lnTo>
                  <a:lnTo>
                    <a:pt x="19702" y="0"/>
                  </a:lnTo>
                  <a:lnTo>
                    <a:pt x="19131" y="2158"/>
                  </a:lnTo>
                  <a:lnTo>
                    <a:pt x="18234" y="5118"/>
                  </a:lnTo>
                  <a:close/>
                </a:path>
              </a:pathLst>
            </a:custGeom>
            <a:grpFill/>
            <a:ln w="25400" cap="flat">
              <a:noFill/>
              <a:prstDash val="solid"/>
              <a:miter lim="400000"/>
            </a:ln>
            <a:effectLst/>
          </p:spPr>
          <p:txBody>
            <a:bodyPr anchor="ctr"/>
            <a:lstStyle/>
            <a:p>
              <a:pPr algn="ctr"/>
              <a:endParaRPr/>
            </a:p>
          </p:txBody>
        </p:sp>
        <p:sp>
          <p:nvSpPr>
            <p:cNvPr id="336" name="任意多边形: 形状 335">
              <a:extLst>
                <a:ext uri="{FF2B5EF4-FFF2-40B4-BE49-F238E27FC236}">
                  <a16:creationId xmlns:a16="http://schemas.microsoft.com/office/drawing/2014/main" id="{9C828014-65F3-4DCD-BD98-00D835CA42F3}"/>
                </a:ext>
              </a:extLst>
            </p:cNvPr>
            <p:cNvSpPr/>
            <p:nvPr/>
          </p:nvSpPr>
          <p:spPr>
            <a:xfrm>
              <a:off x="9937920" y="4105530"/>
              <a:ext cx="657773" cy="388722"/>
            </a:xfrm>
            <a:custGeom>
              <a:avLst/>
              <a:gdLst/>
              <a:ahLst/>
              <a:cxnLst>
                <a:cxn ang="0">
                  <a:pos x="wd2" y="hd2"/>
                </a:cxn>
                <a:cxn ang="5400000">
                  <a:pos x="wd2" y="hd2"/>
                </a:cxn>
                <a:cxn ang="10800000">
                  <a:pos x="wd2" y="hd2"/>
                </a:cxn>
                <a:cxn ang="16200000">
                  <a:pos x="wd2" y="hd2"/>
                </a:cxn>
              </a:cxnLst>
              <a:rect l="0" t="0" r="r" b="b"/>
              <a:pathLst>
                <a:path w="21600" h="21600" extrusionOk="0">
                  <a:moveTo>
                    <a:pt x="339" y="1069"/>
                  </a:moveTo>
                  <a:lnTo>
                    <a:pt x="1040" y="903"/>
                  </a:lnTo>
                  <a:lnTo>
                    <a:pt x="1266" y="12"/>
                  </a:lnTo>
                  <a:lnTo>
                    <a:pt x="2016" y="0"/>
                  </a:lnTo>
                  <a:lnTo>
                    <a:pt x="2684" y="12"/>
                  </a:lnTo>
                  <a:lnTo>
                    <a:pt x="2808" y="1131"/>
                  </a:lnTo>
                  <a:lnTo>
                    <a:pt x="3150" y="1972"/>
                  </a:lnTo>
                  <a:lnTo>
                    <a:pt x="3342" y="2473"/>
                  </a:lnTo>
                  <a:lnTo>
                    <a:pt x="3192" y="3510"/>
                  </a:lnTo>
                  <a:lnTo>
                    <a:pt x="3218" y="4141"/>
                  </a:lnTo>
                  <a:lnTo>
                    <a:pt x="3692" y="4939"/>
                  </a:lnTo>
                  <a:lnTo>
                    <a:pt x="4067" y="5627"/>
                  </a:lnTo>
                  <a:lnTo>
                    <a:pt x="4526" y="6342"/>
                  </a:lnTo>
                  <a:cubicBezTo>
                    <a:pt x="4633" y="6179"/>
                    <a:pt x="4728" y="5996"/>
                    <a:pt x="4809" y="5795"/>
                  </a:cubicBezTo>
                  <a:cubicBezTo>
                    <a:pt x="4941" y="5469"/>
                    <a:pt x="5034" y="5102"/>
                    <a:pt x="5083" y="4716"/>
                  </a:cubicBezTo>
                  <a:lnTo>
                    <a:pt x="5451" y="4478"/>
                  </a:lnTo>
                  <a:lnTo>
                    <a:pt x="6119" y="3931"/>
                  </a:lnTo>
                  <a:lnTo>
                    <a:pt x="6668" y="3385"/>
                  </a:lnTo>
                  <a:lnTo>
                    <a:pt x="7068" y="2838"/>
                  </a:lnTo>
                  <a:lnTo>
                    <a:pt x="7444" y="2122"/>
                  </a:lnTo>
                  <a:lnTo>
                    <a:pt x="8137" y="2122"/>
                  </a:lnTo>
                  <a:cubicBezTo>
                    <a:pt x="8213" y="2262"/>
                    <a:pt x="8288" y="2402"/>
                    <a:pt x="8362" y="2543"/>
                  </a:cubicBezTo>
                  <a:cubicBezTo>
                    <a:pt x="8481" y="2766"/>
                    <a:pt x="8597" y="2991"/>
                    <a:pt x="8713" y="3217"/>
                  </a:cubicBezTo>
                  <a:lnTo>
                    <a:pt x="9356" y="3708"/>
                  </a:lnTo>
                  <a:lnTo>
                    <a:pt x="10017" y="3953"/>
                  </a:lnTo>
                  <a:lnTo>
                    <a:pt x="10667" y="4583"/>
                  </a:lnTo>
                  <a:lnTo>
                    <a:pt x="11719" y="5004"/>
                  </a:lnTo>
                  <a:lnTo>
                    <a:pt x="12420" y="5579"/>
                  </a:lnTo>
                  <a:lnTo>
                    <a:pt x="13814" y="6239"/>
                  </a:lnTo>
                  <a:lnTo>
                    <a:pt x="14716" y="7388"/>
                  </a:lnTo>
                  <a:lnTo>
                    <a:pt x="15776" y="8749"/>
                  </a:lnTo>
                  <a:lnTo>
                    <a:pt x="16728" y="9464"/>
                  </a:lnTo>
                  <a:lnTo>
                    <a:pt x="17354" y="9911"/>
                  </a:lnTo>
                  <a:lnTo>
                    <a:pt x="17855" y="11325"/>
                  </a:lnTo>
                  <a:lnTo>
                    <a:pt x="18106" y="12349"/>
                  </a:lnTo>
                  <a:lnTo>
                    <a:pt x="17539" y="12799"/>
                  </a:lnTo>
                  <a:lnTo>
                    <a:pt x="17349" y="13484"/>
                  </a:lnTo>
                  <a:lnTo>
                    <a:pt x="17608" y="14382"/>
                  </a:lnTo>
                  <a:lnTo>
                    <a:pt x="18326" y="15070"/>
                  </a:lnTo>
                  <a:lnTo>
                    <a:pt x="18350" y="15982"/>
                  </a:lnTo>
                  <a:lnTo>
                    <a:pt x="18350" y="16933"/>
                  </a:lnTo>
                  <a:lnTo>
                    <a:pt x="18733" y="17701"/>
                  </a:lnTo>
                  <a:lnTo>
                    <a:pt x="19484" y="18246"/>
                  </a:lnTo>
                  <a:lnTo>
                    <a:pt x="20127" y="18373"/>
                  </a:lnTo>
                  <a:lnTo>
                    <a:pt x="20650" y="19209"/>
                  </a:lnTo>
                  <a:lnTo>
                    <a:pt x="21276" y="20051"/>
                  </a:lnTo>
                  <a:lnTo>
                    <a:pt x="21600" y="21054"/>
                  </a:lnTo>
                  <a:lnTo>
                    <a:pt x="21500" y="21600"/>
                  </a:lnTo>
                  <a:lnTo>
                    <a:pt x="20623" y="21026"/>
                  </a:lnTo>
                  <a:lnTo>
                    <a:pt x="20131" y="20705"/>
                  </a:lnTo>
                  <a:lnTo>
                    <a:pt x="19072" y="20663"/>
                  </a:lnTo>
                  <a:lnTo>
                    <a:pt x="18170" y="20158"/>
                  </a:lnTo>
                  <a:lnTo>
                    <a:pt x="17728" y="19485"/>
                  </a:lnTo>
                  <a:lnTo>
                    <a:pt x="17478" y="18967"/>
                  </a:lnTo>
                  <a:lnTo>
                    <a:pt x="17228" y="17746"/>
                  </a:lnTo>
                  <a:lnTo>
                    <a:pt x="16877" y="16708"/>
                  </a:lnTo>
                  <a:lnTo>
                    <a:pt x="16402" y="15951"/>
                  </a:lnTo>
                  <a:lnTo>
                    <a:pt x="15525" y="14954"/>
                  </a:lnTo>
                  <a:lnTo>
                    <a:pt x="14876" y="14284"/>
                  </a:lnTo>
                  <a:lnTo>
                    <a:pt x="14242" y="14284"/>
                  </a:lnTo>
                  <a:lnTo>
                    <a:pt x="13699" y="15489"/>
                  </a:lnTo>
                  <a:cubicBezTo>
                    <a:pt x="13655" y="15662"/>
                    <a:pt x="13604" y="15830"/>
                    <a:pt x="13549" y="15993"/>
                  </a:cubicBezTo>
                  <a:cubicBezTo>
                    <a:pt x="13430" y="16338"/>
                    <a:pt x="13287" y="16658"/>
                    <a:pt x="13123" y="16945"/>
                  </a:cubicBezTo>
                  <a:lnTo>
                    <a:pt x="12398" y="17785"/>
                  </a:lnTo>
                  <a:lnTo>
                    <a:pt x="11380" y="17196"/>
                  </a:lnTo>
                  <a:lnTo>
                    <a:pt x="10929" y="17070"/>
                  </a:lnTo>
                  <a:cubicBezTo>
                    <a:pt x="10778" y="17231"/>
                    <a:pt x="10588" y="17247"/>
                    <a:pt x="10429" y="17112"/>
                  </a:cubicBezTo>
                  <a:cubicBezTo>
                    <a:pt x="10275" y="16981"/>
                    <a:pt x="10172" y="16728"/>
                    <a:pt x="10154" y="16440"/>
                  </a:cubicBezTo>
                  <a:lnTo>
                    <a:pt x="9620" y="15752"/>
                  </a:lnTo>
                  <a:lnTo>
                    <a:pt x="9169" y="15416"/>
                  </a:lnTo>
                  <a:lnTo>
                    <a:pt x="8374" y="15500"/>
                  </a:lnTo>
                  <a:lnTo>
                    <a:pt x="7783" y="15624"/>
                  </a:lnTo>
                  <a:lnTo>
                    <a:pt x="7609" y="15133"/>
                  </a:lnTo>
                  <a:lnTo>
                    <a:pt x="7084" y="15175"/>
                  </a:lnTo>
                  <a:lnTo>
                    <a:pt x="7283" y="14463"/>
                  </a:lnTo>
                  <a:lnTo>
                    <a:pt x="7684" y="14295"/>
                  </a:lnTo>
                  <a:lnTo>
                    <a:pt x="8067" y="13793"/>
                  </a:lnTo>
                  <a:lnTo>
                    <a:pt x="8425" y="13260"/>
                  </a:lnTo>
                  <a:lnTo>
                    <a:pt x="8424" y="12101"/>
                  </a:lnTo>
                  <a:lnTo>
                    <a:pt x="7998" y="10796"/>
                  </a:lnTo>
                  <a:cubicBezTo>
                    <a:pt x="7914" y="10491"/>
                    <a:pt x="7805" y="10208"/>
                    <a:pt x="7672" y="9955"/>
                  </a:cubicBezTo>
                  <a:cubicBezTo>
                    <a:pt x="7487" y="9602"/>
                    <a:pt x="7262" y="9316"/>
                    <a:pt x="7013" y="9100"/>
                  </a:cubicBezTo>
                  <a:cubicBezTo>
                    <a:pt x="6627" y="8764"/>
                    <a:pt x="6195" y="8604"/>
                    <a:pt x="5760" y="8637"/>
                  </a:cubicBezTo>
                  <a:lnTo>
                    <a:pt x="5460" y="7993"/>
                  </a:lnTo>
                  <a:lnTo>
                    <a:pt x="4992" y="7628"/>
                  </a:lnTo>
                  <a:lnTo>
                    <a:pt x="4219" y="6874"/>
                  </a:lnTo>
                  <a:cubicBezTo>
                    <a:pt x="4009" y="6592"/>
                    <a:pt x="3763" y="6395"/>
                    <a:pt x="3501" y="6299"/>
                  </a:cubicBezTo>
                  <a:cubicBezTo>
                    <a:pt x="3254" y="6207"/>
                    <a:pt x="2997" y="6207"/>
                    <a:pt x="2750" y="6299"/>
                  </a:cubicBezTo>
                  <a:lnTo>
                    <a:pt x="2183" y="6425"/>
                  </a:lnTo>
                  <a:lnTo>
                    <a:pt x="1674" y="5792"/>
                  </a:lnTo>
                  <a:lnTo>
                    <a:pt x="1674" y="4994"/>
                  </a:lnTo>
                  <a:lnTo>
                    <a:pt x="2200" y="4420"/>
                  </a:lnTo>
                  <a:lnTo>
                    <a:pt x="2400" y="3664"/>
                  </a:lnTo>
                  <a:lnTo>
                    <a:pt x="2125" y="3120"/>
                  </a:lnTo>
                  <a:lnTo>
                    <a:pt x="1524" y="2615"/>
                  </a:lnTo>
                  <a:lnTo>
                    <a:pt x="566" y="2138"/>
                  </a:lnTo>
                  <a:lnTo>
                    <a:pt x="0" y="1619"/>
                  </a:lnTo>
                  <a:lnTo>
                    <a:pt x="54" y="1017"/>
                  </a:lnTo>
                  <a:lnTo>
                    <a:pt x="339" y="1069"/>
                  </a:lnTo>
                  <a:close/>
                </a:path>
              </a:pathLst>
            </a:custGeom>
            <a:grpFill/>
            <a:ln w="25400" cap="flat">
              <a:noFill/>
              <a:prstDash val="solid"/>
              <a:miter lim="400000"/>
            </a:ln>
            <a:effectLst/>
          </p:spPr>
          <p:txBody>
            <a:bodyPr anchor="ctr"/>
            <a:lstStyle/>
            <a:p>
              <a:pPr algn="ctr"/>
              <a:endParaRPr/>
            </a:p>
          </p:txBody>
        </p:sp>
        <p:sp>
          <p:nvSpPr>
            <p:cNvPr id="337" name="任意多边形: 形状 336">
              <a:extLst>
                <a:ext uri="{FF2B5EF4-FFF2-40B4-BE49-F238E27FC236}">
                  <a16:creationId xmlns:a16="http://schemas.microsoft.com/office/drawing/2014/main" id="{03AB9621-955E-43F4-9BDF-46678C652B84}"/>
                </a:ext>
              </a:extLst>
            </p:cNvPr>
            <p:cNvSpPr/>
            <p:nvPr/>
          </p:nvSpPr>
          <p:spPr>
            <a:xfrm>
              <a:off x="10030474" y="3790111"/>
              <a:ext cx="18322" cy="22808"/>
            </a:xfrm>
            <a:custGeom>
              <a:avLst/>
              <a:gdLst/>
              <a:ahLst/>
              <a:cxnLst>
                <a:cxn ang="0">
                  <a:pos x="wd2" y="hd2"/>
                </a:cxn>
                <a:cxn ang="5400000">
                  <a:pos x="wd2" y="hd2"/>
                </a:cxn>
                <a:cxn ang="10800000">
                  <a:pos x="wd2" y="hd2"/>
                </a:cxn>
                <a:cxn ang="16200000">
                  <a:pos x="wd2" y="hd2"/>
                </a:cxn>
              </a:cxnLst>
              <a:rect l="0" t="0" r="r" b="b"/>
              <a:pathLst>
                <a:path w="21600" h="21600" extrusionOk="0">
                  <a:moveTo>
                    <a:pt x="11034" y="0"/>
                  </a:moveTo>
                  <a:lnTo>
                    <a:pt x="0" y="3883"/>
                  </a:lnTo>
                  <a:lnTo>
                    <a:pt x="4598" y="21600"/>
                  </a:lnTo>
                  <a:lnTo>
                    <a:pt x="21600" y="15889"/>
                  </a:lnTo>
                  <a:lnTo>
                    <a:pt x="21600" y="4677"/>
                  </a:lnTo>
                  <a:lnTo>
                    <a:pt x="11034" y="0"/>
                  </a:lnTo>
                  <a:close/>
                </a:path>
              </a:pathLst>
            </a:custGeom>
            <a:grpFill/>
            <a:ln w="25400" cap="flat">
              <a:noFill/>
              <a:prstDash val="solid"/>
              <a:miter lim="400000"/>
            </a:ln>
            <a:effectLst/>
          </p:spPr>
          <p:txBody>
            <a:bodyPr anchor="ctr"/>
            <a:lstStyle/>
            <a:p>
              <a:pPr algn="ctr"/>
              <a:endParaRPr/>
            </a:p>
          </p:txBody>
        </p:sp>
        <p:sp>
          <p:nvSpPr>
            <p:cNvPr id="338" name="任意多边形: 形状 337">
              <a:extLst>
                <a:ext uri="{FF2B5EF4-FFF2-40B4-BE49-F238E27FC236}">
                  <a16:creationId xmlns:a16="http://schemas.microsoft.com/office/drawing/2014/main" id="{1E32DAE5-8F9F-4353-8E40-A8797955F7F8}"/>
                </a:ext>
              </a:extLst>
            </p:cNvPr>
            <p:cNvSpPr/>
            <p:nvPr/>
          </p:nvSpPr>
          <p:spPr>
            <a:xfrm>
              <a:off x="10351793" y="3476789"/>
              <a:ext cx="16360" cy="21873"/>
            </a:xfrm>
            <a:custGeom>
              <a:avLst/>
              <a:gdLst/>
              <a:ahLst/>
              <a:cxnLst>
                <a:cxn ang="0">
                  <a:pos x="wd2" y="hd2"/>
                </a:cxn>
                <a:cxn ang="5400000">
                  <a:pos x="wd2" y="hd2"/>
                </a:cxn>
                <a:cxn ang="10800000">
                  <a:pos x="wd2" y="hd2"/>
                </a:cxn>
                <a:cxn ang="16200000">
                  <a:pos x="wd2" y="hd2"/>
                </a:cxn>
              </a:cxnLst>
              <a:rect l="0" t="0" r="r" b="b"/>
              <a:pathLst>
                <a:path w="21600" h="21600" extrusionOk="0">
                  <a:moveTo>
                    <a:pt x="11547" y="0"/>
                  </a:moveTo>
                  <a:lnTo>
                    <a:pt x="2757" y="5238"/>
                  </a:lnTo>
                  <a:lnTo>
                    <a:pt x="0" y="18231"/>
                  </a:lnTo>
                  <a:lnTo>
                    <a:pt x="17487" y="21600"/>
                  </a:lnTo>
                  <a:lnTo>
                    <a:pt x="21600" y="12744"/>
                  </a:lnTo>
                  <a:lnTo>
                    <a:pt x="11547" y="0"/>
                  </a:lnTo>
                  <a:close/>
                </a:path>
              </a:pathLst>
            </a:custGeom>
            <a:grpFill/>
            <a:ln w="25400" cap="flat">
              <a:noFill/>
              <a:prstDash val="solid"/>
              <a:miter lim="400000"/>
            </a:ln>
            <a:effectLst/>
          </p:spPr>
          <p:txBody>
            <a:bodyPr anchor="ctr"/>
            <a:lstStyle/>
            <a:p>
              <a:pPr algn="ctr"/>
              <a:endParaRPr/>
            </a:p>
          </p:txBody>
        </p:sp>
        <p:sp>
          <p:nvSpPr>
            <p:cNvPr id="339" name="任意多边形: 形状 338">
              <a:extLst>
                <a:ext uri="{FF2B5EF4-FFF2-40B4-BE49-F238E27FC236}">
                  <a16:creationId xmlns:a16="http://schemas.microsoft.com/office/drawing/2014/main" id="{1B28C2DB-E52F-4392-97BF-19B7D991E664}"/>
                </a:ext>
              </a:extLst>
            </p:cNvPr>
            <p:cNvSpPr/>
            <p:nvPr/>
          </p:nvSpPr>
          <p:spPr>
            <a:xfrm>
              <a:off x="10325524" y="3553174"/>
              <a:ext cx="18349" cy="31158"/>
            </a:xfrm>
            <a:custGeom>
              <a:avLst/>
              <a:gdLst/>
              <a:ahLst/>
              <a:cxnLst>
                <a:cxn ang="0">
                  <a:pos x="wd2" y="hd2"/>
                </a:cxn>
                <a:cxn ang="5400000">
                  <a:pos x="wd2" y="hd2"/>
                </a:cxn>
                <a:cxn ang="10800000">
                  <a:pos x="wd2" y="hd2"/>
                </a:cxn>
                <a:cxn ang="16200000">
                  <a:pos x="wd2" y="hd2"/>
                </a:cxn>
              </a:cxnLst>
              <a:rect l="0" t="0" r="r" b="b"/>
              <a:pathLst>
                <a:path w="21600" h="21600" extrusionOk="0">
                  <a:moveTo>
                    <a:pt x="5652" y="0"/>
                  </a:moveTo>
                  <a:lnTo>
                    <a:pt x="0" y="4334"/>
                  </a:lnTo>
                  <a:lnTo>
                    <a:pt x="342" y="20725"/>
                  </a:lnTo>
                  <a:lnTo>
                    <a:pt x="18905" y="21600"/>
                  </a:lnTo>
                  <a:lnTo>
                    <a:pt x="21600" y="4465"/>
                  </a:lnTo>
                  <a:lnTo>
                    <a:pt x="5652" y="0"/>
                  </a:lnTo>
                  <a:close/>
                </a:path>
              </a:pathLst>
            </a:custGeom>
            <a:grpFill/>
            <a:ln w="25400" cap="flat">
              <a:noFill/>
              <a:prstDash val="solid"/>
              <a:miter lim="400000"/>
            </a:ln>
            <a:effectLst/>
          </p:spPr>
          <p:txBody>
            <a:bodyPr anchor="ctr"/>
            <a:lstStyle/>
            <a:p>
              <a:pPr algn="ctr"/>
              <a:endParaRPr/>
            </a:p>
          </p:txBody>
        </p:sp>
        <p:sp>
          <p:nvSpPr>
            <p:cNvPr id="340" name="任意多边形: 形状 339">
              <a:extLst>
                <a:ext uri="{FF2B5EF4-FFF2-40B4-BE49-F238E27FC236}">
                  <a16:creationId xmlns:a16="http://schemas.microsoft.com/office/drawing/2014/main" id="{24292403-DF15-4129-9772-02ABAFC75738}"/>
                </a:ext>
              </a:extLst>
            </p:cNvPr>
            <p:cNvSpPr/>
            <p:nvPr/>
          </p:nvSpPr>
          <p:spPr>
            <a:xfrm>
              <a:off x="10830737" y="3809410"/>
              <a:ext cx="19066" cy="289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7350"/>
                  </a:lnTo>
                  <a:lnTo>
                    <a:pt x="7288" y="21600"/>
                  </a:lnTo>
                  <a:lnTo>
                    <a:pt x="0" y="0"/>
                  </a:lnTo>
                  <a:close/>
                </a:path>
              </a:pathLst>
            </a:custGeom>
            <a:grpFill/>
            <a:ln w="25400" cap="flat">
              <a:noFill/>
              <a:prstDash val="solid"/>
              <a:miter lim="400000"/>
            </a:ln>
            <a:effectLst/>
          </p:spPr>
          <p:txBody>
            <a:bodyPr anchor="ctr"/>
            <a:lstStyle/>
            <a:p>
              <a:pPr algn="ctr"/>
              <a:endParaRPr/>
            </a:p>
          </p:txBody>
        </p:sp>
      </p:grpSp>
      <p:sp>
        <p:nvSpPr>
          <p:cNvPr id="13" name="标题 12"/>
          <p:cNvSpPr>
            <a:spLocks noGrp="1"/>
          </p:cNvSpPr>
          <p:nvPr userDrawn="1">
            <p:ph type="ctrTitle" hasCustomPrompt="1"/>
          </p:nvPr>
        </p:nvSpPr>
        <p:spPr>
          <a:xfrm>
            <a:off x="3384551" y="2367819"/>
            <a:ext cx="5422898" cy="1621509"/>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3384551" y="4786452"/>
            <a:ext cx="5422898"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3384551" y="4490181"/>
            <a:ext cx="5422898"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4" name="任意多边形: 形状 13">
            <a:extLst>
              <a:ext uri="{FF2B5EF4-FFF2-40B4-BE49-F238E27FC236}">
                <a16:creationId xmlns:a16="http://schemas.microsoft.com/office/drawing/2014/main" id="{E1ED6B9E-5DA8-492A-BEFA-67C5D10EB970}"/>
              </a:ext>
            </a:extLst>
          </p:cNvPr>
          <p:cNvSpPr/>
          <p:nvPr userDrawn="1"/>
        </p:nvSpPr>
        <p:spPr>
          <a:xfrm flipV="1">
            <a:off x="0" y="2284452"/>
            <a:ext cx="12192000" cy="45719"/>
          </a:xfrm>
          <a:custGeom>
            <a:avLst/>
            <a:gdLst/>
            <a:ahLst/>
            <a:cxnLst/>
            <a:rect l="0" t="0" r="0" b="0"/>
            <a:pathLst>
              <a:path w="10865194" h="162167">
                <a:moveTo>
                  <a:pt x="12163" y="12163"/>
                </a:moveTo>
                <a:lnTo>
                  <a:pt x="10861141" y="12163"/>
                </a:lnTo>
                <a:lnTo>
                  <a:pt x="10861141" y="158113"/>
                </a:lnTo>
                <a:lnTo>
                  <a:pt x="12163" y="158113"/>
                </a:lnTo>
                <a:close/>
              </a:path>
            </a:pathLst>
          </a:custGeom>
          <a:solidFill>
            <a:srgbClr val="8D754B"/>
          </a:solidFill>
          <a:ln w="9525" cap="flat">
            <a:noFill/>
            <a:prstDash val="solid"/>
            <a:miter/>
          </a:ln>
        </p:spPr>
        <p:txBody>
          <a:bodyPr anchor="ctr"/>
          <a:lstStyle/>
          <a:p>
            <a:pPr algn="ctr"/>
            <a:endParaRPr/>
          </a:p>
        </p:txBody>
      </p:sp>
      <p:grpSp>
        <p:nvGrpSpPr>
          <p:cNvPr id="16" name="组合 15">
            <a:extLst>
              <a:ext uri="{FF2B5EF4-FFF2-40B4-BE49-F238E27FC236}">
                <a16:creationId xmlns:a16="http://schemas.microsoft.com/office/drawing/2014/main" id="{A8766E34-0F2E-4C76-836B-954A07B4FB7C}"/>
              </a:ext>
            </a:extLst>
          </p:cNvPr>
          <p:cNvGrpSpPr/>
          <p:nvPr userDrawn="1"/>
        </p:nvGrpSpPr>
        <p:grpSpPr>
          <a:xfrm>
            <a:off x="3533775" y="846527"/>
            <a:ext cx="5124451" cy="1462383"/>
            <a:chOff x="5374633" y="3570049"/>
            <a:chExt cx="7711044" cy="2331963"/>
          </a:xfrm>
        </p:grpSpPr>
        <p:sp>
          <p:nvSpPr>
            <p:cNvPr id="17" name="任意多边形: 形状 16">
              <a:extLst>
                <a:ext uri="{FF2B5EF4-FFF2-40B4-BE49-F238E27FC236}">
                  <a16:creationId xmlns:a16="http://schemas.microsoft.com/office/drawing/2014/main" id="{FA4C800F-5772-4726-96BD-E4F2B902A18D}"/>
                </a:ext>
              </a:extLst>
            </p:cNvPr>
            <p:cNvSpPr/>
            <p:nvPr/>
          </p:nvSpPr>
          <p:spPr>
            <a:xfrm>
              <a:off x="8090931" y="4184663"/>
              <a:ext cx="616235" cy="1605454"/>
            </a:xfrm>
            <a:custGeom>
              <a:avLst/>
              <a:gdLst/>
              <a:ahLst/>
              <a:cxnLst/>
              <a:rect l="0" t="0" r="0" b="0"/>
              <a:pathLst>
                <a:path w="616234" h="1605454">
                  <a:moveTo>
                    <a:pt x="12163" y="12163"/>
                  </a:moveTo>
                  <a:lnTo>
                    <a:pt x="608937" y="12163"/>
                  </a:lnTo>
                  <a:lnTo>
                    <a:pt x="608937" y="1607887"/>
                  </a:lnTo>
                  <a:lnTo>
                    <a:pt x="12163" y="1607887"/>
                  </a:lnTo>
                  <a:close/>
                </a:path>
              </a:pathLst>
            </a:custGeom>
            <a:solidFill>
              <a:srgbClr val="8D754B"/>
            </a:solidFill>
            <a:ln w="9525" cap="flat">
              <a:noFill/>
              <a:prstDash val="solid"/>
              <a:miter/>
            </a:ln>
          </p:spPr>
          <p:txBody>
            <a:bodyPr anchor="ctr"/>
            <a:lstStyle/>
            <a:p>
              <a:pPr algn="ctr"/>
              <a:endParaRPr/>
            </a:p>
          </p:txBody>
        </p:sp>
        <p:sp>
          <p:nvSpPr>
            <p:cNvPr id="18" name="任意多边形: 形状 17">
              <a:extLst>
                <a:ext uri="{FF2B5EF4-FFF2-40B4-BE49-F238E27FC236}">
                  <a16:creationId xmlns:a16="http://schemas.microsoft.com/office/drawing/2014/main" id="{16AB3B98-8AD6-481E-99E6-C93B2D9BA31F}"/>
                </a:ext>
              </a:extLst>
            </p:cNvPr>
            <p:cNvSpPr/>
            <p:nvPr/>
          </p:nvSpPr>
          <p:spPr>
            <a:xfrm>
              <a:off x="6063843" y="4045199"/>
              <a:ext cx="583802" cy="1751405"/>
            </a:xfrm>
            <a:custGeom>
              <a:avLst/>
              <a:gdLst/>
              <a:ahLst/>
              <a:cxnLst/>
              <a:rect l="0" t="0" r="0" b="0"/>
              <a:pathLst>
                <a:path w="583801" h="1751404">
                  <a:moveTo>
                    <a:pt x="12163" y="12163"/>
                  </a:moveTo>
                  <a:lnTo>
                    <a:pt x="579747" y="12163"/>
                  </a:lnTo>
                  <a:lnTo>
                    <a:pt x="579747" y="1748972"/>
                  </a:lnTo>
                  <a:lnTo>
                    <a:pt x="12163" y="1748972"/>
                  </a:lnTo>
                  <a:close/>
                </a:path>
              </a:pathLst>
            </a:custGeom>
            <a:solidFill>
              <a:srgbClr val="8D754B"/>
            </a:solidFill>
            <a:ln w="9525" cap="flat">
              <a:noFill/>
              <a:prstDash val="solid"/>
              <a:miter/>
            </a:ln>
          </p:spPr>
          <p:txBody>
            <a:bodyPr anchor="ctr"/>
            <a:lstStyle/>
            <a:p>
              <a:pPr algn="ctr"/>
              <a:endParaRPr/>
            </a:p>
          </p:txBody>
        </p:sp>
        <p:sp>
          <p:nvSpPr>
            <p:cNvPr id="19" name="任意多边形: 形状 18">
              <a:extLst>
                <a:ext uri="{FF2B5EF4-FFF2-40B4-BE49-F238E27FC236}">
                  <a16:creationId xmlns:a16="http://schemas.microsoft.com/office/drawing/2014/main" id="{697FE33D-CC26-4CCD-AE26-D1F2DBEB296C}"/>
                </a:ext>
              </a:extLst>
            </p:cNvPr>
            <p:cNvSpPr/>
            <p:nvPr/>
          </p:nvSpPr>
          <p:spPr>
            <a:xfrm>
              <a:off x="11786719" y="3570049"/>
              <a:ext cx="583802" cy="2221689"/>
            </a:xfrm>
            <a:custGeom>
              <a:avLst/>
              <a:gdLst/>
              <a:ahLst/>
              <a:cxnLst/>
              <a:rect l="0" t="0" r="0" b="0"/>
              <a:pathLst>
                <a:path w="583801" h="2221689">
                  <a:moveTo>
                    <a:pt x="574882" y="2222500"/>
                  </a:moveTo>
                  <a:lnTo>
                    <a:pt x="574882" y="219736"/>
                  </a:lnTo>
                  <a:lnTo>
                    <a:pt x="12163" y="12163"/>
                  </a:lnTo>
                  <a:lnTo>
                    <a:pt x="12163" y="2222500"/>
                  </a:lnTo>
                  <a:close/>
                </a:path>
              </a:pathLst>
            </a:custGeom>
            <a:solidFill>
              <a:srgbClr val="8D754B"/>
            </a:solidFill>
            <a:ln w="9525" cap="flat">
              <a:noFill/>
              <a:prstDash val="solid"/>
              <a:miter/>
            </a:ln>
          </p:spPr>
          <p:txBody>
            <a:bodyPr anchor="ctr"/>
            <a:lstStyle/>
            <a:p>
              <a:pPr algn="ctr"/>
              <a:endParaRPr/>
            </a:p>
          </p:txBody>
        </p:sp>
        <p:sp>
          <p:nvSpPr>
            <p:cNvPr id="20" name="任意多边形: 形状 19">
              <a:extLst>
                <a:ext uri="{FF2B5EF4-FFF2-40B4-BE49-F238E27FC236}">
                  <a16:creationId xmlns:a16="http://schemas.microsoft.com/office/drawing/2014/main" id="{40FF8CE6-782C-4800-BCCA-126F47CD2A23}"/>
                </a:ext>
              </a:extLst>
            </p:cNvPr>
            <p:cNvSpPr/>
            <p:nvPr/>
          </p:nvSpPr>
          <p:spPr>
            <a:xfrm>
              <a:off x="7247662" y="3806813"/>
              <a:ext cx="778402" cy="2027089"/>
            </a:xfrm>
            <a:custGeom>
              <a:avLst/>
              <a:gdLst/>
              <a:ahLst/>
              <a:cxnLst/>
              <a:rect l="0" t="0" r="0" b="0"/>
              <a:pathLst>
                <a:path w="778402" h="2027088">
                  <a:moveTo>
                    <a:pt x="12163" y="12163"/>
                  </a:moveTo>
                  <a:lnTo>
                    <a:pt x="771104" y="12163"/>
                  </a:lnTo>
                  <a:lnTo>
                    <a:pt x="771104" y="2018169"/>
                  </a:lnTo>
                  <a:lnTo>
                    <a:pt x="12162" y="2018169"/>
                  </a:lnTo>
                  <a:close/>
                </a:path>
              </a:pathLst>
            </a:custGeom>
            <a:solidFill>
              <a:srgbClr val="8D754B"/>
            </a:solidFill>
            <a:ln w="9525" cap="flat">
              <a:noFill/>
              <a:prstDash val="solid"/>
              <a:miter/>
            </a:ln>
          </p:spPr>
          <p:txBody>
            <a:bodyPr anchor="ctr"/>
            <a:lstStyle/>
            <a:p>
              <a:pPr algn="ctr"/>
              <a:endParaRPr/>
            </a:p>
          </p:txBody>
        </p:sp>
        <p:sp>
          <p:nvSpPr>
            <p:cNvPr id="21" name="任意多边形: 形状 20">
              <a:extLst>
                <a:ext uri="{FF2B5EF4-FFF2-40B4-BE49-F238E27FC236}">
                  <a16:creationId xmlns:a16="http://schemas.microsoft.com/office/drawing/2014/main" id="{0807764E-F10A-4D08-A9D5-43E7B57BE9F2}"/>
                </a:ext>
              </a:extLst>
            </p:cNvPr>
            <p:cNvSpPr/>
            <p:nvPr/>
          </p:nvSpPr>
          <p:spPr>
            <a:xfrm>
              <a:off x="11139672" y="4653326"/>
              <a:ext cx="551368" cy="1151386"/>
            </a:xfrm>
            <a:custGeom>
              <a:avLst/>
              <a:gdLst/>
              <a:ahLst/>
              <a:cxnLst/>
              <a:rect l="0" t="0" r="0" b="0"/>
              <a:pathLst>
                <a:path w="551368" h="1151386">
                  <a:moveTo>
                    <a:pt x="12163" y="12163"/>
                  </a:moveTo>
                  <a:lnTo>
                    <a:pt x="547314" y="12163"/>
                  </a:lnTo>
                  <a:lnTo>
                    <a:pt x="547314" y="1139224"/>
                  </a:lnTo>
                  <a:lnTo>
                    <a:pt x="12163" y="1139224"/>
                  </a:lnTo>
                  <a:close/>
                </a:path>
              </a:pathLst>
            </a:custGeom>
            <a:solidFill>
              <a:srgbClr val="8D754B"/>
            </a:solidFill>
            <a:ln w="9525" cap="flat">
              <a:noFill/>
              <a:prstDash val="solid"/>
              <a:miter/>
            </a:ln>
          </p:spPr>
          <p:txBody>
            <a:bodyPr anchor="ctr"/>
            <a:lstStyle/>
            <a:p>
              <a:pPr algn="ctr"/>
              <a:endParaRPr/>
            </a:p>
          </p:txBody>
        </p:sp>
        <p:sp>
          <p:nvSpPr>
            <p:cNvPr id="22" name="任意多边形: 形状 21">
              <a:extLst>
                <a:ext uri="{FF2B5EF4-FFF2-40B4-BE49-F238E27FC236}">
                  <a16:creationId xmlns:a16="http://schemas.microsoft.com/office/drawing/2014/main" id="{8F62ADB4-77D6-4C09-8A6A-18108B22E145}"/>
                </a:ext>
              </a:extLst>
            </p:cNvPr>
            <p:cNvSpPr/>
            <p:nvPr/>
          </p:nvSpPr>
          <p:spPr>
            <a:xfrm>
              <a:off x="12437009" y="4556025"/>
              <a:ext cx="648668" cy="1281120"/>
            </a:xfrm>
            <a:custGeom>
              <a:avLst/>
              <a:gdLst/>
              <a:ahLst/>
              <a:cxnLst/>
              <a:rect l="0" t="0" r="0" b="0"/>
              <a:pathLst>
                <a:path w="648668" h="1281119">
                  <a:moveTo>
                    <a:pt x="12163" y="12163"/>
                  </a:moveTo>
                  <a:lnTo>
                    <a:pt x="644614" y="12163"/>
                  </a:lnTo>
                  <a:lnTo>
                    <a:pt x="644614" y="1268958"/>
                  </a:lnTo>
                  <a:lnTo>
                    <a:pt x="12163" y="1268958"/>
                  </a:lnTo>
                  <a:close/>
                </a:path>
              </a:pathLst>
            </a:custGeom>
            <a:solidFill>
              <a:srgbClr val="8D754B"/>
            </a:solidFill>
            <a:ln w="9525" cap="flat">
              <a:noFill/>
              <a:prstDash val="solid"/>
              <a:miter/>
            </a:ln>
          </p:spPr>
          <p:txBody>
            <a:bodyPr anchor="ctr"/>
            <a:lstStyle/>
            <a:p>
              <a:pPr algn="ctr"/>
              <a:endParaRPr/>
            </a:p>
          </p:txBody>
        </p:sp>
        <p:sp>
          <p:nvSpPr>
            <p:cNvPr id="23" name="任意多边形: 形状 22">
              <a:extLst>
                <a:ext uri="{FF2B5EF4-FFF2-40B4-BE49-F238E27FC236}">
                  <a16:creationId xmlns:a16="http://schemas.microsoft.com/office/drawing/2014/main" id="{A730CD11-0034-427C-8211-D564223D42F8}"/>
                </a:ext>
              </a:extLst>
            </p:cNvPr>
            <p:cNvSpPr/>
            <p:nvPr/>
          </p:nvSpPr>
          <p:spPr>
            <a:xfrm>
              <a:off x="10458571" y="4434400"/>
              <a:ext cx="600018" cy="1394637"/>
            </a:xfrm>
            <a:custGeom>
              <a:avLst/>
              <a:gdLst/>
              <a:ahLst/>
              <a:cxnLst/>
              <a:rect l="0" t="0" r="0" b="0"/>
              <a:pathLst>
                <a:path w="600018" h="1394636">
                  <a:moveTo>
                    <a:pt x="12163" y="12163"/>
                  </a:moveTo>
                  <a:lnTo>
                    <a:pt x="595964" y="12163"/>
                  </a:lnTo>
                  <a:lnTo>
                    <a:pt x="595964" y="1390583"/>
                  </a:lnTo>
                  <a:lnTo>
                    <a:pt x="12163" y="1390583"/>
                  </a:lnTo>
                  <a:close/>
                </a:path>
              </a:pathLst>
            </a:custGeom>
            <a:solidFill>
              <a:srgbClr val="8D754B"/>
            </a:solidFill>
            <a:ln w="9525" cap="flat">
              <a:noFill/>
              <a:prstDash val="solid"/>
              <a:miter/>
            </a:ln>
          </p:spPr>
          <p:txBody>
            <a:bodyPr anchor="ctr"/>
            <a:lstStyle/>
            <a:p>
              <a:pPr algn="ctr"/>
              <a:endParaRPr/>
            </a:p>
          </p:txBody>
        </p:sp>
        <p:sp>
          <p:nvSpPr>
            <p:cNvPr id="24" name="任意多边形: 形状 23">
              <a:extLst>
                <a:ext uri="{FF2B5EF4-FFF2-40B4-BE49-F238E27FC236}">
                  <a16:creationId xmlns:a16="http://schemas.microsoft.com/office/drawing/2014/main" id="{7126D2D1-78F1-49E5-A0BB-3720F78F5ACF}"/>
                </a:ext>
              </a:extLst>
            </p:cNvPr>
            <p:cNvSpPr/>
            <p:nvPr/>
          </p:nvSpPr>
          <p:spPr>
            <a:xfrm>
              <a:off x="8786628" y="4556025"/>
              <a:ext cx="600018" cy="1345987"/>
            </a:xfrm>
            <a:custGeom>
              <a:avLst/>
              <a:gdLst/>
              <a:ahLst/>
              <a:cxnLst/>
              <a:rect l="0" t="0" r="0" b="0"/>
              <a:pathLst>
                <a:path w="600018" h="1345986">
                  <a:moveTo>
                    <a:pt x="12162" y="12163"/>
                  </a:moveTo>
                  <a:lnTo>
                    <a:pt x="595964" y="12163"/>
                  </a:lnTo>
                  <a:lnTo>
                    <a:pt x="595964" y="1333824"/>
                  </a:lnTo>
                  <a:lnTo>
                    <a:pt x="12162" y="1333824"/>
                  </a:lnTo>
                  <a:close/>
                </a:path>
              </a:pathLst>
            </a:custGeom>
            <a:solidFill>
              <a:srgbClr val="8D754B"/>
            </a:solidFill>
            <a:ln w="9525" cap="flat">
              <a:noFill/>
              <a:prstDash val="solid"/>
              <a:miter/>
            </a:ln>
          </p:spPr>
          <p:txBody>
            <a:bodyPr anchor="ctr"/>
            <a:lstStyle/>
            <a:p>
              <a:pPr algn="ctr"/>
              <a:endParaRPr/>
            </a:p>
          </p:txBody>
        </p:sp>
        <p:sp>
          <p:nvSpPr>
            <p:cNvPr id="25" name="任意多边形: 形状 24">
              <a:extLst>
                <a:ext uri="{FF2B5EF4-FFF2-40B4-BE49-F238E27FC236}">
                  <a16:creationId xmlns:a16="http://schemas.microsoft.com/office/drawing/2014/main" id="{8E2AEFE2-FC84-46CD-B487-695F9CF7A85C}"/>
                </a:ext>
              </a:extLst>
            </p:cNvPr>
            <p:cNvSpPr/>
            <p:nvPr/>
          </p:nvSpPr>
          <p:spPr>
            <a:xfrm>
              <a:off x="6715754" y="3673836"/>
              <a:ext cx="454068" cy="2189256"/>
            </a:xfrm>
            <a:custGeom>
              <a:avLst/>
              <a:gdLst/>
              <a:ahLst/>
              <a:cxnLst/>
              <a:rect l="0" t="0" r="0" b="0"/>
              <a:pathLst>
                <a:path w="454067" h="2189255">
                  <a:moveTo>
                    <a:pt x="451635" y="642993"/>
                  </a:moveTo>
                  <a:cubicBezTo>
                    <a:pt x="451635" y="558666"/>
                    <a:pt x="367309" y="490555"/>
                    <a:pt x="257035" y="482447"/>
                  </a:cubicBezTo>
                  <a:lnTo>
                    <a:pt x="257035" y="438662"/>
                  </a:lnTo>
                  <a:lnTo>
                    <a:pt x="255413" y="330010"/>
                  </a:lnTo>
                  <a:lnTo>
                    <a:pt x="250548" y="12163"/>
                  </a:lnTo>
                  <a:lnTo>
                    <a:pt x="218115" y="12163"/>
                  </a:lnTo>
                  <a:lnTo>
                    <a:pt x="214871" y="330010"/>
                  </a:lnTo>
                  <a:cubicBezTo>
                    <a:pt x="193790" y="338118"/>
                    <a:pt x="179195" y="359200"/>
                    <a:pt x="179195" y="385147"/>
                  </a:cubicBezTo>
                  <a:cubicBezTo>
                    <a:pt x="179195" y="409472"/>
                    <a:pt x="193790" y="430554"/>
                    <a:pt x="213250" y="438662"/>
                  </a:cubicBezTo>
                  <a:lnTo>
                    <a:pt x="213250" y="482447"/>
                  </a:lnTo>
                  <a:cubicBezTo>
                    <a:pt x="102976" y="490555"/>
                    <a:pt x="12163" y="560287"/>
                    <a:pt x="12163" y="642993"/>
                  </a:cubicBezTo>
                  <a:cubicBezTo>
                    <a:pt x="12163" y="706238"/>
                    <a:pt x="65678" y="761374"/>
                    <a:pt x="130545" y="788943"/>
                  </a:cubicBezTo>
                  <a:lnTo>
                    <a:pt x="130545" y="2183580"/>
                  </a:lnTo>
                  <a:lnTo>
                    <a:pt x="187303" y="2183580"/>
                  </a:lnTo>
                  <a:lnTo>
                    <a:pt x="284603" y="2183580"/>
                  </a:lnTo>
                  <a:lnTo>
                    <a:pt x="325145" y="2183580"/>
                  </a:lnTo>
                  <a:lnTo>
                    <a:pt x="325145" y="788943"/>
                  </a:lnTo>
                  <a:cubicBezTo>
                    <a:pt x="406229" y="762996"/>
                    <a:pt x="451635" y="707859"/>
                    <a:pt x="451635" y="642993"/>
                  </a:cubicBezTo>
                  <a:close/>
                </a:path>
              </a:pathLst>
            </a:custGeom>
            <a:solidFill>
              <a:srgbClr val="8D754B"/>
            </a:solidFill>
            <a:ln w="9525" cap="flat">
              <a:noFill/>
              <a:prstDash val="solid"/>
              <a:miter/>
            </a:ln>
          </p:spPr>
          <p:txBody>
            <a:bodyPr anchor="ctr"/>
            <a:lstStyle/>
            <a:p>
              <a:pPr algn="ctr"/>
              <a:endParaRPr/>
            </a:p>
          </p:txBody>
        </p:sp>
        <p:sp>
          <p:nvSpPr>
            <p:cNvPr id="26" name="任意多边形: 形状 25">
              <a:extLst>
                <a:ext uri="{FF2B5EF4-FFF2-40B4-BE49-F238E27FC236}">
                  <a16:creationId xmlns:a16="http://schemas.microsoft.com/office/drawing/2014/main" id="{DEB00578-4875-4DB1-A965-8B9836787826}"/>
                </a:ext>
              </a:extLst>
            </p:cNvPr>
            <p:cNvSpPr/>
            <p:nvPr/>
          </p:nvSpPr>
          <p:spPr>
            <a:xfrm>
              <a:off x="6960627" y="3990062"/>
              <a:ext cx="48650" cy="129734"/>
            </a:xfrm>
            <a:custGeom>
              <a:avLst/>
              <a:gdLst/>
              <a:ahLst/>
              <a:cxnLst/>
              <a:rect l="0" t="0" r="0" b="0"/>
              <a:pathLst>
                <a:path w="48650" h="129733">
                  <a:moveTo>
                    <a:pt x="47839" y="67299"/>
                  </a:moveTo>
                  <a:cubicBezTo>
                    <a:pt x="47839" y="42974"/>
                    <a:pt x="33244" y="21893"/>
                    <a:pt x="12163" y="12163"/>
                  </a:cubicBezTo>
                  <a:lnTo>
                    <a:pt x="13784" y="120814"/>
                  </a:lnTo>
                  <a:cubicBezTo>
                    <a:pt x="33244" y="112706"/>
                    <a:pt x="47839" y="91624"/>
                    <a:pt x="47839" y="67299"/>
                  </a:cubicBezTo>
                  <a:close/>
                </a:path>
              </a:pathLst>
            </a:custGeom>
            <a:solidFill>
              <a:srgbClr val="8D754B"/>
            </a:solidFill>
            <a:ln w="9525" cap="flat">
              <a:noFill/>
              <a:prstDash val="solid"/>
              <a:miter/>
            </a:ln>
          </p:spPr>
          <p:txBody>
            <a:bodyPr anchor="ctr"/>
            <a:lstStyle/>
            <a:p>
              <a:pPr algn="ctr"/>
              <a:endParaRPr/>
            </a:p>
          </p:txBody>
        </p:sp>
        <p:sp>
          <p:nvSpPr>
            <p:cNvPr id="27" name="任意多边形: 形状 26">
              <a:extLst>
                <a:ext uri="{FF2B5EF4-FFF2-40B4-BE49-F238E27FC236}">
                  <a16:creationId xmlns:a16="http://schemas.microsoft.com/office/drawing/2014/main" id="{69A26623-D5F2-4280-94E2-6C45EE6296C8}"/>
                </a:ext>
              </a:extLst>
            </p:cNvPr>
            <p:cNvSpPr/>
            <p:nvPr/>
          </p:nvSpPr>
          <p:spPr>
            <a:xfrm>
              <a:off x="5374633" y="4256016"/>
              <a:ext cx="600018" cy="1605454"/>
            </a:xfrm>
            <a:custGeom>
              <a:avLst/>
              <a:gdLst/>
              <a:ahLst/>
              <a:cxnLst/>
              <a:rect l="0" t="0" r="0" b="0"/>
              <a:pathLst>
                <a:path w="600018" h="1605454">
                  <a:moveTo>
                    <a:pt x="336497" y="255413"/>
                  </a:moveTo>
                  <a:lnTo>
                    <a:pt x="336497" y="12163"/>
                  </a:lnTo>
                  <a:lnTo>
                    <a:pt x="271630" y="12163"/>
                  </a:lnTo>
                  <a:lnTo>
                    <a:pt x="271630" y="255413"/>
                  </a:lnTo>
                  <a:lnTo>
                    <a:pt x="12163" y="255413"/>
                  </a:lnTo>
                  <a:lnTo>
                    <a:pt x="12163" y="1601400"/>
                  </a:lnTo>
                  <a:lnTo>
                    <a:pt x="595964" y="1601400"/>
                  </a:lnTo>
                  <a:lnTo>
                    <a:pt x="595964" y="255413"/>
                  </a:lnTo>
                  <a:lnTo>
                    <a:pt x="336497" y="255413"/>
                  </a:lnTo>
                  <a:close/>
                  <a:moveTo>
                    <a:pt x="158113" y="1195982"/>
                  </a:moveTo>
                  <a:lnTo>
                    <a:pt x="93246" y="1195982"/>
                  </a:lnTo>
                  <a:lnTo>
                    <a:pt x="93246" y="1001382"/>
                  </a:lnTo>
                  <a:lnTo>
                    <a:pt x="158113" y="1001382"/>
                  </a:lnTo>
                  <a:lnTo>
                    <a:pt x="158113" y="1195982"/>
                  </a:lnTo>
                  <a:close/>
                  <a:moveTo>
                    <a:pt x="158113" y="920298"/>
                  </a:moveTo>
                  <a:lnTo>
                    <a:pt x="93246" y="920298"/>
                  </a:lnTo>
                  <a:lnTo>
                    <a:pt x="93246" y="725698"/>
                  </a:lnTo>
                  <a:lnTo>
                    <a:pt x="158113" y="725698"/>
                  </a:lnTo>
                  <a:lnTo>
                    <a:pt x="158113" y="920298"/>
                  </a:lnTo>
                  <a:close/>
                  <a:moveTo>
                    <a:pt x="158113" y="644614"/>
                  </a:moveTo>
                  <a:lnTo>
                    <a:pt x="93246" y="644614"/>
                  </a:lnTo>
                  <a:lnTo>
                    <a:pt x="93246" y="450014"/>
                  </a:lnTo>
                  <a:lnTo>
                    <a:pt x="158113" y="450014"/>
                  </a:lnTo>
                  <a:lnTo>
                    <a:pt x="158113" y="644614"/>
                  </a:lnTo>
                  <a:close/>
                  <a:moveTo>
                    <a:pt x="271630" y="920298"/>
                  </a:moveTo>
                  <a:lnTo>
                    <a:pt x="206763" y="920298"/>
                  </a:lnTo>
                  <a:lnTo>
                    <a:pt x="206763" y="725698"/>
                  </a:lnTo>
                  <a:lnTo>
                    <a:pt x="271630" y="725698"/>
                  </a:lnTo>
                  <a:lnTo>
                    <a:pt x="271630" y="920298"/>
                  </a:lnTo>
                  <a:close/>
                  <a:moveTo>
                    <a:pt x="385147" y="1195982"/>
                  </a:moveTo>
                  <a:lnTo>
                    <a:pt x="320280" y="1195982"/>
                  </a:lnTo>
                  <a:lnTo>
                    <a:pt x="320280" y="1001382"/>
                  </a:lnTo>
                  <a:lnTo>
                    <a:pt x="385147" y="1001382"/>
                  </a:lnTo>
                  <a:lnTo>
                    <a:pt x="385147" y="1195982"/>
                  </a:lnTo>
                  <a:close/>
                  <a:moveTo>
                    <a:pt x="385147" y="644614"/>
                  </a:moveTo>
                  <a:lnTo>
                    <a:pt x="320280" y="644614"/>
                  </a:lnTo>
                  <a:lnTo>
                    <a:pt x="320280" y="450014"/>
                  </a:lnTo>
                  <a:lnTo>
                    <a:pt x="385147" y="450014"/>
                  </a:lnTo>
                  <a:lnTo>
                    <a:pt x="385147" y="644614"/>
                  </a:lnTo>
                  <a:close/>
                  <a:moveTo>
                    <a:pt x="498664" y="1195982"/>
                  </a:moveTo>
                  <a:lnTo>
                    <a:pt x="433797" y="1195982"/>
                  </a:lnTo>
                  <a:lnTo>
                    <a:pt x="433797" y="1001382"/>
                  </a:lnTo>
                  <a:lnTo>
                    <a:pt x="498664" y="1001382"/>
                  </a:lnTo>
                  <a:lnTo>
                    <a:pt x="498664" y="1195982"/>
                  </a:lnTo>
                  <a:close/>
                  <a:moveTo>
                    <a:pt x="498664" y="920298"/>
                  </a:moveTo>
                  <a:lnTo>
                    <a:pt x="433797" y="920298"/>
                  </a:lnTo>
                  <a:lnTo>
                    <a:pt x="433797" y="725698"/>
                  </a:lnTo>
                  <a:lnTo>
                    <a:pt x="498664" y="725698"/>
                  </a:lnTo>
                  <a:lnTo>
                    <a:pt x="498664" y="920298"/>
                  </a:lnTo>
                  <a:close/>
                  <a:moveTo>
                    <a:pt x="498664" y="644614"/>
                  </a:moveTo>
                  <a:lnTo>
                    <a:pt x="433797" y="644614"/>
                  </a:lnTo>
                  <a:lnTo>
                    <a:pt x="433797" y="450014"/>
                  </a:lnTo>
                  <a:lnTo>
                    <a:pt x="498664" y="450014"/>
                  </a:lnTo>
                  <a:lnTo>
                    <a:pt x="498664" y="644614"/>
                  </a:lnTo>
                  <a:close/>
                </a:path>
              </a:pathLst>
            </a:custGeom>
            <a:solidFill>
              <a:srgbClr val="8D754B"/>
            </a:solidFill>
            <a:ln w="9525" cap="flat">
              <a:noFill/>
              <a:prstDash val="solid"/>
              <a:miter/>
            </a:ln>
          </p:spPr>
          <p:txBody>
            <a:bodyPr anchor="ctr"/>
            <a:lstStyle/>
            <a:p>
              <a:pPr algn="ctr"/>
              <a:endParaRPr/>
            </a:p>
          </p:txBody>
        </p:sp>
        <p:sp>
          <p:nvSpPr>
            <p:cNvPr id="28" name="任意多边形: 形状 27">
              <a:extLst>
                <a:ext uri="{FF2B5EF4-FFF2-40B4-BE49-F238E27FC236}">
                  <a16:creationId xmlns:a16="http://schemas.microsoft.com/office/drawing/2014/main" id="{88526571-5EBF-4B42-A742-4A482CF23494}"/>
                </a:ext>
              </a:extLst>
            </p:cNvPr>
            <p:cNvSpPr/>
            <p:nvPr/>
          </p:nvSpPr>
          <p:spPr>
            <a:xfrm>
              <a:off x="9696385" y="5277669"/>
              <a:ext cx="437851" cy="178384"/>
            </a:xfrm>
            <a:custGeom>
              <a:avLst/>
              <a:gdLst/>
              <a:ahLst/>
              <a:cxnLst/>
              <a:rect l="0" t="0" r="0" b="0"/>
              <a:pathLst>
                <a:path w="437851" h="178383">
                  <a:moveTo>
                    <a:pt x="33244" y="12163"/>
                  </a:moveTo>
                  <a:lnTo>
                    <a:pt x="12163" y="174330"/>
                  </a:lnTo>
                  <a:lnTo>
                    <a:pt x="437041" y="174330"/>
                  </a:lnTo>
                  <a:lnTo>
                    <a:pt x="417580" y="12163"/>
                  </a:lnTo>
                  <a:close/>
                </a:path>
              </a:pathLst>
            </a:custGeom>
            <a:noFill/>
            <a:ln w="9525" cap="flat">
              <a:noFill/>
              <a:prstDash val="solid"/>
              <a:miter/>
            </a:ln>
          </p:spPr>
          <p:txBody>
            <a:bodyPr anchor="ctr"/>
            <a:lstStyle/>
            <a:p>
              <a:pPr algn="ctr"/>
              <a:endParaRPr/>
            </a:p>
          </p:txBody>
        </p:sp>
        <p:sp>
          <p:nvSpPr>
            <p:cNvPr id="29" name="任意多边形: 形状 28">
              <a:extLst>
                <a:ext uri="{FF2B5EF4-FFF2-40B4-BE49-F238E27FC236}">
                  <a16:creationId xmlns:a16="http://schemas.microsoft.com/office/drawing/2014/main" id="{E89A21ED-26CE-4D19-92AC-9600578D002D}"/>
                </a:ext>
              </a:extLst>
            </p:cNvPr>
            <p:cNvSpPr/>
            <p:nvPr/>
          </p:nvSpPr>
          <p:spPr>
            <a:xfrm>
              <a:off x="9412593" y="3639781"/>
              <a:ext cx="1005436" cy="2173039"/>
            </a:xfrm>
            <a:custGeom>
              <a:avLst/>
              <a:gdLst/>
              <a:ahLst/>
              <a:cxnLst/>
              <a:rect l="0" t="0" r="0" b="0"/>
              <a:pathLst>
                <a:path w="1005435" h="2173038">
                  <a:moveTo>
                    <a:pt x="797051" y="1568967"/>
                  </a:moveTo>
                  <a:lnTo>
                    <a:pt x="822998" y="1568967"/>
                  </a:lnTo>
                  <a:lnTo>
                    <a:pt x="822998" y="1439233"/>
                  </a:lnTo>
                  <a:lnTo>
                    <a:pt x="759753" y="1439233"/>
                  </a:lnTo>
                  <a:lnTo>
                    <a:pt x="610559" y="725698"/>
                  </a:lnTo>
                  <a:lnTo>
                    <a:pt x="644614" y="725698"/>
                  </a:lnTo>
                  <a:lnTo>
                    <a:pt x="644614" y="595964"/>
                  </a:lnTo>
                  <a:lnTo>
                    <a:pt x="582991" y="595964"/>
                  </a:lnTo>
                  <a:lnTo>
                    <a:pt x="531097" y="383525"/>
                  </a:lnTo>
                  <a:lnTo>
                    <a:pt x="531097" y="12163"/>
                  </a:lnTo>
                  <a:lnTo>
                    <a:pt x="466230" y="12163"/>
                  </a:lnTo>
                  <a:lnTo>
                    <a:pt x="466230" y="383525"/>
                  </a:lnTo>
                  <a:lnTo>
                    <a:pt x="430553" y="595964"/>
                  </a:lnTo>
                  <a:lnTo>
                    <a:pt x="352713" y="595964"/>
                  </a:lnTo>
                  <a:lnTo>
                    <a:pt x="352713" y="725698"/>
                  </a:lnTo>
                  <a:lnTo>
                    <a:pt x="402985" y="725698"/>
                  </a:lnTo>
                  <a:lnTo>
                    <a:pt x="253791" y="1439233"/>
                  </a:lnTo>
                  <a:lnTo>
                    <a:pt x="158113" y="1439233"/>
                  </a:lnTo>
                  <a:lnTo>
                    <a:pt x="158113" y="1568967"/>
                  </a:lnTo>
                  <a:lnTo>
                    <a:pt x="216493" y="1568967"/>
                  </a:lnTo>
                  <a:lnTo>
                    <a:pt x="12163" y="2168985"/>
                  </a:lnTo>
                  <a:lnTo>
                    <a:pt x="226223" y="2168985"/>
                  </a:lnTo>
                  <a:lnTo>
                    <a:pt x="248927" y="2160877"/>
                  </a:lnTo>
                  <a:lnTo>
                    <a:pt x="286225" y="1877084"/>
                  </a:lnTo>
                  <a:lnTo>
                    <a:pt x="727320" y="1877084"/>
                  </a:lnTo>
                  <a:lnTo>
                    <a:pt x="761375" y="2160877"/>
                  </a:lnTo>
                  <a:lnTo>
                    <a:pt x="784078" y="2168985"/>
                  </a:lnTo>
                  <a:lnTo>
                    <a:pt x="1001382" y="2168985"/>
                  </a:lnTo>
                  <a:lnTo>
                    <a:pt x="797051" y="1568967"/>
                  </a:lnTo>
                  <a:close/>
                  <a:moveTo>
                    <a:pt x="527854" y="725698"/>
                  </a:moveTo>
                  <a:lnTo>
                    <a:pt x="604072" y="1082465"/>
                  </a:lnTo>
                  <a:lnTo>
                    <a:pt x="412715" y="1082465"/>
                  </a:lnTo>
                  <a:lnTo>
                    <a:pt x="485691" y="725698"/>
                  </a:lnTo>
                  <a:lnTo>
                    <a:pt x="527854" y="725698"/>
                  </a:lnTo>
                  <a:close/>
                  <a:moveTo>
                    <a:pt x="399742" y="1147332"/>
                  </a:moveTo>
                  <a:lnTo>
                    <a:pt x="618667" y="1147332"/>
                  </a:lnTo>
                  <a:lnTo>
                    <a:pt x="681912" y="1439233"/>
                  </a:lnTo>
                  <a:lnTo>
                    <a:pt x="339740" y="1439233"/>
                  </a:lnTo>
                  <a:lnTo>
                    <a:pt x="399742" y="1147332"/>
                  </a:lnTo>
                  <a:close/>
                  <a:moveTo>
                    <a:pt x="295955" y="1812217"/>
                  </a:moveTo>
                  <a:lnTo>
                    <a:pt x="317036" y="1650050"/>
                  </a:lnTo>
                  <a:lnTo>
                    <a:pt x="701373" y="1650050"/>
                  </a:lnTo>
                  <a:lnTo>
                    <a:pt x="720833" y="1812217"/>
                  </a:lnTo>
                  <a:lnTo>
                    <a:pt x="295955" y="1812217"/>
                  </a:lnTo>
                  <a:close/>
                </a:path>
              </a:pathLst>
            </a:custGeom>
            <a:solidFill>
              <a:srgbClr val="8D754B"/>
            </a:solidFill>
            <a:ln w="9525" cap="flat">
              <a:noFill/>
              <a:prstDash val="solid"/>
              <a:miter/>
            </a:ln>
          </p:spPr>
          <p:txBody>
            <a:bodyPr anchor="ctr"/>
            <a:lstStyle/>
            <a:p>
              <a:pPr algn="ctr"/>
              <a:endParaRPr/>
            </a:p>
          </p:txBody>
        </p:sp>
        <p:grpSp>
          <p:nvGrpSpPr>
            <p:cNvPr id="30" name="组合 29">
              <a:extLst>
                <a:ext uri="{FF2B5EF4-FFF2-40B4-BE49-F238E27FC236}">
                  <a16:creationId xmlns:a16="http://schemas.microsoft.com/office/drawing/2014/main" id="{6F81227C-3156-4C20-B2DB-3C052FC30E6B}"/>
                </a:ext>
              </a:extLst>
            </p:cNvPr>
            <p:cNvGrpSpPr/>
            <p:nvPr/>
          </p:nvGrpSpPr>
          <p:grpSpPr>
            <a:xfrm>
              <a:off x="5455716" y="3996549"/>
              <a:ext cx="7573203" cy="1702754"/>
              <a:chOff x="5455716" y="3996549"/>
              <a:chExt cx="7573203" cy="1702754"/>
            </a:xfrm>
          </p:grpSpPr>
          <p:sp>
            <p:nvSpPr>
              <p:cNvPr id="31" name="任意多边形: 形状 30">
                <a:extLst>
                  <a:ext uri="{FF2B5EF4-FFF2-40B4-BE49-F238E27FC236}">
                    <a16:creationId xmlns:a16="http://schemas.microsoft.com/office/drawing/2014/main" id="{1CF86A01-BA43-4BEE-A1D5-2ACCE9F07563}"/>
                  </a:ext>
                </a:extLst>
              </p:cNvPr>
              <p:cNvSpPr/>
              <p:nvPr/>
            </p:nvSpPr>
            <p:spPr>
              <a:xfrm>
                <a:off x="8131473" y="4385750"/>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2" name="任意多边形: 形状 31">
                <a:extLst>
                  <a:ext uri="{FF2B5EF4-FFF2-40B4-BE49-F238E27FC236}">
                    <a16:creationId xmlns:a16="http://schemas.microsoft.com/office/drawing/2014/main" id="{59C479D9-0934-455A-BD83-256CA2CF0D44}"/>
                  </a:ext>
                </a:extLst>
              </p:cNvPr>
              <p:cNvSpPr/>
              <p:nvPr/>
            </p:nvSpPr>
            <p:spPr>
              <a:xfrm>
                <a:off x="8244990" y="4385750"/>
                <a:ext cx="64867" cy="243251"/>
              </a:xfrm>
              <a:custGeom>
                <a:avLst/>
                <a:gdLst/>
                <a:ahLst/>
                <a:cxnLst/>
                <a:rect l="0" t="0" r="0" b="0"/>
                <a:pathLst>
                  <a:path w="64866" h="243250">
                    <a:moveTo>
                      <a:pt x="12163" y="12163"/>
                    </a:moveTo>
                    <a:lnTo>
                      <a:pt x="60813" y="12163"/>
                    </a:lnTo>
                    <a:lnTo>
                      <a:pt x="60813"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3" name="任意多边形: 形状 32">
                <a:extLst>
                  <a:ext uri="{FF2B5EF4-FFF2-40B4-BE49-F238E27FC236}">
                    <a16:creationId xmlns:a16="http://schemas.microsoft.com/office/drawing/2014/main" id="{9095A80A-EE53-47B7-8D98-08932E189C4F}"/>
                  </a:ext>
                </a:extLst>
              </p:cNvPr>
              <p:cNvSpPr/>
              <p:nvPr/>
            </p:nvSpPr>
            <p:spPr>
              <a:xfrm>
                <a:off x="8455807" y="4385750"/>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4" name="任意多边形: 形状 33">
                <a:extLst>
                  <a:ext uri="{FF2B5EF4-FFF2-40B4-BE49-F238E27FC236}">
                    <a16:creationId xmlns:a16="http://schemas.microsoft.com/office/drawing/2014/main" id="{8DB0BE98-8F5F-4FAB-8F05-F4C60C00F110}"/>
                  </a:ext>
                </a:extLst>
              </p:cNvPr>
              <p:cNvSpPr/>
              <p:nvPr/>
            </p:nvSpPr>
            <p:spPr>
              <a:xfrm>
                <a:off x="8569324" y="4385750"/>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5" name="任意多边形: 形状 34">
                <a:extLst>
                  <a:ext uri="{FF2B5EF4-FFF2-40B4-BE49-F238E27FC236}">
                    <a16:creationId xmlns:a16="http://schemas.microsoft.com/office/drawing/2014/main" id="{4E1B07EB-1433-4002-B832-E781A1C4B14B}"/>
                  </a:ext>
                </a:extLst>
              </p:cNvPr>
              <p:cNvSpPr/>
              <p:nvPr/>
            </p:nvSpPr>
            <p:spPr>
              <a:xfrm>
                <a:off x="8131473" y="4661434"/>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6" name="任意多边形: 形状 35">
                <a:extLst>
                  <a:ext uri="{FF2B5EF4-FFF2-40B4-BE49-F238E27FC236}">
                    <a16:creationId xmlns:a16="http://schemas.microsoft.com/office/drawing/2014/main" id="{12B375E6-ACE8-418C-9237-587365449BA5}"/>
                  </a:ext>
                </a:extLst>
              </p:cNvPr>
              <p:cNvSpPr/>
              <p:nvPr/>
            </p:nvSpPr>
            <p:spPr>
              <a:xfrm>
                <a:off x="8342290" y="4661434"/>
                <a:ext cx="97300" cy="243251"/>
              </a:xfrm>
              <a:custGeom>
                <a:avLst/>
                <a:gdLst/>
                <a:ahLst/>
                <a:cxnLst/>
                <a:rect l="0" t="0" r="0" b="0"/>
                <a:pathLst>
                  <a:path w="97300" h="243250">
                    <a:moveTo>
                      <a:pt x="12163" y="12163"/>
                    </a:moveTo>
                    <a:lnTo>
                      <a:pt x="93246" y="12163"/>
                    </a:lnTo>
                    <a:lnTo>
                      <a:pt x="93246"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7" name="任意多边形: 形状 36">
                <a:extLst>
                  <a:ext uri="{FF2B5EF4-FFF2-40B4-BE49-F238E27FC236}">
                    <a16:creationId xmlns:a16="http://schemas.microsoft.com/office/drawing/2014/main" id="{CE3839A6-4735-4855-97BA-302A3E91F324}"/>
                  </a:ext>
                </a:extLst>
              </p:cNvPr>
              <p:cNvSpPr/>
              <p:nvPr/>
            </p:nvSpPr>
            <p:spPr>
              <a:xfrm>
                <a:off x="8455807" y="4661434"/>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8" name="任意多边形: 形状 37">
                <a:extLst>
                  <a:ext uri="{FF2B5EF4-FFF2-40B4-BE49-F238E27FC236}">
                    <a16:creationId xmlns:a16="http://schemas.microsoft.com/office/drawing/2014/main" id="{446FFB9F-FEDE-43DE-86FF-DF5CD2A3F7D3}"/>
                  </a:ext>
                </a:extLst>
              </p:cNvPr>
              <p:cNvSpPr/>
              <p:nvPr/>
            </p:nvSpPr>
            <p:spPr>
              <a:xfrm>
                <a:off x="8131473" y="4937118"/>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39" name="任意多边形: 形状 38">
                <a:extLst>
                  <a:ext uri="{FF2B5EF4-FFF2-40B4-BE49-F238E27FC236}">
                    <a16:creationId xmlns:a16="http://schemas.microsoft.com/office/drawing/2014/main" id="{C8DB6299-33BE-4AF1-A4D2-8DADF06F6D72}"/>
                  </a:ext>
                </a:extLst>
              </p:cNvPr>
              <p:cNvSpPr/>
              <p:nvPr/>
            </p:nvSpPr>
            <p:spPr>
              <a:xfrm>
                <a:off x="8244990" y="4937118"/>
                <a:ext cx="64867" cy="243251"/>
              </a:xfrm>
              <a:custGeom>
                <a:avLst/>
                <a:gdLst/>
                <a:ahLst/>
                <a:cxnLst/>
                <a:rect l="0" t="0" r="0" b="0"/>
                <a:pathLst>
                  <a:path w="64866" h="243250">
                    <a:moveTo>
                      <a:pt x="12163" y="12163"/>
                    </a:moveTo>
                    <a:lnTo>
                      <a:pt x="60813" y="12163"/>
                    </a:lnTo>
                    <a:lnTo>
                      <a:pt x="60813"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40" name="任意多边形: 形状 39">
                <a:extLst>
                  <a:ext uri="{FF2B5EF4-FFF2-40B4-BE49-F238E27FC236}">
                    <a16:creationId xmlns:a16="http://schemas.microsoft.com/office/drawing/2014/main" id="{21F2A78E-C3BC-4A28-B9EE-9404E05E5119}"/>
                  </a:ext>
                </a:extLst>
              </p:cNvPr>
              <p:cNvSpPr/>
              <p:nvPr/>
            </p:nvSpPr>
            <p:spPr>
              <a:xfrm>
                <a:off x="8342290" y="4937118"/>
                <a:ext cx="97300" cy="243251"/>
              </a:xfrm>
              <a:custGeom>
                <a:avLst/>
                <a:gdLst/>
                <a:ahLst/>
                <a:cxnLst/>
                <a:rect l="0" t="0" r="0" b="0"/>
                <a:pathLst>
                  <a:path w="97300" h="243250">
                    <a:moveTo>
                      <a:pt x="12163" y="12163"/>
                    </a:moveTo>
                    <a:lnTo>
                      <a:pt x="93246" y="12163"/>
                    </a:lnTo>
                    <a:lnTo>
                      <a:pt x="93246"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41" name="任意多边形: 形状 40">
                <a:extLst>
                  <a:ext uri="{FF2B5EF4-FFF2-40B4-BE49-F238E27FC236}">
                    <a16:creationId xmlns:a16="http://schemas.microsoft.com/office/drawing/2014/main" id="{B2D1F8C7-BB86-4E8B-9E97-BA119D06B51C}"/>
                  </a:ext>
                </a:extLst>
              </p:cNvPr>
              <p:cNvSpPr/>
              <p:nvPr/>
            </p:nvSpPr>
            <p:spPr>
              <a:xfrm>
                <a:off x="8569324" y="4937118"/>
                <a:ext cx="81084" cy="243251"/>
              </a:xfrm>
              <a:custGeom>
                <a:avLst/>
                <a:gdLst/>
                <a:ahLst/>
                <a:cxnLst/>
                <a:rect l="0" t="0" r="0" b="0"/>
                <a:pathLst>
                  <a:path w="81083" h="243250">
                    <a:moveTo>
                      <a:pt x="12163" y="12163"/>
                    </a:moveTo>
                    <a:lnTo>
                      <a:pt x="77029" y="12163"/>
                    </a:lnTo>
                    <a:lnTo>
                      <a:pt x="77029" y="239197"/>
                    </a:lnTo>
                    <a:lnTo>
                      <a:pt x="12163" y="239197"/>
                    </a:lnTo>
                    <a:close/>
                  </a:path>
                </a:pathLst>
              </a:custGeom>
              <a:solidFill>
                <a:srgbClr val="1B1E2D"/>
              </a:solidFill>
              <a:ln w="9525" cap="flat">
                <a:noFill/>
                <a:prstDash val="solid"/>
                <a:miter/>
              </a:ln>
            </p:spPr>
            <p:txBody>
              <a:bodyPr anchor="ctr"/>
              <a:lstStyle/>
              <a:p>
                <a:pPr algn="ctr"/>
                <a:endParaRPr/>
              </a:p>
            </p:txBody>
          </p:sp>
          <p:sp>
            <p:nvSpPr>
              <p:cNvPr id="42" name="任意多边形: 形状 41">
                <a:extLst>
                  <a:ext uri="{FF2B5EF4-FFF2-40B4-BE49-F238E27FC236}">
                    <a16:creationId xmlns:a16="http://schemas.microsoft.com/office/drawing/2014/main" id="{8C2A773D-504A-4C46-BCE1-10765C4A1372}"/>
                  </a:ext>
                </a:extLst>
              </p:cNvPr>
              <p:cNvSpPr/>
              <p:nvPr/>
            </p:nvSpPr>
            <p:spPr>
              <a:xfrm>
                <a:off x="8131473" y="5229019"/>
                <a:ext cx="81084" cy="227034"/>
              </a:xfrm>
              <a:custGeom>
                <a:avLst/>
                <a:gdLst/>
                <a:ahLst/>
                <a:cxnLst/>
                <a:rect l="0" t="0" r="0" b="0"/>
                <a:pathLst>
                  <a:path w="81083" h="227033">
                    <a:moveTo>
                      <a:pt x="12163" y="12163"/>
                    </a:moveTo>
                    <a:lnTo>
                      <a:pt x="77029" y="12163"/>
                    </a:lnTo>
                    <a:lnTo>
                      <a:pt x="77029" y="222980"/>
                    </a:lnTo>
                    <a:lnTo>
                      <a:pt x="12163" y="222980"/>
                    </a:lnTo>
                    <a:close/>
                  </a:path>
                </a:pathLst>
              </a:custGeom>
              <a:solidFill>
                <a:srgbClr val="1B1E2D"/>
              </a:solidFill>
              <a:ln w="9525" cap="flat">
                <a:noFill/>
                <a:prstDash val="solid"/>
                <a:miter/>
              </a:ln>
            </p:spPr>
            <p:txBody>
              <a:bodyPr anchor="ctr"/>
              <a:lstStyle/>
              <a:p>
                <a:pPr algn="ctr"/>
                <a:endParaRPr/>
              </a:p>
            </p:txBody>
          </p:sp>
          <p:sp>
            <p:nvSpPr>
              <p:cNvPr id="43" name="任意多边形: 形状 42">
                <a:extLst>
                  <a:ext uri="{FF2B5EF4-FFF2-40B4-BE49-F238E27FC236}">
                    <a16:creationId xmlns:a16="http://schemas.microsoft.com/office/drawing/2014/main" id="{4F3F6FE5-85FB-4D34-9CD5-E2650E691884}"/>
                  </a:ext>
                </a:extLst>
              </p:cNvPr>
              <p:cNvSpPr/>
              <p:nvPr/>
            </p:nvSpPr>
            <p:spPr>
              <a:xfrm>
                <a:off x="8342290" y="5229019"/>
                <a:ext cx="97300" cy="227034"/>
              </a:xfrm>
              <a:custGeom>
                <a:avLst/>
                <a:gdLst/>
                <a:ahLst/>
                <a:cxnLst/>
                <a:rect l="0" t="0" r="0" b="0"/>
                <a:pathLst>
                  <a:path w="97300" h="227033">
                    <a:moveTo>
                      <a:pt x="12163" y="12163"/>
                    </a:moveTo>
                    <a:lnTo>
                      <a:pt x="93246" y="12163"/>
                    </a:lnTo>
                    <a:lnTo>
                      <a:pt x="93246" y="222980"/>
                    </a:lnTo>
                    <a:lnTo>
                      <a:pt x="12163" y="222980"/>
                    </a:lnTo>
                    <a:close/>
                  </a:path>
                </a:pathLst>
              </a:custGeom>
              <a:solidFill>
                <a:srgbClr val="1B1E2D"/>
              </a:solidFill>
              <a:ln w="9525" cap="flat">
                <a:noFill/>
                <a:prstDash val="solid"/>
                <a:miter/>
              </a:ln>
            </p:spPr>
            <p:txBody>
              <a:bodyPr anchor="ctr"/>
              <a:lstStyle/>
              <a:p>
                <a:pPr algn="ctr"/>
                <a:endParaRPr/>
              </a:p>
            </p:txBody>
          </p:sp>
          <p:sp>
            <p:nvSpPr>
              <p:cNvPr id="44" name="任意多边形: 形状 43">
                <a:extLst>
                  <a:ext uri="{FF2B5EF4-FFF2-40B4-BE49-F238E27FC236}">
                    <a16:creationId xmlns:a16="http://schemas.microsoft.com/office/drawing/2014/main" id="{EA2AF60B-294C-44CB-B79A-1F364824202A}"/>
                  </a:ext>
                </a:extLst>
              </p:cNvPr>
              <p:cNvSpPr/>
              <p:nvPr/>
            </p:nvSpPr>
            <p:spPr>
              <a:xfrm>
                <a:off x="8455807" y="5229019"/>
                <a:ext cx="81084" cy="227034"/>
              </a:xfrm>
              <a:custGeom>
                <a:avLst/>
                <a:gdLst/>
                <a:ahLst/>
                <a:cxnLst/>
                <a:rect l="0" t="0" r="0" b="0"/>
                <a:pathLst>
                  <a:path w="81083" h="227033">
                    <a:moveTo>
                      <a:pt x="12163" y="12163"/>
                    </a:moveTo>
                    <a:lnTo>
                      <a:pt x="77029" y="12163"/>
                    </a:lnTo>
                    <a:lnTo>
                      <a:pt x="77029" y="222980"/>
                    </a:lnTo>
                    <a:lnTo>
                      <a:pt x="12163" y="222980"/>
                    </a:lnTo>
                    <a:close/>
                  </a:path>
                </a:pathLst>
              </a:custGeom>
              <a:solidFill>
                <a:srgbClr val="1B1E2D"/>
              </a:solidFill>
              <a:ln w="9525" cap="flat">
                <a:noFill/>
                <a:prstDash val="solid"/>
                <a:miter/>
              </a:ln>
            </p:spPr>
            <p:txBody>
              <a:bodyPr anchor="ctr"/>
              <a:lstStyle/>
              <a:p>
                <a:pPr algn="ctr"/>
                <a:endParaRPr/>
              </a:p>
            </p:txBody>
          </p:sp>
          <p:sp>
            <p:nvSpPr>
              <p:cNvPr id="45" name="任意多边形: 形状 44">
                <a:extLst>
                  <a:ext uri="{FF2B5EF4-FFF2-40B4-BE49-F238E27FC236}">
                    <a16:creationId xmlns:a16="http://schemas.microsoft.com/office/drawing/2014/main" id="{B17A6E67-C5C1-4494-BA30-88C724C48FDA}"/>
                  </a:ext>
                </a:extLst>
              </p:cNvPr>
              <p:cNvSpPr/>
              <p:nvPr/>
            </p:nvSpPr>
            <p:spPr>
              <a:xfrm>
                <a:off x="6509802"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46" name="任意多边形: 形状 45">
                <a:extLst>
                  <a:ext uri="{FF2B5EF4-FFF2-40B4-BE49-F238E27FC236}">
                    <a16:creationId xmlns:a16="http://schemas.microsoft.com/office/drawing/2014/main" id="{DC9B8429-E2A9-4B0A-BD62-46C9ED56FE67}"/>
                  </a:ext>
                </a:extLst>
              </p:cNvPr>
              <p:cNvSpPr/>
              <p:nvPr/>
            </p:nvSpPr>
            <p:spPr>
              <a:xfrm>
                <a:off x="6509802" y="4580350"/>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47" name="任意多边形: 形状 46">
                <a:extLst>
                  <a:ext uri="{FF2B5EF4-FFF2-40B4-BE49-F238E27FC236}">
                    <a16:creationId xmlns:a16="http://schemas.microsoft.com/office/drawing/2014/main" id="{8DDAE703-4B10-4811-B07E-D60C78103ACA}"/>
                  </a:ext>
                </a:extLst>
              </p:cNvPr>
              <p:cNvSpPr/>
              <p:nvPr/>
            </p:nvSpPr>
            <p:spPr>
              <a:xfrm>
                <a:off x="6509802" y="4872251"/>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48" name="任意多边形: 形状 47">
                <a:extLst>
                  <a:ext uri="{FF2B5EF4-FFF2-40B4-BE49-F238E27FC236}">
                    <a16:creationId xmlns:a16="http://schemas.microsoft.com/office/drawing/2014/main" id="{CE29DC70-7F73-4385-B72E-8AD6CC3BE22E}"/>
                  </a:ext>
                </a:extLst>
              </p:cNvPr>
              <p:cNvSpPr/>
              <p:nvPr/>
            </p:nvSpPr>
            <p:spPr>
              <a:xfrm>
                <a:off x="6509802"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49" name="任意多边形: 形状 48">
                <a:extLst>
                  <a:ext uri="{FF2B5EF4-FFF2-40B4-BE49-F238E27FC236}">
                    <a16:creationId xmlns:a16="http://schemas.microsoft.com/office/drawing/2014/main" id="{AA3F0C24-A368-423E-B159-F9455843E33D}"/>
                  </a:ext>
                </a:extLst>
              </p:cNvPr>
              <p:cNvSpPr/>
              <p:nvPr/>
            </p:nvSpPr>
            <p:spPr>
              <a:xfrm>
                <a:off x="6380069"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50" name="任意多边形: 形状 49">
                <a:extLst>
                  <a:ext uri="{FF2B5EF4-FFF2-40B4-BE49-F238E27FC236}">
                    <a16:creationId xmlns:a16="http://schemas.microsoft.com/office/drawing/2014/main" id="{EFDC314B-AAAA-4B5B-B828-2604818D9538}"/>
                  </a:ext>
                </a:extLst>
              </p:cNvPr>
              <p:cNvSpPr/>
              <p:nvPr/>
            </p:nvSpPr>
            <p:spPr>
              <a:xfrm>
                <a:off x="6380069" y="4580350"/>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51" name="任意多边形: 形状 50">
                <a:extLst>
                  <a:ext uri="{FF2B5EF4-FFF2-40B4-BE49-F238E27FC236}">
                    <a16:creationId xmlns:a16="http://schemas.microsoft.com/office/drawing/2014/main" id="{D80B1AA9-68CA-420D-966A-4A4124ED511A}"/>
                  </a:ext>
                </a:extLst>
              </p:cNvPr>
              <p:cNvSpPr/>
              <p:nvPr/>
            </p:nvSpPr>
            <p:spPr>
              <a:xfrm>
                <a:off x="6380069"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52" name="任意多边形: 形状 51">
                <a:extLst>
                  <a:ext uri="{FF2B5EF4-FFF2-40B4-BE49-F238E27FC236}">
                    <a16:creationId xmlns:a16="http://schemas.microsoft.com/office/drawing/2014/main" id="{A32B77D5-04E3-42E3-B929-EA1069041CCB}"/>
                  </a:ext>
                </a:extLst>
              </p:cNvPr>
              <p:cNvSpPr/>
              <p:nvPr/>
            </p:nvSpPr>
            <p:spPr>
              <a:xfrm>
                <a:off x="6250335"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53" name="任意多边形: 形状 52">
                <a:extLst>
                  <a:ext uri="{FF2B5EF4-FFF2-40B4-BE49-F238E27FC236}">
                    <a16:creationId xmlns:a16="http://schemas.microsoft.com/office/drawing/2014/main" id="{1B766973-CD1C-4404-A7C7-5188272E6689}"/>
                  </a:ext>
                </a:extLst>
              </p:cNvPr>
              <p:cNvSpPr/>
              <p:nvPr/>
            </p:nvSpPr>
            <p:spPr>
              <a:xfrm>
                <a:off x="6250335" y="4872251"/>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54" name="任意多边形: 形状 53">
                <a:extLst>
                  <a:ext uri="{FF2B5EF4-FFF2-40B4-BE49-F238E27FC236}">
                    <a16:creationId xmlns:a16="http://schemas.microsoft.com/office/drawing/2014/main" id="{E4D096B6-12FE-4F2E-B4C4-2D1608EDBFEC}"/>
                  </a:ext>
                </a:extLst>
              </p:cNvPr>
              <p:cNvSpPr/>
              <p:nvPr/>
            </p:nvSpPr>
            <p:spPr>
              <a:xfrm>
                <a:off x="6250335"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55" name="任意多边形: 形状 54">
                <a:extLst>
                  <a:ext uri="{FF2B5EF4-FFF2-40B4-BE49-F238E27FC236}">
                    <a16:creationId xmlns:a16="http://schemas.microsoft.com/office/drawing/2014/main" id="{C727FAEC-F89C-455C-9659-BD22B98A2447}"/>
                  </a:ext>
                </a:extLst>
              </p:cNvPr>
              <p:cNvSpPr/>
              <p:nvPr/>
            </p:nvSpPr>
            <p:spPr>
              <a:xfrm>
                <a:off x="6120601" y="4272233"/>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56" name="任意多边形: 形状 55">
                <a:extLst>
                  <a:ext uri="{FF2B5EF4-FFF2-40B4-BE49-F238E27FC236}">
                    <a16:creationId xmlns:a16="http://schemas.microsoft.com/office/drawing/2014/main" id="{C2A189D6-584C-40A9-8013-F3C1DCB02738}"/>
                  </a:ext>
                </a:extLst>
              </p:cNvPr>
              <p:cNvSpPr/>
              <p:nvPr/>
            </p:nvSpPr>
            <p:spPr>
              <a:xfrm>
                <a:off x="6120601" y="4580350"/>
                <a:ext cx="64867" cy="259467"/>
              </a:xfrm>
              <a:custGeom>
                <a:avLst/>
                <a:gdLst/>
                <a:ahLst/>
                <a:cxnLst/>
                <a:rect l="0" t="0" r="0" b="0"/>
                <a:pathLst>
                  <a:path w="64866" h="259467">
                    <a:moveTo>
                      <a:pt x="12163" y="12163"/>
                    </a:moveTo>
                    <a:lnTo>
                      <a:pt x="60813" y="12163"/>
                    </a:lnTo>
                    <a:lnTo>
                      <a:pt x="60813" y="255413"/>
                    </a:lnTo>
                    <a:lnTo>
                      <a:pt x="12163" y="255413"/>
                    </a:lnTo>
                    <a:close/>
                  </a:path>
                </a:pathLst>
              </a:custGeom>
              <a:solidFill>
                <a:srgbClr val="1B1E2D"/>
              </a:solidFill>
              <a:ln w="9525" cap="flat">
                <a:noFill/>
                <a:prstDash val="solid"/>
                <a:miter/>
              </a:ln>
            </p:spPr>
            <p:txBody>
              <a:bodyPr anchor="ctr"/>
              <a:lstStyle/>
              <a:p>
                <a:pPr algn="ctr"/>
                <a:endParaRPr/>
              </a:p>
            </p:txBody>
          </p:sp>
          <p:sp>
            <p:nvSpPr>
              <p:cNvPr id="57" name="任意多边形: 形状 56">
                <a:extLst>
                  <a:ext uri="{FF2B5EF4-FFF2-40B4-BE49-F238E27FC236}">
                    <a16:creationId xmlns:a16="http://schemas.microsoft.com/office/drawing/2014/main" id="{AD920A4C-E1A4-49EA-AB18-5C348727A8E6}"/>
                  </a:ext>
                </a:extLst>
              </p:cNvPr>
              <p:cNvSpPr/>
              <p:nvPr/>
            </p:nvSpPr>
            <p:spPr>
              <a:xfrm>
                <a:off x="6120601" y="4872251"/>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58" name="任意多边形: 形状 57">
                <a:extLst>
                  <a:ext uri="{FF2B5EF4-FFF2-40B4-BE49-F238E27FC236}">
                    <a16:creationId xmlns:a16="http://schemas.microsoft.com/office/drawing/2014/main" id="{FA08C266-4B16-4FFF-BBB4-6034EF33869C}"/>
                  </a:ext>
                </a:extLst>
              </p:cNvPr>
              <p:cNvSpPr/>
              <p:nvPr/>
            </p:nvSpPr>
            <p:spPr>
              <a:xfrm>
                <a:off x="6120601" y="5180369"/>
                <a:ext cx="64867" cy="275684"/>
              </a:xfrm>
              <a:custGeom>
                <a:avLst/>
                <a:gdLst/>
                <a:ahLst/>
                <a:cxnLst/>
                <a:rect l="0" t="0" r="0" b="0"/>
                <a:pathLst>
                  <a:path w="64866" h="275684">
                    <a:moveTo>
                      <a:pt x="12163" y="12163"/>
                    </a:moveTo>
                    <a:lnTo>
                      <a:pt x="60813" y="12163"/>
                    </a:lnTo>
                    <a:lnTo>
                      <a:pt x="60813" y="271630"/>
                    </a:lnTo>
                    <a:lnTo>
                      <a:pt x="12163" y="271630"/>
                    </a:lnTo>
                    <a:close/>
                  </a:path>
                </a:pathLst>
              </a:custGeom>
              <a:solidFill>
                <a:srgbClr val="1B1E2D"/>
              </a:solidFill>
              <a:ln w="9525" cap="flat">
                <a:noFill/>
                <a:prstDash val="solid"/>
                <a:miter/>
              </a:ln>
            </p:spPr>
            <p:txBody>
              <a:bodyPr anchor="ctr"/>
              <a:lstStyle/>
              <a:p>
                <a:pPr algn="ctr"/>
                <a:endParaRPr/>
              </a:p>
            </p:txBody>
          </p:sp>
          <p:sp>
            <p:nvSpPr>
              <p:cNvPr id="59" name="任意多边形: 形状 58">
                <a:extLst>
                  <a:ext uri="{FF2B5EF4-FFF2-40B4-BE49-F238E27FC236}">
                    <a16:creationId xmlns:a16="http://schemas.microsoft.com/office/drawing/2014/main" id="{821DA52F-DB3A-4B77-9FB4-F022A32CFE29}"/>
                  </a:ext>
                </a:extLst>
              </p:cNvPr>
              <p:cNvSpPr/>
              <p:nvPr/>
            </p:nvSpPr>
            <p:spPr>
              <a:xfrm>
                <a:off x="11853208" y="3996549"/>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60" name="任意多边形: 形状 59">
                <a:extLst>
                  <a:ext uri="{FF2B5EF4-FFF2-40B4-BE49-F238E27FC236}">
                    <a16:creationId xmlns:a16="http://schemas.microsoft.com/office/drawing/2014/main" id="{124C9B5B-D441-4E89-9973-77C0245AAE87}"/>
                  </a:ext>
                </a:extLst>
              </p:cNvPr>
              <p:cNvSpPr/>
              <p:nvPr/>
            </p:nvSpPr>
            <p:spPr>
              <a:xfrm>
                <a:off x="12140243" y="3996549"/>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61" name="任意多边形: 形状 60">
                <a:extLst>
                  <a:ext uri="{FF2B5EF4-FFF2-40B4-BE49-F238E27FC236}">
                    <a16:creationId xmlns:a16="http://schemas.microsoft.com/office/drawing/2014/main" id="{709FF31E-764D-49DE-B28A-A9E4185A34A5}"/>
                  </a:ext>
                </a:extLst>
              </p:cNvPr>
              <p:cNvSpPr/>
              <p:nvPr/>
            </p:nvSpPr>
            <p:spPr>
              <a:xfrm>
                <a:off x="12140243" y="4077632"/>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2" name="任意多边形: 形状 61">
                <a:extLst>
                  <a:ext uri="{FF2B5EF4-FFF2-40B4-BE49-F238E27FC236}">
                    <a16:creationId xmlns:a16="http://schemas.microsoft.com/office/drawing/2014/main" id="{4242D999-E8BD-4489-AE22-AFB1010915AC}"/>
                  </a:ext>
                </a:extLst>
              </p:cNvPr>
              <p:cNvSpPr/>
              <p:nvPr/>
            </p:nvSpPr>
            <p:spPr>
              <a:xfrm>
                <a:off x="11853208" y="4077632"/>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3" name="任意多边形: 形状 62">
                <a:extLst>
                  <a:ext uri="{FF2B5EF4-FFF2-40B4-BE49-F238E27FC236}">
                    <a16:creationId xmlns:a16="http://schemas.microsoft.com/office/drawing/2014/main" id="{C24467DB-E5B5-4493-BC89-1CBC4E695083}"/>
                  </a:ext>
                </a:extLst>
              </p:cNvPr>
              <p:cNvSpPr/>
              <p:nvPr/>
            </p:nvSpPr>
            <p:spPr>
              <a:xfrm>
                <a:off x="12140243" y="4256016"/>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4" name="任意多边形: 形状 63">
                <a:extLst>
                  <a:ext uri="{FF2B5EF4-FFF2-40B4-BE49-F238E27FC236}">
                    <a16:creationId xmlns:a16="http://schemas.microsoft.com/office/drawing/2014/main" id="{1C76124F-C2BF-4DC6-99E6-88A6DC946E07}"/>
                  </a:ext>
                </a:extLst>
              </p:cNvPr>
              <p:cNvSpPr/>
              <p:nvPr/>
            </p:nvSpPr>
            <p:spPr>
              <a:xfrm>
                <a:off x="11853208" y="4256016"/>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5" name="任意多边形: 形状 64">
                <a:extLst>
                  <a:ext uri="{FF2B5EF4-FFF2-40B4-BE49-F238E27FC236}">
                    <a16:creationId xmlns:a16="http://schemas.microsoft.com/office/drawing/2014/main" id="{8175EB22-6BD8-4EB3-85BF-8AB51B9D13D8}"/>
                  </a:ext>
                </a:extLst>
              </p:cNvPr>
              <p:cNvSpPr/>
              <p:nvPr/>
            </p:nvSpPr>
            <p:spPr>
              <a:xfrm>
                <a:off x="11853208" y="4353316"/>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66" name="任意多边形: 形状 65">
                <a:extLst>
                  <a:ext uri="{FF2B5EF4-FFF2-40B4-BE49-F238E27FC236}">
                    <a16:creationId xmlns:a16="http://schemas.microsoft.com/office/drawing/2014/main" id="{8F773222-2277-437F-8B28-50CE528FB321}"/>
                  </a:ext>
                </a:extLst>
              </p:cNvPr>
              <p:cNvSpPr/>
              <p:nvPr/>
            </p:nvSpPr>
            <p:spPr>
              <a:xfrm>
                <a:off x="12140243" y="4353316"/>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67" name="任意多边形: 形状 66">
                <a:extLst>
                  <a:ext uri="{FF2B5EF4-FFF2-40B4-BE49-F238E27FC236}">
                    <a16:creationId xmlns:a16="http://schemas.microsoft.com/office/drawing/2014/main" id="{DBB905E9-C022-4EF2-A594-6637C9185ECB}"/>
                  </a:ext>
                </a:extLst>
              </p:cNvPr>
              <p:cNvSpPr/>
              <p:nvPr/>
            </p:nvSpPr>
            <p:spPr>
              <a:xfrm>
                <a:off x="11853208" y="4434400"/>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8" name="任意多边形: 形状 67">
                <a:extLst>
                  <a:ext uri="{FF2B5EF4-FFF2-40B4-BE49-F238E27FC236}">
                    <a16:creationId xmlns:a16="http://schemas.microsoft.com/office/drawing/2014/main" id="{F952324B-DF8E-466A-A600-3109F2BCF084}"/>
                  </a:ext>
                </a:extLst>
              </p:cNvPr>
              <p:cNvSpPr/>
              <p:nvPr/>
            </p:nvSpPr>
            <p:spPr>
              <a:xfrm>
                <a:off x="12140243" y="4434400"/>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69" name="任意多边形: 形状 68">
                <a:extLst>
                  <a:ext uri="{FF2B5EF4-FFF2-40B4-BE49-F238E27FC236}">
                    <a16:creationId xmlns:a16="http://schemas.microsoft.com/office/drawing/2014/main" id="{ADC6D71A-CF01-4B91-A885-38AC7B86E011}"/>
                  </a:ext>
                </a:extLst>
              </p:cNvPr>
              <p:cNvSpPr/>
              <p:nvPr/>
            </p:nvSpPr>
            <p:spPr>
              <a:xfrm>
                <a:off x="11853208" y="4612784"/>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0" name="任意多边形: 形状 69">
                <a:extLst>
                  <a:ext uri="{FF2B5EF4-FFF2-40B4-BE49-F238E27FC236}">
                    <a16:creationId xmlns:a16="http://schemas.microsoft.com/office/drawing/2014/main" id="{9409DEB8-C598-4C5F-B23A-EBED4F0D9262}"/>
                  </a:ext>
                </a:extLst>
              </p:cNvPr>
              <p:cNvSpPr/>
              <p:nvPr/>
            </p:nvSpPr>
            <p:spPr>
              <a:xfrm>
                <a:off x="12140243" y="4612784"/>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1" name="任意多边形: 形状 70">
                <a:extLst>
                  <a:ext uri="{FF2B5EF4-FFF2-40B4-BE49-F238E27FC236}">
                    <a16:creationId xmlns:a16="http://schemas.microsoft.com/office/drawing/2014/main" id="{D348AAB8-9965-434B-BBDE-F3D7A32B2E37}"/>
                  </a:ext>
                </a:extLst>
              </p:cNvPr>
              <p:cNvSpPr/>
              <p:nvPr/>
            </p:nvSpPr>
            <p:spPr>
              <a:xfrm>
                <a:off x="11853208" y="4710084"/>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72" name="任意多边形: 形状 71">
                <a:extLst>
                  <a:ext uri="{FF2B5EF4-FFF2-40B4-BE49-F238E27FC236}">
                    <a16:creationId xmlns:a16="http://schemas.microsoft.com/office/drawing/2014/main" id="{9ADD3BF0-C013-431C-975B-F3ED52F7B4EA}"/>
                  </a:ext>
                </a:extLst>
              </p:cNvPr>
              <p:cNvSpPr/>
              <p:nvPr/>
            </p:nvSpPr>
            <p:spPr>
              <a:xfrm>
                <a:off x="12140243" y="4710084"/>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73" name="任意多边形: 形状 72">
                <a:extLst>
                  <a:ext uri="{FF2B5EF4-FFF2-40B4-BE49-F238E27FC236}">
                    <a16:creationId xmlns:a16="http://schemas.microsoft.com/office/drawing/2014/main" id="{85DF5F9C-FDA0-4F76-A3EA-080D62F65A41}"/>
                  </a:ext>
                </a:extLst>
              </p:cNvPr>
              <p:cNvSpPr/>
              <p:nvPr/>
            </p:nvSpPr>
            <p:spPr>
              <a:xfrm>
                <a:off x="11853208" y="4791168"/>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4" name="任意多边形: 形状 73">
                <a:extLst>
                  <a:ext uri="{FF2B5EF4-FFF2-40B4-BE49-F238E27FC236}">
                    <a16:creationId xmlns:a16="http://schemas.microsoft.com/office/drawing/2014/main" id="{3CF53855-B733-46C6-A5B1-308AACC7E0AD}"/>
                  </a:ext>
                </a:extLst>
              </p:cNvPr>
              <p:cNvSpPr/>
              <p:nvPr/>
            </p:nvSpPr>
            <p:spPr>
              <a:xfrm>
                <a:off x="12140243" y="4791168"/>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5" name="任意多边形: 形状 74">
                <a:extLst>
                  <a:ext uri="{FF2B5EF4-FFF2-40B4-BE49-F238E27FC236}">
                    <a16:creationId xmlns:a16="http://schemas.microsoft.com/office/drawing/2014/main" id="{32B3B402-9033-4C2B-A318-06222299156E}"/>
                  </a:ext>
                </a:extLst>
              </p:cNvPr>
              <p:cNvSpPr/>
              <p:nvPr/>
            </p:nvSpPr>
            <p:spPr>
              <a:xfrm>
                <a:off x="11853208" y="4888468"/>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76" name="任意多边形: 形状 75">
                <a:extLst>
                  <a:ext uri="{FF2B5EF4-FFF2-40B4-BE49-F238E27FC236}">
                    <a16:creationId xmlns:a16="http://schemas.microsoft.com/office/drawing/2014/main" id="{D76286A3-7EC2-4901-A64E-DADEDF6D8D7F}"/>
                  </a:ext>
                </a:extLst>
              </p:cNvPr>
              <p:cNvSpPr/>
              <p:nvPr/>
            </p:nvSpPr>
            <p:spPr>
              <a:xfrm>
                <a:off x="12140243" y="4888468"/>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77" name="任意多边形: 形状 76">
                <a:extLst>
                  <a:ext uri="{FF2B5EF4-FFF2-40B4-BE49-F238E27FC236}">
                    <a16:creationId xmlns:a16="http://schemas.microsoft.com/office/drawing/2014/main" id="{D2859979-7FCF-4987-9DD4-BB01BEE14C80}"/>
                  </a:ext>
                </a:extLst>
              </p:cNvPr>
              <p:cNvSpPr/>
              <p:nvPr/>
            </p:nvSpPr>
            <p:spPr>
              <a:xfrm>
                <a:off x="11853208" y="4969551"/>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8" name="任意多边形: 形状 77">
                <a:extLst>
                  <a:ext uri="{FF2B5EF4-FFF2-40B4-BE49-F238E27FC236}">
                    <a16:creationId xmlns:a16="http://schemas.microsoft.com/office/drawing/2014/main" id="{7BAE0649-AB08-4212-9405-A16756789625}"/>
                  </a:ext>
                </a:extLst>
              </p:cNvPr>
              <p:cNvSpPr/>
              <p:nvPr/>
            </p:nvSpPr>
            <p:spPr>
              <a:xfrm>
                <a:off x="12140243" y="4969551"/>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79" name="任意多边形: 形状 78">
                <a:extLst>
                  <a:ext uri="{FF2B5EF4-FFF2-40B4-BE49-F238E27FC236}">
                    <a16:creationId xmlns:a16="http://schemas.microsoft.com/office/drawing/2014/main" id="{B8587D22-EFDF-42D6-95DE-AD5AB9EEBB10}"/>
                  </a:ext>
                </a:extLst>
              </p:cNvPr>
              <p:cNvSpPr/>
              <p:nvPr/>
            </p:nvSpPr>
            <p:spPr>
              <a:xfrm>
                <a:off x="11853208" y="5147935"/>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80" name="任意多边形: 形状 79">
                <a:extLst>
                  <a:ext uri="{FF2B5EF4-FFF2-40B4-BE49-F238E27FC236}">
                    <a16:creationId xmlns:a16="http://schemas.microsoft.com/office/drawing/2014/main" id="{B333E642-16D4-43E5-AB97-3DE1944B2585}"/>
                  </a:ext>
                </a:extLst>
              </p:cNvPr>
              <p:cNvSpPr/>
              <p:nvPr/>
            </p:nvSpPr>
            <p:spPr>
              <a:xfrm>
                <a:off x="12140243" y="5147935"/>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81" name="任意多边形: 形状 80">
                <a:extLst>
                  <a:ext uri="{FF2B5EF4-FFF2-40B4-BE49-F238E27FC236}">
                    <a16:creationId xmlns:a16="http://schemas.microsoft.com/office/drawing/2014/main" id="{6DAD749F-489C-4477-9E3C-62C8A9716D88}"/>
                  </a:ext>
                </a:extLst>
              </p:cNvPr>
              <p:cNvSpPr/>
              <p:nvPr/>
            </p:nvSpPr>
            <p:spPr>
              <a:xfrm>
                <a:off x="11853208" y="5245235"/>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82" name="任意多边形: 形状 81">
                <a:extLst>
                  <a:ext uri="{FF2B5EF4-FFF2-40B4-BE49-F238E27FC236}">
                    <a16:creationId xmlns:a16="http://schemas.microsoft.com/office/drawing/2014/main" id="{2E22EEE2-F17D-4528-A3E0-3EABA6F9E167}"/>
                  </a:ext>
                </a:extLst>
              </p:cNvPr>
              <p:cNvSpPr/>
              <p:nvPr/>
            </p:nvSpPr>
            <p:spPr>
              <a:xfrm>
                <a:off x="12140243" y="5245235"/>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83" name="任意多边形: 形状 82">
                <a:extLst>
                  <a:ext uri="{FF2B5EF4-FFF2-40B4-BE49-F238E27FC236}">
                    <a16:creationId xmlns:a16="http://schemas.microsoft.com/office/drawing/2014/main" id="{76A93A2A-C5FD-4EAF-B980-86A3E6F20639}"/>
                  </a:ext>
                </a:extLst>
              </p:cNvPr>
              <p:cNvSpPr/>
              <p:nvPr/>
            </p:nvSpPr>
            <p:spPr>
              <a:xfrm>
                <a:off x="11853208" y="5326319"/>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84" name="任意多边形: 形状 83">
                <a:extLst>
                  <a:ext uri="{FF2B5EF4-FFF2-40B4-BE49-F238E27FC236}">
                    <a16:creationId xmlns:a16="http://schemas.microsoft.com/office/drawing/2014/main" id="{D8C711D2-9C38-4CC1-8DA1-538ED5332F0B}"/>
                  </a:ext>
                </a:extLst>
              </p:cNvPr>
              <p:cNvSpPr/>
              <p:nvPr/>
            </p:nvSpPr>
            <p:spPr>
              <a:xfrm>
                <a:off x="12140243" y="5326319"/>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85" name="任意多边形: 形状 84">
                <a:extLst>
                  <a:ext uri="{FF2B5EF4-FFF2-40B4-BE49-F238E27FC236}">
                    <a16:creationId xmlns:a16="http://schemas.microsoft.com/office/drawing/2014/main" id="{393A9388-E347-40D5-B8D4-F127505E89E2}"/>
                  </a:ext>
                </a:extLst>
              </p:cNvPr>
              <p:cNvSpPr/>
              <p:nvPr/>
            </p:nvSpPr>
            <p:spPr>
              <a:xfrm>
                <a:off x="11853208" y="5504703"/>
                <a:ext cx="178384" cy="64867"/>
              </a:xfrm>
              <a:custGeom>
                <a:avLst/>
                <a:gdLst/>
                <a:ahLst/>
                <a:cxnLst/>
                <a:rect l="0" t="0" r="0" b="0"/>
                <a:pathLst>
                  <a:path w="178383" h="64866">
                    <a:moveTo>
                      <a:pt x="12163" y="12163"/>
                    </a:moveTo>
                    <a:lnTo>
                      <a:pt x="169465" y="12163"/>
                    </a:lnTo>
                    <a:lnTo>
                      <a:pt x="16946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86" name="任意多边形: 形状 85">
                <a:extLst>
                  <a:ext uri="{FF2B5EF4-FFF2-40B4-BE49-F238E27FC236}">
                    <a16:creationId xmlns:a16="http://schemas.microsoft.com/office/drawing/2014/main" id="{B86B8E7A-B675-4B9D-B07B-91F9BB8E390F}"/>
                  </a:ext>
                </a:extLst>
              </p:cNvPr>
              <p:cNvSpPr/>
              <p:nvPr/>
            </p:nvSpPr>
            <p:spPr>
              <a:xfrm>
                <a:off x="12140243" y="5504703"/>
                <a:ext cx="162167" cy="64867"/>
              </a:xfrm>
              <a:custGeom>
                <a:avLst/>
                <a:gdLst/>
                <a:ahLst/>
                <a:cxnLst/>
                <a:rect l="0" t="0" r="0" b="0"/>
                <a:pathLst>
                  <a:path w="162167" h="64866">
                    <a:moveTo>
                      <a:pt x="12163" y="12163"/>
                    </a:moveTo>
                    <a:lnTo>
                      <a:pt x="162978" y="12163"/>
                    </a:lnTo>
                    <a:lnTo>
                      <a:pt x="162978" y="60813"/>
                    </a:lnTo>
                    <a:lnTo>
                      <a:pt x="12163" y="60813"/>
                    </a:lnTo>
                    <a:close/>
                  </a:path>
                </a:pathLst>
              </a:custGeom>
              <a:solidFill>
                <a:srgbClr val="1B1E2D"/>
              </a:solidFill>
              <a:ln w="9525" cap="flat">
                <a:noFill/>
                <a:prstDash val="solid"/>
                <a:miter/>
              </a:ln>
            </p:spPr>
            <p:txBody>
              <a:bodyPr anchor="ctr"/>
              <a:lstStyle/>
              <a:p>
                <a:pPr algn="ctr"/>
                <a:endParaRPr/>
              </a:p>
            </p:txBody>
          </p:sp>
          <p:sp>
            <p:nvSpPr>
              <p:cNvPr id="87" name="任意多边形: 形状 86">
                <a:extLst>
                  <a:ext uri="{FF2B5EF4-FFF2-40B4-BE49-F238E27FC236}">
                    <a16:creationId xmlns:a16="http://schemas.microsoft.com/office/drawing/2014/main" id="{DAD45747-3829-40D4-9EEB-07C61223C6E3}"/>
                  </a:ext>
                </a:extLst>
              </p:cNvPr>
              <p:cNvSpPr/>
              <p:nvPr/>
            </p:nvSpPr>
            <p:spPr>
              <a:xfrm>
                <a:off x="11853208" y="5602003"/>
                <a:ext cx="178384" cy="48650"/>
              </a:xfrm>
              <a:custGeom>
                <a:avLst/>
                <a:gdLst/>
                <a:ahLst/>
                <a:cxnLst/>
                <a:rect l="0" t="0" r="0" b="0"/>
                <a:pathLst>
                  <a:path w="178383" h="48650">
                    <a:moveTo>
                      <a:pt x="12163" y="12163"/>
                    </a:moveTo>
                    <a:lnTo>
                      <a:pt x="169465" y="12163"/>
                    </a:lnTo>
                    <a:lnTo>
                      <a:pt x="169465" y="44596"/>
                    </a:lnTo>
                    <a:lnTo>
                      <a:pt x="12163" y="44596"/>
                    </a:lnTo>
                    <a:close/>
                  </a:path>
                </a:pathLst>
              </a:custGeom>
              <a:solidFill>
                <a:srgbClr val="1B1E2D"/>
              </a:solidFill>
              <a:ln w="9525" cap="flat">
                <a:noFill/>
                <a:prstDash val="solid"/>
                <a:miter/>
              </a:ln>
            </p:spPr>
            <p:txBody>
              <a:bodyPr anchor="ctr"/>
              <a:lstStyle/>
              <a:p>
                <a:pPr algn="ctr"/>
                <a:endParaRPr/>
              </a:p>
            </p:txBody>
          </p:sp>
          <p:sp>
            <p:nvSpPr>
              <p:cNvPr id="88" name="任意多边形: 形状 87">
                <a:extLst>
                  <a:ext uri="{FF2B5EF4-FFF2-40B4-BE49-F238E27FC236}">
                    <a16:creationId xmlns:a16="http://schemas.microsoft.com/office/drawing/2014/main" id="{AC05C9B2-6F81-4A18-9BAE-CE6BF1C460C7}"/>
                  </a:ext>
                </a:extLst>
              </p:cNvPr>
              <p:cNvSpPr/>
              <p:nvPr/>
            </p:nvSpPr>
            <p:spPr>
              <a:xfrm>
                <a:off x="12140243" y="5602003"/>
                <a:ext cx="162167" cy="48650"/>
              </a:xfrm>
              <a:custGeom>
                <a:avLst/>
                <a:gdLst/>
                <a:ahLst/>
                <a:cxnLst/>
                <a:rect l="0" t="0" r="0" b="0"/>
                <a:pathLst>
                  <a:path w="162167" h="48650">
                    <a:moveTo>
                      <a:pt x="12163" y="12163"/>
                    </a:moveTo>
                    <a:lnTo>
                      <a:pt x="162978" y="12163"/>
                    </a:lnTo>
                    <a:lnTo>
                      <a:pt x="162978" y="44596"/>
                    </a:lnTo>
                    <a:lnTo>
                      <a:pt x="12163" y="44596"/>
                    </a:lnTo>
                    <a:close/>
                  </a:path>
                </a:pathLst>
              </a:custGeom>
              <a:solidFill>
                <a:srgbClr val="1B1E2D"/>
              </a:solidFill>
              <a:ln w="9525" cap="flat">
                <a:noFill/>
                <a:prstDash val="solid"/>
                <a:miter/>
              </a:ln>
            </p:spPr>
            <p:txBody>
              <a:bodyPr anchor="ctr"/>
              <a:lstStyle/>
              <a:p>
                <a:pPr algn="ctr"/>
                <a:endParaRPr/>
              </a:p>
            </p:txBody>
          </p:sp>
          <p:sp>
            <p:nvSpPr>
              <p:cNvPr id="89" name="任意多边形: 形状 88">
                <a:extLst>
                  <a:ext uri="{FF2B5EF4-FFF2-40B4-BE49-F238E27FC236}">
                    <a16:creationId xmlns:a16="http://schemas.microsoft.com/office/drawing/2014/main" id="{9C3278F6-EFC4-4799-8E8D-AB7C652B69E4}"/>
                  </a:ext>
                </a:extLst>
              </p:cNvPr>
              <p:cNvSpPr/>
              <p:nvPr/>
            </p:nvSpPr>
            <p:spPr>
              <a:xfrm>
                <a:off x="7823356"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90" name="任意多边形: 形状 89">
                <a:extLst>
                  <a:ext uri="{FF2B5EF4-FFF2-40B4-BE49-F238E27FC236}">
                    <a16:creationId xmlns:a16="http://schemas.microsoft.com/office/drawing/2014/main" id="{D936DCA2-D25C-45F1-BAC8-842C0C6C7B4E}"/>
                  </a:ext>
                </a:extLst>
              </p:cNvPr>
              <p:cNvSpPr/>
              <p:nvPr/>
            </p:nvSpPr>
            <p:spPr>
              <a:xfrm>
                <a:off x="7823356"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91" name="任意多边形: 形状 90">
                <a:extLst>
                  <a:ext uri="{FF2B5EF4-FFF2-40B4-BE49-F238E27FC236}">
                    <a16:creationId xmlns:a16="http://schemas.microsoft.com/office/drawing/2014/main" id="{A000E4F8-6E99-458A-A37F-C05C27564CE3}"/>
                  </a:ext>
                </a:extLst>
              </p:cNvPr>
              <p:cNvSpPr/>
              <p:nvPr/>
            </p:nvSpPr>
            <p:spPr>
              <a:xfrm>
                <a:off x="7823356" y="432088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92" name="任意多边形: 形状 91">
                <a:extLst>
                  <a:ext uri="{FF2B5EF4-FFF2-40B4-BE49-F238E27FC236}">
                    <a16:creationId xmlns:a16="http://schemas.microsoft.com/office/drawing/2014/main" id="{9C48C697-C0AE-4098-AE3D-E2E29C8DE4A6}"/>
                  </a:ext>
                </a:extLst>
              </p:cNvPr>
              <p:cNvSpPr/>
              <p:nvPr/>
            </p:nvSpPr>
            <p:spPr>
              <a:xfrm>
                <a:off x="7823356"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93" name="任意多边形: 形状 92">
                <a:extLst>
                  <a:ext uri="{FF2B5EF4-FFF2-40B4-BE49-F238E27FC236}">
                    <a16:creationId xmlns:a16="http://schemas.microsoft.com/office/drawing/2014/main" id="{A6DDC1C7-3A13-4056-B1D4-73AA3705F4D2}"/>
                  </a:ext>
                </a:extLst>
              </p:cNvPr>
              <p:cNvSpPr/>
              <p:nvPr/>
            </p:nvSpPr>
            <p:spPr>
              <a:xfrm>
                <a:off x="7823356" y="4612784"/>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94" name="任意多边形: 形状 93">
                <a:extLst>
                  <a:ext uri="{FF2B5EF4-FFF2-40B4-BE49-F238E27FC236}">
                    <a16:creationId xmlns:a16="http://schemas.microsoft.com/office/drawing/2014/main" id="{505E35F2-014E-49E7-B1F1-9F4A9312B03F}"/>
                  </a:ext>
                </a:extLst>
              </p:cNvPr>
              <p:cNvSpPr/>
              <p:nvPr/>
            </p:nvSpPr>
            <p:spPr>
              <a:xfrm>
                <a:off x="7823356"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95" name="任意多边形: 形状 94">
                <a:extLst>
                  <a:ext uri="{FF2B5EF4-FFF2-40B4-BE49-F238E27FC236}">
                    <a16:creationId xmlns:a16="http://schemas.microsoft.com/office/drawing/2014/main" id="{D7240D51-3E5B-4BB2-842B-6E04071B082C}"/>
                  </a:ext>
                </a:extLst>
              </p:cNvPr>
              <p:cNvSpPr/>
              <p:nvPr/>
            </p:nvSpPr>
            <p:spPr>
              <a:xfrm>
                <a:off x="7823356" y="506685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96" name="任意多边形: 形状 95">
                <a:extLst>
                  <a:ext uri="{FF2B5EF4-FFF2-40B4-BE49-F238E27FC236}">
                    <a16:creationId xmlns:a16="http://schemas.microsoft.com/office/drawing/2014/main" id="{EA0EFE22-86AD-4D76-99E0-C42ACC80DE7A}"/>
                  </a:ext>
                </a:extLst>
              </p:cNvPr>
              <p:cNvSpPr/>
              <p:nvPr/>
            </p:nvSpPr>
            <p:spPr>
              <a:xfrm>
                <a:off x="7823356" y="5358752"/>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97" name="任意多边形: 形状 96">
                <a:extLst>
                  <a:ext uri="{FF2B5EF4-FFF2-40B4-BE49-F238E27FC236}">
                    <a16:creationId xmlns:a16="http://schemas.microsoft.com/office/drawing/2014/main" id="{7AC760C2-2DF3-4F21-A6B4-FA667FCBF630}"/>
                  </a:ext>
                </a:extLst>
              </p:cNvPr>
              <p:cNvSpPr/>
              <p:nvPr/>
            </p:nvSpPr>
            <p:spPr>
              <a:xfrm>
                <a:off x="7823356" y="5504703"/>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98" name="任意多边形: 形状 97">
                <a:extLst>
                  <a:ext uri="{FF2B5EF4-FFF2-40B4-BE49-F238E27FC236}">
                    <a16:creationId xmlns:a16="http://schemas.microsoft.com/office/drawing/2014/main" id="{44E0DDA8-C288-44C1-9D48-CFB11A54880B}"/>
                  </a:ext>
                </a:extLst>
              </p:cNvPr>
              <p:cNvSpPr/>
              <p:nvPr/>
            </p:nvSpPr>
            <p:spPr>
              <a:xfrm>
                <a:off x="7661189"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99" name="任意多边形: 形状 98">
                <a:extLst>
                  <a:ext uri="{FF2B5EF4-FFF2-40B4-BE49-F238E27FC236}">
                    <a16:creationId xmlns:a16="http://schemas.microsoft.com/office/drawing/2014/main" id="{AD56A33F-7198-4F08-AB03-8D1008F02FFE}"/>
                  </a:ext>
                </a:extLst>
              </p:cNvPr>
              <p:cNvSpPr/>
              <p:nvPr/>
            </p:nvSpPr>
            <p:spPr>
              <a:xfrm>
                <a:off x="7661189"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0" name="任意多边形: 形状 99">
                <a:extLst>
                  <a:ext uri="{FF2B5EF4-FFF2-40B4-BE49-F238E27FC236}">
                    <a16:creationId xmlns:a16="http://schemas.microsoft.com/office/drawing/2014/main" id="{F0FA87AB-27E0-49FA-B071-099332BDE8FD}"/>
                  </a:ext>
                </a:extLst>
              </p:cNvPr>
              <p:cNvSpPr/>
              <p:nvPr/>
            </p:nvSpPr>
            <p:spPr>
              <a:xfrm>
                <a:off x="7661189"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101" name="任意多边形: 形状 100">
                <a:extLst>
                  <a:ext uri="{FF2B5EF4-FFF2-40B4-BE49-F238E27FC236}">
                    <a16:creationId xmlns:a16="http://schemas.microsoft.com/office/drawing/2014/main" id="{3531AA1F-65F9-47B2-A97E-1A8A00BF08C2}"/>
                  </a:ext>
                </a:extLst>
              </p:cNvPr>
              <p:cNvSpPr/>
              <p:nvPr/>
            </p:nvSpPr>
            <p:spPr>
              <a:xfrm>
                <a:off x="7661189"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2" name="任意多边形: 形状 101">
                <a:extLst>
                  <a:ext uri="{FF2B5EF4-FFF2-40B4-BE49-F238E27FC236}">
                    <a16:creationId xmlns:a16="http://schemas.microsoft.com/office/drawing/2014/main" id="{4718F30D-BE25-4903-88A7-DCC0A3B2EE3E}"/>
                  </a:ext>
                </a:extLst>
              </p:cNvPr>
              <p:cNvSpPr/>
              <p:nvPr/>
            </p:nvSpPr>
            <p:spPr>
              <a:xfrm>
                <a:off x="7661189" y="492090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3" name="任意多边形: 形状 102">
                <a:extLst>
                  <a:ext uri="{FF2B5EF4-FFF2-40B4-BE49-F238E27FC236}">
                    <a16:creationId xmlns:a16="http://schemas.microsoft.com/office/drawing/2014/main" id="{0BB576D6-B4DC-4EBC-BD6F-759D970F3588}"/>
                  </a:ext>
                </a:extLst>
              </p:cNvPr>
              <p:cNvSpPr/>
              <p:nvPr/>
            </p:nvSpPr>
            <p:spPr>
              <a:xfrm>
                <a:off x="7661189" y="506685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4" name="任意多边形: 形状 103">
                <a:extLst>
                  <a:ext uri="{FF2B5EF4-FFF2-40B4-BE49-F238E27FC236}">
                    <a16:creationId xmlns:a16="http://schemas.microsoft.com/office/drawing/2014/main" id="{5942B492-93CB-4B7F-BAA9-D524DB0021DD}"/>
                  </a:ext>
                </a:extLst>
              </p:cNvPr>
              <p:cNvSpPr/>
              <p:nvPr/>
            </p:nvSpPr>
            <p:spPr>
              <a:xfrm>
                <a:off x="7661189" y="521280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5" name="任意多边形: 形状 104">
                <a:extLst>
                  <a:ext uri="{FF2B5EF4-FFF2-40B4-BE49-F238E27FC236}">
                    <a16:creationId xmlns:a16="http://schemas.microsoft.com/office/drawing/2014/main" id="{F95B1CA8-A7E1-4AD4-87F3-845AC4088375}"/>
                  </a:ext>
                </a:extLst>
              </p:cNvPr>
              <p:cNvSpPr/>
              <p:nvPr/>
            </p:nvSpPr>
            <p:spPr>
              <a:xfrm>
                <a:off x="7661189" y="5504703"/>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06" name="任意多边形: 形状 105">
                <a:extLst>
                  <a:ext uri="{FF2B5EF4-FFF2-40B4-BE49-F238E27FC236}">
                    <a16:creationId xmlns:a16="http://schemas.microsoft.com/office/drawing/2014/main" id="{B0EFBF3E-ACE5-452A-B61B-50EB40BE679D}"/>
                  </a:ext>
                </a:extLst>
              </p:cNvPr>
              <p:cNvSpPr/>
              <p:nvPr/>
            </p:nvSpPr>
            <p:spPr>
              <a:xfrm>
                <a:off x="7499021"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7" name="任意多边形: 形状 106">
                <a:extLst>
                  <a:ext uri="{FF2B5EF4-FFF2-40B4-BE49-F238E27FC236}">
                    <a16:creationId xmlns:a16="http://schemas.microsoft.com/office/drawing/2014/main" id="{5769BDD7-D0C4-4E8E-919D-3231E149F0BA}"/>
                  </a:ext>
                </a:extLst>
              </p:cNvPr>
              <p:cNvSpPr/>
              <p:nvPr/>
            </p:nvSpPr>
            <p:spPr>
              <a:xfrm>
                <a:off x="7499021"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08" name="任意多边形: 形状 107">
                <a:extLst>
                  <a:ext uri="{FF2B5EF4-FFF2-40B4-BE49-F238E27FC236}">
                    <a16:creationId xmlns:a16="http://schemas.microsoft.com/office/drawing/2014/main" id="{AAE72781-3ABF-48BC-A586-1130E8430EE5}"/>
                  </a:ext>
                </a:extLst>
              </p:cNvPr>
              <p:cNvSpPr/>
              <p:nvPr/>
            </p:nvSpPr>
            <p:spPr>
              <a:xfrm>
                <a:off x="7499021" y="432088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109" name="任意多边形: 形状 108">
                <a:extLst>
                  <a:ext uri="{FF2B5EF4-FFF2-40B4-BE49-F238E27FC236}">
                    <a16:creationId xmlns:a16="http://schemas.microsoft.com/office/drawing/2014/main" id="{E8B9488C-3AD2-4EB1-889C-9324CD425A2B}"/>
                  </a:ext>
                </a:extLst>
              </p:cNvPr>
              <p:cNvSpPr/>
              <p:nvPr/>
            </p:nvSpPr>
            <p:spPr>
              <a:xfrm>
                <a:off x="7499021"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110" name="任意多边形: 形状 109">
                <a:extLst>
                  <a:ext uri="{FF2B5EF4-FFF2-40B4-BE49-F238E27FC236}">
                    <a16:creationId xmlns:a16="http://schemas.microsoft.com/office/drawing/2014/main" id="{04ED944A-36FD-4EB8-88BA-2724E3249F53}"/>
                  </a:ext>
                </a:extLst>
              </p:cNvPr>
              <p:cNvSpPr/>
              <p:nvPr/>
            </p:nvSpPr>
            <p:spPr>
              <a:xfrm>
                <a:off x="7499021" y="4612784"/>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11" name="任意多边形: 形状 110">
                <a:extLst>
                  <a:ext uri="{FF2B5EF4-FFF2-40B4-BE49-F238E27FC236}">
                    <a16:creationId xmlns:a16="http://schemas.microsoft.com/office/drawing/2014/main" id="{8D59F79B-BEE2-4D44-A92C-89243B6C8975}"/>
                  </a:ext>
                </a:extLst>
              </p:cNvPr>
              <p:cNvSpPr/>
              <p:nvPr/>
            </p:nvSpPr>
            <p:spPr>
              <a:xfrm>
                <a:off x="7499021"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2" name="任意多边形: 形状 111">
                <a:extLst>
                  <a:ext uri="{FF2B5EF4-FFF2-40B4-BE49-F238E27FC236}">
                    <a16:creationId xmlns:a16="http://schemas.microsoft.com/office/drawing/2014/main" id="{CE8F6221-5DAA-4B79-8147-CD21E48FAE7B}"/>
                  </a:ext>
                </a:extLst>
              </p:cNvPr>
              <p:cNvSpPr/>
              <p:nvPr/>
            </p:nvSpPr>
            <p:spPr>
              <a:xfrm>
                <a:off x="7499021" y="506685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3" name="任意多边形: 形状 112">
                <a:extLst>
                  <a:ext uri="{FF2B5EF4-FFF2-40B4-BE49-F238E27FC236}">
                    <a16:creationId xmlns:a16="http://schemas.microsoft.com/office/drawing/2014/main" id="{4244D178-E76F-408E-8A98-F77B0F4AE340}"/>
                  </a:ext>
                </a:extLst>
              </p:cNvPr>
              <p:cNvSpPr/>
              <p:nvPr/>
            </p:nvSpPr>
            <p:spPr>
              <a:xfrm>
                <a:off x="7499021" y="521280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4" name="任意多边形: 形状 113">
                <a:extLst>
                  <a:ext uri="{FF2B5EF4-FFF2-40B4-BE49-F238E27FC236}">
                    <a16:creationId xmlns:a16="http://schemas.microsoft.com/office/drawing/2014/main" id="{0CEF4B7E-E6FB-473B-AE99-35C524026A02}"/>
                  </a:ext>
                </a:extLst>
              </p:cNvPr>
              <p:cNvSpPr/>
              <p:nvPr/>
            </p:nvSpPr>
            <p:spPr>
              <a:xfrm>
                <a:off x="7499021" y="5358752"/>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15" name="任意多边形: 形状 114">
                <a:extLst>
                  <a:ext uri="{FF2B5EF4-FFF2-40B4-BE49-F238E27FC236}">
                    <a16:creationId xmlns:a16="http://schemas.microsoft.com/office/drawing/2014/main" id="{DD43917F-271F-4778-8053-3D1CE8A89C16}"/>
                  </a:ext>
                </a:extLst>
              </p:cNvPr>
              <p:cNvSpPr/>
              <p:nvPr/>
            </p:nvSpPr>
            <p:spPr>
              <a:xfrm>
                <a:off x="7336854" y="402898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6" name="任意多边形: 形状 115">
                <a:extLst>
                  <a:ext uri="{FF2B5EF4-FFF2-40B4-BE49-F238E27FC236}">
                    <a16:creationId xmlns:a16="http://schemas.microsoft.com/office/drawing/2014/main" id="{FC5CA564-CC16-4A06-89D5-D57F74DC0159}"/>
                  </a:ext>
                </a:extLst>
              </p:cNvPr>
              <p:cNvSpPr/>
              <p:nvPr/>
            </p:nvSpPr>
            <p:spPr>
              <a:xfrm>
                <a:off x="7336854" y="4174933"/>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7" name="任意多边形: 形状 116">
                <a:extLst>
                  <a:ext uri="{FF2B5EF4-FFF2-40B4-BE49-F238E27FC236}">
                    <a16:creationId xmlns:a16="http://schemas.microsoft.com/office/drawing/2014/main" id="{99722257-0661-441B-80E1-CB3F71D7A105}"/>
                  </a:ext>
                </a:extLst>
              </p:cNvPr>
              <p:cNvSpPr/>
              <p:nvPr/>
            </p:nvSpPr>
            <p:spPr>
              <a:xfrm>
                <a:off x="7336854" y="4466833"/>
                <a:ext cx="97300" cy="129734"/>
              </a:xfrm>
              <a:custGeom>
                <a:avLst/>
                <a:gdLst/>
                <a:ahLst/>
                <a:cxnLst/>
                <a:rect l="0" t="0" r="0" b="0"/>
                <a:pathLst>
                  <a:path w="97300" h="129733">
                    <a:moveTo>
                      <a:pt x="12163" y="12163"/>
                    </a:moveTo>
                    <a:lnTo>
                      <a:pt x="93246" y="12163"/>
                    </a:lnTo>
                    <a:lnTo>
                      <a:pt x="93246" y="125679"/>
                    </a:lnTo>
                    <a:lnTo>
                      <a:pt x="12163" y="125679"/>
                    </a:lnTo>
                    <a:close/>
                  </a:path>
                </a:pathLst>
              </a:custGeom>
              <a:solidFill>
                <a:srgbClr val="1B1E2D"/>
              </a:solidFill>
              <a:ln w="9525" cap="flat">
                <a:noFill/>
                <a:prstDash val="solid"/>
                <a:miter/>
              </a:ln>
            </p:spPr>
            <p:txBody>
              <a:bodyPr anchor="ctr"/>
              <a:lstStyle/>
              <a:p>
                <a:pPr algn="ctr"/>
                <a:endParaRPr/>
              </a:p>
            </p:txBody>
          </p:sp>
          <p:sp>
            <p:nvSpPr>
              <p:cNvPr id="118" name="任意多边形: 形状 117">
                <a:extLst>
                  <a:ext uri="{FF2B5EF4-FFF2-40B4-BE49-F238E27FC236}">
                    <a16:creationId xmlns:a16="http://schemas.microsoft.com/office/drawing/2014/main" id="{61495466-DA61-40E1-94DF-45F005522E1A}"/>
                  </a:ext>
                </a:extLst>
              </p:cNvPr>
              <p:cNvSpPr/>
              <p:nvPr/>
            </p:nvSpPr>
            <p:spPr>
              <a:xfrm>
                <a:off x="7336854" y="477495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19" name="任意多边形: 形状 118">
                <a:extLst>
                  <a:ext uri="{FF2B5EF4-FFF2-40B4-BE49-F238E27FC236}">
                    <a16:creationId xmlns:a16="http://schemas.microsoft.com/office/drawing/2014/main" id="{74A6FD33-AC9A-4089-8B90-65ECA3D847EC}"/>
                  </a:ext>
                </a:extLst>
              </p:cNvPr>
              <p:cNvSpPr/>
              <p:nvPr/>
            </p:nvSpPr>
            <p:spPr>
              <a:xfrm>
                <a:off x="7336854" y="4920901"/>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20" name="任意多边形: 形状 119">
                <a:extLst>
                  <a:ext uri="{FF2B5EF4-FFF2-40B4-BE49-F238E27FC236}">
                    <a16:creationId xmlns:a16="http://schemas.microsoft.com/office/drawing/2014/main" id="{D920CE7E-B33C-41E4-B9D3-6E3E1C36AE49}"/>
                  </a:ext>
                </a:extLst>
              </p:cNvPr>
              <p:cNvSpPr/>
              <p:nvPr/>
            </p:nvSpPr>
            <p:spPr>
              <a:xfrm>
                <a:off x="7336854" y="5212802"/>
                <a:ext cx="97300" cy="113517"/>
              </a:xfrm>
              <a:custGeom>
                <a:avLst/>
                <a:gdLst/>
                <a:ahLst/>
                <a:cxnLst/>
                <a:rect l="0" t="0" r="0" b="0"/>
                <a:pathLst>
                  <a:path w="97300" h="113516">
                    <a:moveTo>
                      <a:pt x="12163" y="12163"/>
                    </a:moveTo>
                    <a:lnTo>
                      <a:pt x="93246" y="12163"/>
                    </a:lnTo>
                    <a:lnTo>
                      <a:pt x="93246" y="109463"/>
                    </a:lnTo>
                    <a:lnTo>
                      <a:pt x="12163" y="109463"/>
                    </a:lnTo>
                    <a:close/>
                  </a:path>
                </a:pathLst>
              </a:custGeom>
              <a:solidFill>
                <a:srgbClr val="1B1E2D"/>
              </a:solidFill>
              <a:ln w="9525" cap="flat">
                <a:noFill/>
                <a:prstDash val="solid"/>
                <a:miter/>
              </a:ln>
            </p:spPr>
            <p:txBody>
              <a:bodyPr anchor="ctr"/>
              <a:lstStyle/>
              <a:p>
                <a:pPr algn="ctr"/>
                <a:endParaRPr/>
              </a:p>
            </p:txBody>
          </p:sp>
          <p:sp>
            <p:nvSpPr>
              <p:cNvPr id="121" name="任意多边形: 形状 120">
                <a:extLst>
                  <a:ext uri="{FF2B5EF4-FFF2-40B4-BE49-F238E27FC236}">
                    <a16:creationId xmlns:a16="http://schemas.microsoft.com/office/drawing/2014/main" id="{6B670DB6-625F-4DB5-AC22-5EFCF94D4F9E}"/>
                  </a:ext>
                </a:extLst>
              </p:cNvPr>
              <p:cNvSpPr/>
              <p:nvPr/>
            </p:nvSpPr>
            <p:spPr>
              <a:xfrm>
                <a:off x="7336854" y="5504703"/>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22" name="任意多边形: 形状 121">
                <a:extLst>
                  <a:ext uri="{FF2B5EF4-FFF2-40B4-BE49-F238E27FC236}">
                    <a16:creationId xmlns:a16="http://schemas.microsoft.com/office/drawing/2014/main" id="{D2C7A053-BD8D-4272-9E5A-DBF3F604ACA9}"/>
                  </a:ext>
                </a:extLst>
              </p:cNvPr>
              <p:cNvSpPr/>
              <p:nvPr/>
            </p:nvSpPr>
            <p:spPr>
              <a:xfrm>
                <a:off x="11423465" y="4774951"/>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23" name="任意多边形: 形状 122">
                <a:extLst>
                  <a:ext uri="{FF2B5EF4-FFF2-40B4-BE49-F238E27FC236}">
                    <a16:creationId xmlns:a16="http://schemas.microsoft.com/office/drawing/2014/main" id="{C4144528-96B6-4714-9D8D-00F50882E189}"/>
                  </a:ext>
                </a:extLst>
              </p:cNvPr>
              <p:cNvSpPr/>
              <p:nvPr/>
            </p:nvSpPr>
            <p:spPr>
              <a:xfrm>
                <a:off x="11423465" y="4872251"/>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24" name="任意多边形: 形状 123">
                <a:extLst>
                  <a:ext uri="{FF2B5EF4-FFF2-40B4-BE49-F238E27FC236}">
                    <a16:creationId xmlns:a16="http://schemas.microsoft.com/office/drawing/2014/main" id="{82569F9D-1FC0-4686-8F4D-5A0B567C517B}"/>
                  </a:ext>
                </a:extLst>
              </p:cNvPr>
              <p:cNvSpPr/>
              <p:nvPr/>
            </p:nvSpPr>
            <p:spPr>
              <a:xfrm>
                <a:off x="11423465" y="4985768"/>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25" name="任意多边形: 形状 124">
                <a:extLst>
                  <a:ext uri="{FF2B5EF4-FFF2-40B4-BE49-F238E27FC236}">
                    <a16:creationId xmlns:a16="http://schemas.microsoft.com/office/drawing/2014/main" id="{A0AA301E-9553-42D9-98B9-AF82FCA68437}"/>
                  </a:ext>
                </a:extLst>
              </p:cNvPr>
              <p:cNvSpPr/>
              <p:nvPr/>
            </p:nvSpPr>
            <p:spPr>
              <a:xfrm>
                <a:off x="11423465" y="5083068"/>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26" name="任意多边形: 形状 125">
                <a:extLst>
                  <a:ext uri="{FF2B5EF4-FFF2-40B4-BE49-F238E27FC236}">
                    <a16:creationId xmlns:a16="http://schemas.microsoft.com/office/drawing/2014/main" id="{5F531870-B2BF-45FE-B67F-ECE24C1A0D1F}"/>
                  </a:ext>
                </a:extLst>
              </p:cNvPr>
              <p:cNvSpPr/>
              <p:nvPr/>
            </p:nvSpPr>
            <p:spPr>
              <a:xfrm>
                <a:off x="11423465" y="5180369"/>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27" name="任意多边形: 形状 126">
                <a:extLst>
                  <a:ext uri="{FF2B5EF4-FFF2-40B4-BE49-F238E27FC236}">
                    <a16:creationId xmlns:a16="http://schemas.microsoft.com/office/drawing/2014/main" id="{772A362A-9AEE-45BF-B8CF-8A2D050C5EEC}"/>
                  </a:ext>
                </a:extLst>
              </p:cNvPr>
              <p:cNvSpPr/>
              <p:nvPr/>
            </p:nvSpPr>
            <p:spPr>
              <a:xfrm>
                <a:off x="11423465" y="5293886"/>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28" name="任意多边形: 形状 127">
                <a:extLst>
                  <a:ext uri="{FF2B5EF4-FFF2-40B4-BE49-F238E27FC236}">
                    <a16:creationId xmlns:a16="http://schemas.microsoft.com/office/drawing/2014/main" id="{4BC6D8B6-0726-4291-84B6-50E00DCC3340}"/>
                  </a:ext>
                </a:extLst>
              </p:cNvPr>
              <p:cNvSpPr/>
              <p:nvPr/>
            </p:nvSpPr>
            <p:spPr>
              <a:xfrm>
                <a:off x="11423465" y="5391186"/>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29" name="任意多边形: 形状 128">
                <a:extLst>
                  <a:ext uri="{FF2B5EF4-FFF2-40B4-BE49-F238E27FC236}">
                    <a16:creationId xmlns:a16="http://schemas.microsoft.com/office/drawing/2014/main" id="{81F0896C-08F7-4057-8C9C-E9A45344AACF}"/>
                  </a:ext>
                </a:extLst>
              </p:cNvPr>
              <p:cNvSpPr/>
              <p:nvPr/>
            </p:nvSpPr>
            <p:spPr>
              <a:xfrm>
                <a:off x="11423465" y="5504703"/>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30" name="任意多边形: 形状 129">
                <a:extLst>
                  <a:ext uri="{FF2B5EF4-FFF2-40B4-BE49-F238E27FC236}">
                    <a16:creationId xmlns:a16="http://schemas.microsoft.com/office/drawing/2014/main" id="{039A189D-2672-40ED-8689-0C60D50D2A63}"/>
                  </a:ext>
                </a:extLst>
              </p:cNvPr>
              <p:cNvSpPr/>
              <p:nvPr/>
            </p:nvSpPr>
            <p:spPr>
              <a:xfrm>
                <a:off x="11309948" y="4774951"/>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31" name="任意多边形: 形状 130">
                <a:extLst>
                  <a:ext uri="{FF2B5EF4-FFF2-40B4-BE49-F238E27FC236}">
                    <a16:creationId xmlns:a16="http://schemas.microsoft.com/office/drawing/2014/main" id="{CAF1FEF3-62C3-4494-8863-F317662AFB96}"/>
                  </a:ext>
                </a:extLst>
              </p:cNvPr>
              <p:cNvSpPr/>
              <p:nvPr/>
            </p:nvSpPr>
            <p:spPr>
              <a:xfrm>
                <a:off x="11309948" y="4872251"/>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32" name="任意多边形: 形状 131">
                <a:extLst>
                  <a:ext uri="{FF2B5EF4-FFF2-40B4-BE49-F238E27FC236}">
                    <a16:creationId xmlns:a16="http://schemas.microsoft.com/office/drawing/2014/main" id="{D7BA2E53-AFD3-4E0F-9D51-4FC7968F0007}"/>
                  </a:ext>
                </a:extLst>
              </p:cNvPr>
              <p:cNvSpPr/>
              <p:nvPr/>
            </p:nvSpPr>
            <p:spPr>
              <a:xfrm>
                <a:off x="11309948" y="4985768"/>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33" name="任意多边形: 形状 132">
                <a:extLst>
                  <a:ext uri="{FF2B5EF4-FFF2-40B4-BE49-F238E27FC236}">
                    <a16:creationId xmlns:a16="http://schemas.microsoft.com/office/drawing/2014/main" id="{5736FB43-AB73-4D18-8623-72721E7D2275}"/>
                  </a:ext>
                </a:extLst>
              </p:cNvPr>
              <p:cNvSpPr/>
              <p:nvPr/>
            </p:nvSpPr>
            <p:spPr>
              <a:xfrm>
                <a:off x="11309948" y="5083068"/>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34" name="任意多边形: 形状 133">
                <a:extLst>
                  <a:ext uri="{FF2B5EF4-FFF2-40B4-BE49-F238E27FC236}">
                    <a16:creationId xmlns:a16="http://schemas.microsoft.com/office/drawing/2014/main" id="{0705A9FE-6C02-4082-A381-C84F879D83AC}"/>
                  </a:ext>
                </a:extLst>
              </p:cNvPr>
              <p:cNvSpPr/>
              <p:nvPr/>
            </p:nvSpPr>
            <p:spPr>
              <a:xfrm>
                <a:off x="11309948" y="5180369"/>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35" name="任意多边形: 形状 134">
                <a:extLst>
                  <a:ext uri="{FF2B5EF4-FFF2-40B4-BE49-F238E27FC236}">
                    <a16:creationId xmlns:a16="http://schemas.microsoft.com/office/drawing/2014/main" id="{79C28656-880A-43B5-922E-91CB70E51646}"/>
                  </a:ext>
                </a:extLst>
              </p:cNvPr>
              <p:cNvSpPr/>
              <p:nvPr/>
            </p:nvSpPr>
            <p:spPr>
              <a:xfrm>
                <a:off x="11309948" y="5293886"/>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36" name="任意多边形: 形状 135">
                <a:extLst>
                  <a:ext uri="{FF2B5EF4-FFF2-40B4-BE49-F238E27FC236}">
                    <a16:creationId xmlns:a16="http://schemas.microsoft.com/office/drawing/2014/main" id="{EEDE8B22-93E9-4F69-ACCC-34923A4C3A5C}"/>
                  </a:ext>
                </a:extLst>
              </p:cNvPr>
              <p:cNvSpPr/>
              <p:nvPr/>
            </p:nvSpPr>
            <p:spPr>
              <a:xfrm>
                <a:off x="11309948" y="5391186"/>
                <a:ext cx="81084" cy="97300"/>
              </a:xfrm>
              <a:custGeom>
                <a:avLst/>
                <a:gdLst/>
                <a:ahLst/>
                <a:cxnLst/>
                <a:rect l="0" t="0" r="0" b="0"/>
                <a:pathLst>
                  <a:path w="81083" h="97300">
                    <a:moveTo>
                      <a:pt x="12163" y="12163"/>
                    </a:moveTo>
                    <a:lnTo>
                      <a:pt x="77029" y="12163"/>
                    </a:lnTo>
                    <a:lnTo>
                      <a:pt x="77029" y="93246"/>
                    </a:lnTo>
                    <a:lnTo>
                      <a:pt x="12163" y="93246"/>
                    </a:lnTo>
                    <a:close/>
                  </a:path>
                </a:pathLst>
              </a:custGeom>
              <a:solidFill>
                <a:srgbClr val="1B1E2D"/>
              </a:solidFill>
              <a:ln w="9525" cap="flat">
                <a:noFill/>
                <a:prstDash val="solid"/>
                <a:miter/>
              </a:ln>
            </p:spPr>
            <p:txBody>
              <a:bodyPr anchor="ctr"/>
              <a:lstStyle/>
              <a:p>
                <a:pPr algn="ctr"/>
                <a:endParaRPr/>
              </a:p>
            </p:txBody>
          </p:sp>
          <p:sp>
            <p:nvSpPr>
              <p:cNvPr id="137" name="任意多边形: 形状 136">
                <a:extLst>
                  <a:ext uri="{FF2B5EF4-FFF2-40B4-BE49-F238E27FC236}">
                    <a16:creationId xmlns:a16="http://schemas.microsoft.com/office/drawing/2014/main" id="{46345F63-7144-4920-AE5C-FB3E527B9290}"/>
                  </a:ext>
                </a:extLst>
              </p:cNvPr>
              <p:cNvSpPr/>
              <p:nvPr/>
            </p:nvSpPr>
            <p:spPr>
              <a:xfrm>
                <a:off x="11309948" y="5504703"/>
                <a:ext cx="81084" cy="81084"/>
              </a:xfrm>
              <a:custGeom>
                <a:avLst/>
                <a:gdLst/>
                <a:ahLst/>
                <a:cxnLst/>
                <a:rect l="0" t="0" r="0" b="0"/>
                <a:pathLst>
                  <a:path w="81083" h="81083">
                    <a:moveTo>
                      <a:pt x="12163" y="12163"/>
                    </a:moveTo>
                    <a:lnTo>
                      <a:pt x="77029" y="12163"/>
                    </a:lnTo>
                    <a:lnTo>
                      <a:pt x="77029" y="77029"/>
                    </a:lnTo>
                    <a:lnTo>
                      <a:pt x="12163" y="77029"/>
                    </a:lnTo>
                    <a:close/>
                  </a:path>
                </a:pathLst>
              </a:custGeom>
              <a:solidFill>
                <a:srgbClr val="1B1E2D"/>
              </a:solidFill>
              <a:ln w="9525" cap="flat">
                <a:noFill/>
                <a:prstDash val="solid"/>
                <a:miter/>
              </a:ln>
            </p:spPr>
            <p:txBody>
              <a:bodyPr anchor="ctr"/>
              <a:lstStyle/>
              <a:p>
                <a:pPr algn="ctr"/>
                <a:endParaRPr/>
              </a:p>
            </p:txBody>
          </p:sp>
          <p:sp>
            <p:nvSpPr>
              <p:cNvPr id="138" name="任意多边形: 形状 137">
                <a:extLst>
                  <a:ext uri="{FF2B5EF4-FFF2-40B4-BE49-F238E27FC236}">
                    <a16:creationId xmlns:a16="http://schemas.microsoft.com/office/drawing/2014/main" id="{B14899CF-CD1C-42E1-96E0-E02E79346A47}"/>
                  </a:ext>
                </a:extLst>
              </p:cNvPr>
              <p:cNvSpPr/>
              <p:nvPr/>
            </p:nvSpPr>
            <p:spPr>
              <a:xfrm>
                <a:off x="12477551" y="4791168"/>
                <a:ext cx="97300" cy="145950"/>
              </a:xfrm>
              <a:custGeom>
                <a:avLst/>
                <a:gdLst/>
                <a:ahLst/>
                <a:cxnLst/>
                <a:rect l="0" t="0" r="0" b="0"/>
                <a:pathLst>
                  <a:path w="97300" h="145950">
                    <a:moveTo>
                      <a:pt x="12163" y="12163"/>
                    </a:moveTo>
                    <a:lnTo>
                      <a:pt x="93246" y="12163"/>
                    </a:lnTo>
                    <a:lnTo>
                      <a:pt x="93246"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39" name="任意多边形: 形状 138">
                <a:extLst>
                  <a:ext uri="{FF2B5EF4-FFF2-40B4-BE49-F238E27FC236}">
                    <a16:creationId xmlns:a16="http://schemas.microsoft.com/office/drawing/2014/main" id="{400C7247-7239-4751-815F-CB05CC2D54A1}"/>
                  </a:ext>
                </a:extLst>
              </p:cNvPr>
              <p:cNvSpPr/>
              <p:nvPr/>
            </p:nvSpPr>
            <p:spPr>
              <a:xfrm>
                <a:off x="12720802" y="4791168"/>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40" name="任意多边形: 形状 139">
                <a:extLst>
                  <a:ext uri="{FF2B5EF4-FFF2-40B4-BE49-F238E27FC236}">
                    <a16:creationId xmlns:a16="http://schemas.microsoft.com/office/drawing/2014/main" id="{38352577-233C-4658-B9EC-08A8A83FDB7F}"/>
                  </a:ext>
                </a:extLst>
              </p:cNvPr>
              <p:cNvSpPr/>
              <p:nvPr/>
            </p:nvSpPr>
            <p:spPr>
              <a:xfrm>
                <a:off x="12964052" y="4791168"/>
                <a:ext cx="64867" cy="145950"/>
              </a:xfrm>
              <a:custGeom>
                <a:avLst/>
                <a:gdLst/>
                <a:ahLst/>
                <a:cxnLst/>
                <a:rect l="0" t="0" r="0" b="0"/>
                <a:pathLst>
                  <a:path w="64866" h="145950">
                    <a:moveTo>
                      <a:pt x="12163" y="12163"/>
                    </a:moveTo>
                    <a:lnTo>
                      <a:pt x="60813" y="12163"/>
                    </a:lnTo>
                    <a:lnTo>
                      <a:pt x="60813"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41" name="任意多边形: 形状 140">
                <a:extLst>
                  <a:ext uri="{FF2B5EF4-FFF2-40B4-BE49-F238E27FC236}">
                    <a16:creationId xmlns:a16="http://schemas.microsoft.com/office/drawing/2014/main" id="{D3584520-8B89-48A1-90C8-F2EFD4DF1642}"/>
                  </a:ext>
                </a:extLst>
              </p:cNvPr>
              <p:cNvSpPr/>
              <p:nvPr/>
            </p:nvSpPr>
            <p:spPr>
              <a:xfrm>
                <a:off x="12477551" y="4953335"/>
                <a:ext cx="97300" cy="145950"/>
              </a:xfrm>
              <a:custGeom>
                <a:avLst/>
                <a:gdLst/>
                <a:ahLst/>
                <a:cxnLst/>
                <a:rect l="0" t="0" r="0" b="0"/>
                <a:pathLst>
                  <a:path w="97300" h="145950">
                    <a:moveTo>
                      <a:pt x="12163" y="12163"/>
                    </a:moveTo>
                    <a:lnTo>
                      <a:pt x="93246" y="12163"/>
                    </a:lnTo>
                    <a:lnTo>
                      <a:pt x="93246"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42" name="任意多边形: 形状 141">
                <a:extLst>
                  <a:ext uri="{FF2B5EF4-FFF2-40B4-BE49-F238E27FC236}">
                    <a16:creationId xmlns:a16="http://schemas.microsoft.com/office/drawing/2014/main" id="{4DC1E0F9-852C-42F1-97A5-05A5DED9FD9A}"/>
                  </a:ext>
                </a:extLst>
              </p:cNvPr>
              <p:cNvSpPr/>
              <p:nvPr/>
            </p:nvSpPr>
            <p:spPr>
              <a:xfrm>
                <a:off x="12720802" y="49533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43" name="任意多边形: 形状 142">
                <a:extLst>
                  <a:ext uri="{FF2B5EF4-FFF2-40B4-BE49-F238E27FC236}">
                    <a16:creationId xmlns:a16="http://schemas.microsoft.com/office/drawing/2014/main" id="{F476292D-4307-4658-9238-A55FFFA15D03}"/>
                  </a:ext>
                </a:extLst>
              </p:cNvPr>
              <p:cNvSpPr/>
              <p:nvPr/>
            </p:nvSpPr>
            <p:spPr>
              <a:xfrm>
                <a:off x="12834319" y="49533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44" name="任意多边形: 形状 143">
                <a:extLst>
                  <a:ext uri="{FF2B5EF4-FFF2-40B4-BE49-F238E27FC236}">
                    <a16:creationId xmlns:a16="http://schemas.microsoft.com/office/drawing/2014/main" id="{0BA56762-8D1A-44D8-8387-871290B2C02F}"/>
                  </a:ext>
                </a:extLst>
              </p:cNvPr>
              <p:cNvSpPr/>
              <p:nvPr/>
            </p:nvSpPr>
            <p:spPr>
              <a:xfrm>
                <a:off x="12964052" y="4953335"/>
                <a:ext cx="64867" cy="145950"/>
              </a:xfrm>
              <a:custGeom>
                <a:avLst/>
                <a:gdLst/>
                <a:ahLst/>
                <a:cxnLst/>
                <a:rect l="0" t="0" r="0" b="0"/>
                <a:pathLst>
                  <a:path w="64866" h="145950">
                    <a:moveTo>
                      <a:pt x="12163" y="12163"/>
                    </a:moveTo>
                    <a:lnTo>
                      <a:pt x="60813" y="12163"/>
                    </a:lnTo>
                    <a:lnTo>
                      <a:pt x="60813"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45" name="任意多边形: 形状 144">
                <a:extLst>
                  <a:ext uri="{FF2B5EF4-FFF2-40B4-BE49-F238E27FC236}">
                    <a16:creationId xmlns:a16="http://schemas.microsoft.com/office/drawing/2014/main" id="{33588226-F2A2-428E-9FA7-D03F37254F83}"/>
                  </a:ext>
                </a:extLst>
              </p:cNvPr>
              <p:cNvSpPr/>
              <p:nvPr/>
            </p:nvSpPr>
            <p:spPr>
              <a:xfrm>
                <a:off x="12477551" y="5099285"/>
                <a:ext cx="97300" cy="129734"/>
              </a:xfrm>
              <a:custGeom>
                <a:avLst/>
                <a:gdLst/>
                <a:ahLst/>
                <a:cxnLst/>
                <a:rect l="0" t="0" r="0" b="0"/>
                <a:pathLst>
                  <a:path w="97300" h="129733">
                    <a:moveTo>
                      <a:pt x="12163" y="12163"/>
                    </a:moveTo>
                    <a:lnTo>
                      <a:pt x="93246" y="12163"/>
                    </a:lnTo>
                    <a:lnTo>
                      <a:pt x="93246"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46" name="任意多边形: 形状 145">
                <a:extLst>
                  <a:ext uri="{FF2B5EF4-FFF2-40B4-BE49-F238E27FC236}">
                    <a16:creationId xmlns:a16="http://schemas.microsoft.com/office/drawing/2014/main" id="{E9CC1DB9-5AFD-46B2-B2DD-C41626FEA231}"/>
                  </a:ext>
                </a:extLst>
              </p:cNvPr>
              <p:cNvSpPr/>
              <p:nvPr/>
            </p:nvSpPr>
            <p:spPr>
              <a:xfrm>
                <a:off x="12607285" y="5099285"/>
                <a:ext cx="81084" cy="129734"/>
              </a:xfrm>
              <a:custGeom>
                <a:avLst/>
                <a:gdLst/>
                <a:ahLst/>
                <a:cxnLst/>
                <a:rect l="0" t="0" r="0" b="0"/>
                <a:pathLst>
                  <a:path w="81083" h="129733">
                    <a:moveTo>
                      <a:pt x="12163" y="12163"/>
                    </a:moveTo>
                    <a:lnTo>
                      <a:pt x="77029" y="12163"/>
                    </a:lnTo>
                    <a:lnTo>
                      <a:pt x="77029"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47" name="任意多边形: 形状 146">
                <a:extLst>
                  <a:ext uri="{FF2B5EF4-FFF2-40B4-BE49-F238E27FC236}">
                    <a16:creationId xmlns:a16="http://schemas.microsoft.com/office/drawing/2014/main" id="{DD624FEF-90C2-4DCE-BEED-D1D1F9EB4268}"/>
                  </a:ext>
                </a:extLst>
              </p:cNvPr>
              <p:cNvSpPr/>
              <p:nvPr/>
            </p:nvSpPr>
            <p:spPr>
              <a:xfrm>
                <a:off x="12720802" y="5099285"/>
                <a:ext cx="81084" cy="129734"/>
              </a:xfrm>
              <a:custGeom>
                <a:avLst/>
                <a:gdLst/>
                <a:ahLst/>
                <a:cxnLst/>
                <a:rect l="0" t="0" r="0" b="0"/>
                <a:pathLst>
                  <a:path w="81083" h="129733">
                    <a:moveTo>
                      <a:pt x="12163" y="12163"/>
                    </a:moveTo>
                    <a:lnTo>
                      <a:pt x="77029" y="12163"/>
                    </a:lnTo>
                    <a:lnTo>
                      <a:pt x="77029"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48" name="任意多边形: 形状 147">
                <a:extLst>
                  <a:ext uri="{FF2B5EF4-FFF2-40B4-BE49-F238E27FC236}">
                    <a16:creationId xmlns:a16="http://schemas.microsoft.com/office/drawing/2014/main" id="{453B2D03-CD1E-4234-9554-C42B0D7422C6}"/>
                  </a:ext>
                </a:extLst>
              </p:cNvPr>
              <p:cNvSpPr/>
              <p:nvPr/>
            </p:nvSpPr>
            <p:spPr>
              <a:xfrm>
                <a:off x="12964052" y="5099285"/>
                <a:ext cx="64867" cy="129734"/>
              </a:xfrm>
              <a:custGeom>
                <a:avLst/>
                <a:gdLst/>
                <a:ahLst/>
                <a:cxnLst/>
                <a:rect l="0" t="0" r="0" b="0"/>
                <a:pathLst>
                  <a:path w="64866" h="129733">
                    <a:moveTo>
                      <a:pt x="12163" y="12163"/>
                    </a:moveTo>
                    <a:lnTo>
                      <a:pt x="60813" y="12163"/>
                    </a:lnTo>
                    <a:lnTo>
                      <a:pt x="60813" y="125680"/>
                    </a:lnTo>
                    <a:lnTo>
                      <a:pt x="12163" y="125680"/>
                    </a:lnTo>
                    <a:close/>
                  </a:path>
                </a:pathLst>
              </a:custGeom>
              <a:solidFill>
                <a:srgbClr val="1B1E2D"/>
              </a:solidFill>
              <a:ln w="9525" cap="flat">
                <a:noFill/>
                <a:prstDash val="solid"/>
                <a:miter/>
              </a:ln>
            </p:spPr>
            <p:txBody>
              <a:bodyPr anchor="ctr"/>
              <a:lstStyle/>
              <a:p>
                <a:pPr algn="ctr"/>
                <a:endParaRPr/>
              </a:p>
            </p:txBody>
          </p:sp>
          <p:sp>
            <p:nvSpPr>
              <p:cNvPr id="149" name="任意多边形: 形状 148">
                <a:extLst>
                  <a:ext uri="{FF2B5EF4-FFF2-40B4-BE49-F238E27FC236}">
                    <a16:creationId xmlns:a16="http://schemas.microsoft.com/office/drawing/2014/main" id="{28418942-B008-4BBA-AEC2-F489BBC34B21}"/>
                  </a:ext>
                </a:extLst>
              </p:cNvPr>
              <p:cNvSpPr/>
              <p:nvPr/>
            </p:nvSpPr>
            <p:spPr>
              <a:xfrm>
                <a:off x="12720802" y="52452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50" name="任意多边形: 形状 149">
                <a:extLst>
                  <a:ext uri="{FF2B5EF4-FFF2-40B4-BE49-F238E27FC236}">
                    <a16:creationId xmlns:a16="http://schemas.microsoft.com/office/drawing/2014/main" id="{9B14349E-5F90-4ED1-B24F-95561B279511}"/>
                  </a:ext>
                </a:extLst>
              </p:cNvPr>
              <p:cNvSpPr/>
              <p:nvPr/>
            </p:nvSpPr>
            <p:spPr>
              <a:xfrm>
                <a:off x="12834319" y="5245235"/>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51" name="任意多边形: 形状 150">
                <a:extLst>
                  <a:ext uri="{FF2B5EF4-FFF2-40B4-BE49-F238E27FC236}">
                    <a16:creationId xmlns:a16="http://schemas.microsoft.com/office/drawing/2014/main" id="{18C48C3B-A4C1-4C25-BB51-C0BCDC580C11}"/>
                  </a:ext>
                </a:extLst>
              </p:cNvPr>
              <p:cNvSpPr/>
              <p:nvPr/>
            </p:nvSpPr>
            <p:spPr>
              <a:xfrm>
                <a:off x="12477551" y="5391186"/>
                <a:ext cx="97300" cy="162167"/>
              </a:xfrm>
              <a:custGeom>
                <a:avLst/>
                <a:gdLst/>
                <a:ahLst/>
                <a:cxnLst/>
                <a:rect l="0" t="0" r="0" b="0"/>
                <a:pathLst>
                  <a:path w="97300" h="162167">
                    <a:moveTo>
                      <a:pt x="12163" y="12163"/>
                    </a:moveTo>
                    <a:lnTo>
                      <a:pt x="93246" y="12163"/>
                    </a:lnTo>
                    <a:lnTo>
                      <a:pt x="93246"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152" name="任意多边形: 形状 151">
                <a:extLst>
                  <a:ext uri="{FF2B5EF4-FFF2-40B4-BE49-F238E27FC236}">
                    <a16:creationId xmlns:a16="http://schemas.microsoft.com/office/drawing/2014/main" id="{CB7F0663-E52A-46BD-88EA-81157DC840DC}"/>
                  </a:ext>
                </a:extLst>
              </p:cNvPr>
              <p:cNvSpPr/>
              <p:nvPr/>
            </p:nvSpPr>
            <p:spPr>
              <a:xfrm>
                <a:off x="12607285" y="5391186"/>
                <a:ext cx="81084" cy="162167"/>
              </a:xfrm>
              <a:custGeom>
                <a:avLst/>
                <a:gdLst/>
                <a:ahLst/>
                <a:cxnLst/>
                <a:rect l="0" t="0" r="0" b="0"/>
                <a:pathLst>
                  <a:path w="81083" h="162167">
                    <a:moveTo>
                      <a:pt x="12163" y="12163"/>
                    </a:moveTo>
                    <a:lnTo>
                      <a:pt x="77029" y="12163"/>
                    </a:lnTo>
                    <a:lnTo>
                      <a:pt x="77029"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153" name="任意多边形: 形状 152">
                <a:extLst>
                  <a:ext uri="{FF2B5EF4-FFF2-40B4-BE49-F238E27FC236}">
                    <a16:creationId xmlns:a16="http://schemas.microsoft.com/office/drawing/2014/main" id="{8969954A-6118-4CDA-8FF6-48A75C16519D}"/>
                  </a:ext>
                </a:extLst>
              </p:cNvPr>
              <p:cNvSpPr/>
              <p:nvPr/>
            </p:nvSpPr>
            <p:spPr>
              <a:xfrm>
                <a:off x="12720802" y="5391186"/>
                <a:ext cx="81084" cy="162167"/>
              </a:xfrm>
              <a:custGeom>
                <a:avLst/>
                <a:gdLst/>
                <a:ahLst/>
                <a:cxnLst/>
                <a:rect l="0" t="0" r="0" b="0"/>
                <a:pathLst>
                  <a:path w="81083" h="162167">
                    <a:moveTo>
                      <a:pt x="12163" y="12163"/>
                    </a:moveTo>
                    <a:lnTo>
                      <a:pt x="77029" y="12163"/>
                    </a:lnTo>
                    <a:lnTo>
                      <a:pt x="77029"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154" name="任意多边形: 形状 153">
                <a:extLst>
                  <a:ext uri="{FF2B5EF4-FFF2-40B4-BE49-F238E27FC236}">
                    <a16:creationId xmlns:a16="http://schemas.microsoft.com/office/drawing/2014/main" id="{F4D04958-6618-4F6C-93A7-34DC57CA345B}"/>
                  </a:ext>
                </a:extLst>
              </p:cNvPr>
              <p:cNvSpPr/>
              <p:nvPr/>
            </p:nvSpPr>
            <p:spPr>
              <a:xfrm>
                <a:off x="12834319" y="5391186"/>
                <a:ext cx="81084" cy="162167"/>
              </a:xfrm>
              <a:custGeom>
                <a:avLst/>
                <a:gdLst/>
                <a:ahLst/>
                <a:cxnLst/>
                <a:rect l="0" t="0" r="0" b="0"/>
                <a:pathLst>
                  <a:path w="81083" h="162167">
                    <a:moveTo>
                      <a:pt x="12163" y="12163"/>
                    </a:moveTo>
                    <a:lnTo>
                      <a:pt x="77029" y="12163"/>
                    </a:lnTo>
                    <a:lnTo>
                      <a:pt x="77029"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155" name="任意多边形: 形状 154">
                <a:extLst>
                  <a:ext uri="{FF2B5EF4-FFF2-40B4-BE49-F238E27FC236}">
                    <a16:creationId xmlns:a16="http://schemas.microsoft.com/office/drawing/2014/main" id="{ACD9BB03-2455-426E-AB30-0FB7373375C1}"/>
                  </a:ext>
                </a:extLst>
              </p:cNvPr>
              <p:cNvSpPr/>
              <p:nvPr/>
            </p:nvSpPr>
            <p:spPr>
              <a:xfrm>
                <a:off x="12964052" y="5391186"/>
                <a:ext cx="64867" cy="162167"/>
              </a:xfrm>
              <a:custGeom>
                <a:avLst/>
                <a:gdLst/>
                <a:ahLst/>
                <a:cxnLst/>
                <a:rect l="0" t="0" r="0" b="0"/>
                <a:pathLst>
                  <a:path w="64866" h="162167">
                    <a:moveTo>
                      <a:pt x="12163" y="12163"/>
                    </a:moveTo>
                    <a:lnTo>
                      <a:pt x="60813" y="12163"/>
                    </a:lnTo>
                    <a:lnTo>
                      <a:pt x="60813" y="158113"/>
                    </a:lnTo>
                    <a:lnTo>
                      <a:pt x="12163" y="158113"/>
                    </a:lnTo>
                    <a:close/>
                  </a:path>
                </a:pathLst>
              </a:custGeom>
              <a:solidFill>
                <a:srgbClr val="1B1E2D"/>
              </a:solidFill>
              <a:ln w="9525" cap="flat">
                <a:noFill/>
                <a:prstDash val="solid"/>
                <a:miter/>
              </a:ln>
            </p:spPr>
            <p:txBody>
              <a:bodyPr anchor="ctr"/>
              <a:lstStyle/>
              <a:p>
                <a:pPr algn="ctr"/>
                <a:endParaRPr/>
              </a:p>
            </p:txBody>
          </p:sp>
          <p:sp>
            <p:nvSpPr>
              <p:cNvPr id="156" name="任意多边形: 形状 155">
                <a:extLst>
                  <a:ext uri="{FF2B5EF4-FFF2-40B4-BE49-F238E27FC236}">
                    <a16:creationId xmlns:a16="http://schemas.microsoft.com/office/drawing/2014/main" id="{17B3CF9C-87B7-41A2-9242-A05935C7F678}"/>
                  </a:ext>
                </a:extLst>
              </p:cNvPr>
              <p:cNvSpPr/>
              <p:nvPr/>
            </p:nvSpPr>
            <p:spPr>
              <a:xfrm>
                <a:off x="12477551" y="5553353"/>
                <a:ext cx="97300" cy="145950"/>
              </a:xfrm>
              <a:custGeom>
                <a:avLst/>
                <a:gdLst/>
                <a:ahLst/>
                <a:cxnLst/>
                <a:rect l="0" t="0" r="0" b="0"/>
                <a:pathLst>
                  <a:path w="97300" h="145950">
                    <a:moveTo>
                      <a:pt x="12163" y="12163"/>
                    </a:moveTo>
                    <a:lnTo>
                      <a:pt x="93246" y="12163"/>
                    </a:lnTo>
                    <a:lnTo>
                      <a:pt x="93246"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57" name="任意多边形: 形状 156">
                <a:extLst>
                  <a:ext uri="{FF2B5EF4-FFF2-40B4-BE49-F238E27FC236}">
                    <a16:creationId xmlns:a16="http://schemas.microsoft.com/office/drawing/2014/main" id="{0C48CF49-A214-412D-AC26-09950F18DC9F}"/>
                  </a:ext>
                </a:extLst>
              </p:cNvPr>
              <p:cNvSpPr/>
              <p:nvPr/>
            </p:nvSpPr>
            <p:spPr>
              <a:xfrm>
                <a:off x="12720802" y="5553353"/>
                <a:ext cx="81084" cy="145950"/>
              </a:xfrm>
              <a:custGeom>
                <a:avLst/>
                <a:gdLst/>
                <a:ahLst/>
                <a:cxnLst/>
                <a:rect l="0" t="0" r="0" b="0"/>
                <a:pathLst>
                  <a:path w="81083" h="145950">
                    <a:moveTo>
                      <a:pt x="12163" y="12163"/>
                    </a:moveTo>
                    <a:lnTo>
                      <a:pt x="77029" y="12163"/>
                    </a:lnTo>
                    <a:lnTo>
                      <a:pt x="77029"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58" name="任意多边形: 形状 157">
                <a:extLst>
                  <a:ext uri="{FF2B5EF4-FFF2-40B4-BE49-F238E27FC236}">
                    <a16:creationId xmlns:a16="http://schemas.microsoft.com/office/drawing/2014/main" id="{BD41555B-F231-4DB6-BC05-5D4522FCE98C}"/>
                  </a:ext>
                </a:extLst>
              </p:cNvPr>
              <p:cNvSpPr/>
              <p:nvPr/>
            </p:nvSpPr>
            <p:spPr>
              <a:xfrm>
                <a:off x="12964052" y="5553353"/>
                <a:ext cx="64867" cy="145950"/>
              </a:xfrm>
              <a:custGeom>
                <a:avLst/>
                <a:gdLst/>
                <a:ahLst/>
                <a:cxnLst/>
                <a:rect l="0" t="0" r="0" b="0"/>
                <a:pathLst>
                  <a:path w="64866" h="145950">
                    <a:moveTo>
                      <a:pt x="12163" y="12163"/>
                    </a:moveTo>
                    <a:lnTo>
                      <a:pt x="60813" y="12163"/>
                    </a:lnTo>
                    <a:lnTo>
                      <a:pt x="60813" y="141896"/>
                    </a:lnTo>
                    <a:lnTo>
                      <a:pt x="12163" y="141896"/>
                    </a:lnTo>
                    <a:close/>
                  </a:path>
                </a:pathLst>
              </a:custGeom>
              <a:solidFill>
                <a:srgbClr val="1B1E2D"/>
              </a:solidFill>
              <a:ln w="9525" cap="flat">
                <a:noFill/>
                <a:prstDash val="solid"/>
                <a:miter/>
              </a:ln>
            </p:spPr>
            <p:txBody>
              <a:bodyPr anchor="ctr"/>
              <a:lstStyle/>
              <a:p>
                <a:pPr algn="ctr"/>
                <a:endParaRPr/>
              </a:p>
            </p:txBody>
          </p:sp>
          <p:sp>
            <p:nvSpPr>
              <p:cNvPr id="159" name="任意多边形: 形状 158">
                <a:extLst>
                  <a:ext uri="{FF2B5EF4-FFF2-40B4-BE49-F238E27FC236}">
                    <a16:creationId xmlns:a16="http://schemas.microsoft.com/office/drawing/2014/main" id="{E73FAD69-0F93-4025-B0A3-F83E6FC1FDAB}"/>
                  </a:ext>
                </a:extLst>
              </p:cNvPr>
              <p:cNvSpPr/>
              <p:nvPr/>
            </p:nvSpPr>
            <p:spPr>
              <a:xfrm>
                <a:off x="10523438" y="4556025"/>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0" name="任意多边形: 形状 159">
                <a:extLst>
                  <a:ext uri="{FF2B5EF4-FFF2-40B4-BE49-F238E27FC236}">
                    <a16:creationId xmlns:a16="http://schemas.microsoft.com/office/drawing/2014/main" id="{90A87B35-652C-4E04-AEEE-E276805C3A7E}"/>
                  </a:ext>
                </a:extLst>
              </p:cNvPr>
              <p:cNvSpPr/>
              <p:nvPr/>
            </p:nvSpPr>
            <p:spPr>
              <a:xfrm>
                <a:off x="10795878" y="4556025"/>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161" name="任意多边形: 形状 160">
                <a:extLst>
                  <a:ext uri="{FF2B5EF4-FFF2-40B4-BE49-F238E27FC236}">
                    <a16:creationId xmlns:a16="http://schemas.microsoft.com/office/drawing/2014/main" id="{11B40CE6-4DF2-4A0D-AC43-500A61AA0B92}"/>
                  </a:ext>
                </a:extLst>
              </p:cNvPr>
              <p:cNvSpPr/>
              <p:nvPr/>
            </p:nvSpPr>
            <p:spPr>
              <a:xfrm>
                <a:off x="10523438" y="4685759"/>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2" name="任意多边形: 形状 161">
                <a:extLst>
                  <a:ext uri="{FF2B5EF4-FFF2-40B4-BE49-F238E27FC236}">
                    <a16:creationId xmlns:a16="http://schemas.microsoft.com/office/drawing/2014/main" id="{8819A77F-B5AA-4973-9802-F3F76C39AD0D}"/>
                  </a:ext>
                </a:extLst>
              </p:cNvPr>
              <p:cNvSpPr/>
              <p:nvPr/>
            </p:nvSpPr>
            <p:spPr>
              <a:xfrm>
                <a:off x="10523438" y="4815493"/>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3" name="任意多边形: 形状 162">
                <a:extLst>
                  <a:ext uri="{FF2B5EF4-FFF2-40B4-BE49-F238E27FC236}">
                    <a16:creationId xmlns:a16="http://schemas.microsoft.com/office/drawing/2014/main" id="{3CA4C496-222D-43E1-B111-DCFC4D91C924}"/>
                  </a:ext>
                </a:extLst>
              </p:cNvPr>
              <p:cNvSpPr/>
              <p:nvPr/>
            </p:nvSpPr>
            <p:spPr>
              <a:xfrm>
                <a:off x="10795878" y="4815493"/>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164" name="任意多边形: 形状 163">
                <a:extLst>
                  <a:ext uri="{FF2B5EF4-FFF2-40B4-BE49-F238E27FC236}">
                    <a16:creationId xmlns:a16="http://schemas.microsoft.com/office/drawing/2014/main" id="{4F7D83B7-4846-438D-903B-0AD7E3C01A6F}"/>
                  </a:ext>
                </a:extLst>
              </p:cNvPr>
              <p:cNvSpPr/>
              <p:nvPr/>
            </p:nvSpPr>
            <p:spPr>
              <a:xfrm>
                <a:off x="10795878" y="4945226"/>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165" name="任意多边形: 形状 164">
                <a:extLst>
                  <a:ext uri="{FF2B5EF4-FFF2-40B4-BE49-F238E27FC236}">
                    <a16:creationId xmlns:a16="http://schemas.microsoft.com/office/drawing/2014/main" id="{D850F216-D8D8-469B-BD54-F16DF4505226}"/>
                  </a:ext>
                </a:extLst>
              </p:cNvPr>
              <p:cNvSpPr/>
              <p:nvPr/>
            </p:nvSpPr>
            <p:spPr>
              <a:xfrm>
                <a:off x="10795878" y="5074960"/>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166" name="任意多边形: 形状 165">
                <a:extLst>
                  <a:ext uri="{FF2B5EF4-FFF2-40B4-BE49-F238E27FC236}">
                    <a16:creationId xmlns:a16="http://schemas.microsoft.com/office/drawing/2014/main" id="{47DF8F29-045C-433C-AAA9-01CF591B5BF1}"/>
                  </a:ext>
                </a:extLst>
              </p:cNvPr>
              <p:cNvSpPr/>
              <p:nvPr/>
            </p:nvSpPr>
            <p:spPr>
              <a:xfrm>
                <a:off x="10523438" y="5074960"/>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7" name="任意多边形: 形状 166">
                <a:extLst>
                  <a:ext uri="{FF2B5EF4-FFF2-40B4-BE49-F238E27FC236}">
                    <a16:creationId xmlns:a16="http://schemas.microsoft.com/office/drawing/2014/main" id="{A85AEEF5-B449-4F1F-AD01-C8E5987C6A9F}"/>
                  </a:ext>
                </a:extLst>
              </p:cNvPr>
              <p:cNvSpPr/>
              <p:nvPr/>
            </p:nvSpPr>
            <p:spPr>
              <a:xfrm>
                <a:off x="10523438" y="5204694"/>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8" name="任意多边形: 形状 167">
                <a:extLst>
                  <a:ext uri="{FF2B5EF4-FFF2-40B4-BE49-F238E27FC236}">
                    <a16:creationId xmlns:a16="http://schemas.microsoft.com/office/drawing/2014/main" id="{5FEA751B-A060-4073-A2D8-4B45F88FA005}"/>
                  </a:ext>
                </a:extLst>
              </p:cNvPr>
              <p:cNvSpPr/>
              <p:nvPr/>
            </p:nvSpPr>
            <p:spPr>
              <a:xfrm>
                <a:off x="10523438" y="5334427"/>
                <a:ext cx="210817" cy="64867"/>
              </a:xfrm>
              <a:custGeom>
                <a:avLst/>
                <a:gdLst/>
                <a:ahLst/>
                <a:cxnLst/>
                <a:rect l="0" t="0" r="0" b="0"/>
                <a:pathLst>
                  <a:path w="210817" h="64866">
                    <a:moveTo>
                      <a:pt x="12163" y="12163"/>
                    </a:moveTo>
                    <a:lnTo>
                      <a:pt x="206763" y="12163"/>
                    </a:lnTo>
                    <a:lnTo>
                      <a:pt x="20676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69" name="任意多边形: 形状 168">
                <a:extLst>
                  <a:ext uri="{FF2B5EF4-FFF2-40B4-BE49-F238E27FC236}">
                    <a16:creationId xmlns:a16="http://schemas.microsoft.com/office/drawing/2014/main" id="{D6642A07-A7E7-4AFB-A09F-75F9952EC98E}"/>
                  </a:ext>
                </a:extLst>
              </p:cNvPr>
              <p:cNvSpPr/>
              <p:nvPr/>
            </p:nvSpPr>
            <p:spPr>
              <a:xfrm>
                <a:off x="10795878" y="5334427"/>
                <a:ext cx="194601" cy="64867"/>
              </a:xfrm>
              <a:custGeom>
                <a:avLst/>
                <a:gdLst/>
                <a:ahLst/>
                <a:cxnLst/>
                <a:rect l="0" t="0" r="0" b="0"/>
                <a:pathLst>
                  <a:path w="194600" h="64866">
                    <a:moveTo>
                      <a:pt x="12162" y="12163"/>
                    </a:moveTo>
                    <a:lnTo>
                      <a:pt x="195411" y="12163"/>
                    </a:lnTo>
                    <a:lnTo>
                      <a:pt x="195411" y="60813"/>
                    </a:lnTo>
                    <a:lnTo>
                      <a:pt x="12162" y="60813"/>
                    </a:lnTo>
                    <a:close/>
                  </a:path>
                </a:pathLst>
              </a:custGeom>
              <a:solidFill>
                <a:srgbClr val="1B1E2D"/>
              </a:solidFill>
              <a:ln w="9525" cap="flat">
                <a:noFill/>
                <a:prstDash val="solid"/>
                <a:miter/>
              </a:ln>
            </p:spPr>
            <p:txBody>
              <a:bodyPr anchor="ctr"/>
              <a:lstStyle/>
              <a:p>
                <a:pPr algn="ctr"/>
                <a:endParaRPr/>
              </a:p>
            </p:txBody>
          </p:sp>
          <p:sp>
            <p:nvSpPr>
              <p:cNvPr id="170" name="任意多边形: 形状 169">
                <a:extLst>
                  <a:ext uri="{FF2B5EF4-FFF2-40B4-BE49-F238E27FC236}">
                    <a16:creationId xmlns:a16="http://schemas.microsoft.com/office/drawing/2014/main" id="{CF5EA15B-71DE-4D52-92D0-74D54E15A9EF}"/>
                  </a:ext>
                </a:extLst>
              </p:cNvPr>
              <p:cNvSpPr/>
              <p:nvPr/>
            </p:nvSpPr>
            <p:spPr>
              <a:xfrm>
                <a:off x="9179072" y="4791168"/>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1" name="任意多边形: 形状 170">
                <a:extLst>
                  <a:ext uri="{FF2B5EF4-FFF2-40B4-BE49-F238E27FC236}">
                    <a16:creationId xmlns:a16="http://schemas.microsoft.com/office/drawing/2014/main" id="{A5C9D382-968F-4A82-BDDC-4DFF32B0729C}"/>
                  </a:ext>
                </a:extLst>
              </p:cNvPr>
              <p:cNvSpPr/>
              <p:nvPr/>
            </p:nvSpPr>
            <p:spPr>
              <a:xfrm>
                <a:off x="9023392" y="4920901"/>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2" name="任意多边形: 形状 171">
                <a:extLst>
                  <a:ext uri="{FF2B5EF4-FFF2-40B4-BE49-F238E27FC236}">
                    <a16:creationId xmlns:a16="http://schemas.microsoft.com/office/drawing/2014/main" id="{52ABE73A-BE83-4A79-8774-69F96F717D74}"/>
                  </a:ext>
                </a:extLst>
              </p:cNvPr>
              <p:cNvSpPr/>
              <p:nvPr/>
            </p:nvSpPr>
            <p:spPr>
              <a:xfrm>
                <a:off x="9179072" y="5050635"/>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3" name="任意多边形: 形状 172">
                <a:extLst>
                  <a:ext uri="{FF2B5EF4-FFF2-40B4-BE49-F238E27FC236}">
                    <a16:creationId xmlns:a16="http://schemas.microsoft.com/office/drawing/2014/main" id="{E48EAD8E-C56F-4CD1-BF12-940ABA9EB0CB}"/>
                  </a:ext>
                </a:extLst>
              </p:cNvPr>
              <p:cNvSpPr/>
              <p:nvPr/>
            </p:nvSpPr>
            <p:spPr>
              <a:xfrm>
                <a:off x="9023392" y="5050635"/>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4" name="任意多边形: 形状 173">
                <a:extLst>
                  <a:ext uri="{FF2B5EF4-FFF2-40B4-BE49-F238E27FC236}">
                    <a16:creationId xmlns:a16="http://schemas.microsoft.com/office/drawing/2014/main" id="{BE2E58DE-D994-46A1-964A-CDD9D3264A92}"/>
                  </a:ext>
                </a:extLst>
              </p:cNvPr>
              <p:cNvSpPr/>
              <p:nvPr/>
            </p:nvSpPr>
            <p:spPr>
              <a:xfrm>
                <a:off x="9179072" y="5180369"/>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5" name="任意多边形: 形状 174">
                <a:extLst>
                  <a:ext uri="{FF2B5EF4-FFF2-40B4-BE49-F238E27FC236}">
                    <a16:creationId xmlns:a16="http://schemas.microsoft.com/office/drawing/2014/main" id="{607E90C9-288E-429A-9CC2-503C124DA0C3}"/>
                  </a:ext>
                </a:extLst>
              </p:cNvPr>
              <p:cNvSpPr/>
              <p:nvPr/>
            </p:nvSpPr>
            <p:spPr>
              <a:xfrm>
                <a:off x="9023392" y="5180369"/>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6" name="任意多边形: 形状 175">
                <a:extLst>
                  <a:ext uri="{FF2B5EF4-FFF2-40B4-BE49-F238E27FC236}">
                    <a16:creationId xmlns:a16="http://schemas.microsoft.com/office/drawing/2014/main" id="{4B8576E6-8AF7-483B-8A93-B5526A7D6A06}"/>
                  </a:ext>
                </a:extLst>
              </p:cNvPr>
              <p:cNvSpPr/>
              <p:nvPr/>
            </p:nvSpPr>
            <p:spPr>
              <a:xfrm>
                <a:off x="9023392" y="5310102"/>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7" name="任意多边形: 形状 176">
                <a:extLst>
                  <a:ext uri="{FF2B5EF4-FFF2-40B4-BE49-F238E27FC236}">
                    <a16:creationId xmlns:a16="http://schemas.microsoft.com/office/drawing/2014/main" id="{24A90BC5-CDC4-437C-A8B1-4D16C8E7AFE1}"/>
                  </a:ext>
                </a:extLst>
              </p:cNvPr>
              <p:cNvSpPr/>
              <p:nvPr/>
            </p:nvSpPr>
            <p:spPr>
              <a:xfrm>
                <a:off x="9179072" y="5439836"/>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8" name="任意多边形: 形状 177">
                <a:extLst>
                  <a:ext uri="{FF2B5EF4-FFF2-40B4-BE49-F238E27FC236}">
                    <a16:creationId xmlns:a16="http://schemas.microsoft.com/office/drawing/2014/main" id="{BFD93FD3-D368-4B8E-BD76-22FE4839DB10}"/>
                  </a:ext>
                </a:extLst>
              </p:cNvPr>
              <p:cNvSpPr/>
              <p:nvPr/>
            </p:nvSpPr>
            <p:spPr>
              <a:xfrm>
                <a:off x="9023392" y="5439836"/>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79" name="任意多边形: 形状 178">
                <a:extLst>
                  <a:ext uri="{FF2B5EF4-FFF2-40B4-BE49-F238E27FC236}">
                    <a16:creationId xmlns:a16="http://schemas.microsoft.com/office/drawing/2014/main" id="{38CC3145-EDE1-479C-AAEF-4719447463E2}"/>
                  </a:ext>
                </a:extLst>
              </p:cNvPr>
              <p:cNvSpPr/>
              <p:nvPr/>
            </p:nvSpPr>
            <p:spPr>
              <a:xfrm>
                <a:off x="8870955" y="4791168"/>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80" name="任意多边形: 形状 179">
                <a:extLst>
                  <a:ext uri="{FF2B5EF4-FFF2-40B4-BE49-F238E27FC236}">
                    <a16:creationId xmlns:a16="http://schemas.microsoft.com/office/drawing/2014/main" id="{9079427E-D686-4B4F-8C20-C53C88677060}"/>
                  </a:ext>
                </a:extLst>
              </p:cNvPr>
              <p:cNvSpPr/>
              <p:nvPr/>
            </p:nvSpPr>
            <p:spPr>
              <a:xfrm>
                <a:off x="8870955" y="4920901"/>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81" name="任意多边形: 形状 180">
                <a:extLst>
                  <a:ext uri="{FF2B5EF4-FFF2-40B4-BE49-F238E27FC236}">
                    <a16:creationId xmlns:a16="http://schemas.microsoft.com/office/drawing/2014/main" id="{6106C810-675E-4B34-A6E3-A7A1882E0B7B}"/>
                  </a:ext>
                </a:extLst>
              </p:cNvPr>
              <p:cNvSpPr/>
              <p:nvPr/>
            </p:nvSpPr>
            <p:spPr>
              <a:xfrm>
                <a:off x="8870955" y="5180369"/>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82" name="任意多边形: 形状 181">
                <a:extLst>
                  <a:ext uri="{FF2B5EF4-FFF2-40B4-BE49-F238E27FC236}">
                    <a16:creationId xmlns:a16="http://schemas.microsoft.com/office/drawing/2014/main" id="{316B8EA8-E424-4562-8F72-A3CDE6F7BC64}"/>
                  </a:ext>
                </a:extLst>
              </p:cNvPr>
              <p:cNvSpPr/>
              <p:nvPr/>
            </p:nvSpPr>
            <p:spPr>
              <a:xfrm>
                <a:off x="8870955" y="5310102"/>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83" name="任意多边形: 形状 182">
                <a:extLst>
                  <a:ext uri="{FF2B5EF4-FFF2-40B4-BE49-F238E27FC236}">
                    <a16:creationId xmlns:a16="http://schemas.microsoft.com/office/drawing/2014/main" id="{EF072CC7-CDE0-403B-B842-6FCA30AA1F88}"/>
                  </a:ext>
                </a:extLst>
              </p:cNvPr>
              <p:cNvSpPr/>
              <p:nvPr/>
            </p:nvSpPr>
            <p:spPr>
              <a:xfrm>
                <a:off x="8870955" y="5439836"/>
                <a:ext cx="129734" cy="64867"/>
              </a:xfrm>
              <a:custGeom>
                <a:avLst/>
                <a:gdLst/>
                <a:ahLst/>
                <a:cxnLst/>
                <a:rect l="0" t="0" r="0" b="0"/>
                <a:pathLst>
                  <a:path w="129733" h="64866">
                    <a:moveTo>
                      <a:pt x="12163" y="12163"/>
                    </a:moveTo>
                    <a:lnTo>
                      <a:pt x="128923" y="12163"/>
                    </a:lnTo>
                    <a:lnTo>
                      <a:pt x="128923"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84" name="任意多边形: 形状 183">
                <a:extLst>
                  <a:ext uri="{FF2B5EF4-FFF2-40B4-BE49-F238E27FC236}">
                    <a16:creationId xmlns:a16="http://schemas.microsoft.com/office/drawing/2014/main" id="{D4CCC673-1C46-432A-A542-32156178EF4C}"/>
                  </a:ext>
                </a:extLst>
              </p:cNvPr>
              <p:cNvSpPr/>
              <p:nvPr/>
            </p:nvSpPr>
            <p:spPr>
              <a:xfrm>
                <a:off x="9023392" y="5569570"/>
                <a:ext cx="129734" cy="64867"/>
              </a:xfrm>
              <a:custGeom>
                <a:avLst/>
                <a:gdLst/>
                <a:ahLst/>
                <a:cxnLst/>
                <a:rect l="0" t="0" r="0" b="0"/>
                <a:pathLst>
                  <a:path w="129733" h="64866">
                    <a:moveTo>
                      <a:pt x="12163" y="12163"/>
                    </a:moveTo>
                    <a:lnTo>
                      <a:pt x="120815" y="12163"/>
                    </a:lnTo>
                    <a:lnTo>
                      <a:pt x="120815" y="60813"/>
                    </a:lnTo>
                    <a:lnTo>
                      <a:pt x="12163" y="60813"/>
                    </a:lnTo>
                    <a:close/>
                  </a:path>
                </a:pathLst>
              </a:custGeom>
              <a:solidFill>
                <a:srgbClr val="1B1E2D"/>
              </a:solidFill>
              <a:ln w="9525" cap="flat">
                <a:noFill/>
                <a:prstDash val="solid"/>
                <a:miter/>
              </a:ln>
            </p:spPr>
            <p:txBody>
              <a:bodyPr anchor="ctr"/>
              <a:lstStyle/>
              <a:p>
                <a:pPr algn="ctr"/>
                <a:endParaRPr/>
              </a:p>
            </p:txBody>
          </p:sp>
          <p:sp>
            <p:nvSpPr>
              <p:cNvPr id="185" name="任意多边形: 形状 184">
                <a:extLst>
                  <a:ext uri="{FF2B5EF4-FFF2-40B4-BE49-F238E27FC236}">
                    <a16:creationId xmlns:a16="http://schemas.microsoft.com/office/drawing/2014/main" id="{1EE1BA09-CA42-45FD-BFE3-B20568E6B571}"/>
                  </a:ext>
                </a:extLst>
              </p:cNvPr>
              <p:cNvSpPr/>
              <p:nvPr/>
            </p:nvSpPr>
            <p:spPr>
              <a:xfrm>
                <a:off x="5455716" y="4693867"/>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86" name="任意多边形: 形状 185">
                <a:extLst>
                  <a:ext uri="{FF2B5EF4-FFF2-40B4-BE49-F238E27FC236}">
                    <a16:creationId xmlns:a16="http://schemas.microsoft.com/office/drawing/2014/main" id="{1CBB53B1-4B09-419B-A1DC-0A6D5EA11CB9}"/>
                  </a:ext>
                </a:extLst>
              </p:cNvPr>
              <p:cNvSpPr/>
              <p:nvPr/>
            </p:nvSpPr>
            <p:spPr>
              <a:xfrm>
                <a:off x="5682750" y="4693867"/>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87" name="任意多边形: 形状 186">
                <a:extLst>
                  <a:ext uri="{FF2B5EF4-FFF2-40B4-BE49-F238E27FC236}">
                    <a16:creationId xmlns:a16="http://schemas.microsoft.com/office/drawing/2014/main" id="{F4DD2A54-8EA3-4621-A496-6E44043AD0EF}"/>
                  </a:ext>
                </a:extLst>
              </p:cNvPr>
              <p:cNvSpPr/>
              <p:nvPr/>
            </p:nvSpPr>
            <p:spPr>
              <a:xfrm>
                <a:off x="5796267" y="4693867"/>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88" name="任意多边形: 形状 187">
                <a:extLst>
                  <a:ext uri="{FF2B5EF4-FFF2-40B4-BE49-F238E27FC236}">
                    <a16:creationId xmlns:a16="http://schemas.microsoft.com/office/drawing/2014/main" id="{63031F1A-E3F9-4463-AEB4-A7FDD12FEA65}"/>
                  </a:ext>
                </a:extLst>
              </p:cNvPr>
              <p:cNvSpPr/>
              <p:nvPr/>
            </p:nvSpPr>
            <p:spPr>
              <a:xfrm>
                <a:off x="5455716" y="4969551"/>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89" name="任意多边形: 形状 188">
                <a:extLst>
                  <a:ext uri="{FF2B5EF4-FFF2-40B4-BE49-F238E27FC236}">
                    <a16:creationId xmlns:a16="http://schemas.microsoft.com/office/drawing/2014/main" id="{CD4F22AC-6AE8-4B5E-A4A5-A8DC3968D145}"/>
                  </a:ext>
                </a:extLst>
              </p:cNvPr>
              <p:cNvSpPr/>
              <p:nvPr/>
            </p:nvSpPr>
            <p:spPr>
              <a:xfrm>
                <a:off x="5569233" y="4969551"/>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90" name="任意多边形: 形状 189">
                <a:extLst>
                  <a:ext uri="{FF2B5EF4-FFF2-40B4-BE49-F238E27FC236}">
                    <a16:creationId xmlns:a16="http://schemas.microsoft.com/office/drawing/2014/main" id="{5076A304-3830-4E6D-82CD-39D4E7E12FC5}"/>
                  </a:ext>
                </a:extLst>
              </p:cNvPr>
              <p:cNvSpPr/>
              <p:nvPr/>
            </p:nvSpPr>
            <p:spPr>
              <a:xfrm>
                <a:off x="5796267" y="4969551"/>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91" name="任意多边形: 形状 190">
                <a:extLst>
                  <a:ext uri="{FF2B5EF4-FFF2-40B4-BE49-F238E27FC236}">
                    <a16:creationId xmlns:a16="http://schemas.microsoft.com/office/drawing/2014/main" id="{44F7C03D-51BC-444C-9071-14C4C041FB8A}"/>
                  </a:ext>
                </a:extLst>
              </p:cNvPr>
              <p:cNvSpPr/>
              <p:nvPr/>
            </p:nvSpPr>
            <p:spPr>
              <a:xfrm>
                <a:off x="5455716" y="5245235"/>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92" name="任意多边形: 形状 191">
                <a:extLst>
                  <a:ext uri="{FF2B5EF4-FFF2-40B4-BE49-F238E27FC236}">
                    <a16:creationId xmlns:a16="http://schemas.microsoft.com/office/drawing/2014/main" id="{AD3508A2-BF50-44A5-8E8A-1A38F9515A83}"/>
                  </a:ext>
                </a:extLst>
              </p:cNvPr>
              <p:cNvSpPr/>
              <p:nvPr/>
            </p:nvSpPr>
            <p:spPr>
              <a:xfrm>
                <a:off x="5682750" y="5245235"/>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93" name="任意多边形: 形状 192">
                <a:extLst>
                  <a:ext uri="{FF2B5EF4-FFF2-40B4-BE49-F238E27FC236}">
                    <a16:creationId xmlns:a16="http://schemas.microsoft.com/office/drawing/2014/main" id="{D4682611-7185-411B-8118-3562C7C26FA1}"/>
                  </a:ext>
                </a:extLst>
              </p:cNvPr>
              <p:cNvSpPr/>
              <p:nvPr/>
            </p:nvSpPr>
            <p:spPr>
              <a:xfrm>
                <a:off x="5796267" y="5245235"/>
                <a:ext cx="81084" cy="210817"/>
              </a:xfrm>
              <a:custGeom>
                <a:avLst/>
                <a:gdLst/>
                <a:ahLst/>
                <a:cxnLst/>
                <a:rect l="0" t="0" r="0" b="0"/>
                <a:pathLst>
                  <a:path w="81083" h="210817">
                    <a:moveTo>
                      <a:pt x="12163" y="12163"/>
                    </a:moveTo>
                    <a:lnTo>
                      <a:pt x="77029" y="12163"/>
                    </a:lnTo>
                    <a:lnTo>
                      <a:pt x="77029" y="206763"/>
                    </a:lnTo>
                    <a:lnTo>
                      <a:pt x="12163" y="206763"/>
                    </a:lnTo>
                    <a:close/>
                  </a:path>
                </a:pathLst>
              </a:custGeom>
              <a:solidFill>
                <a:srgbClr val="1B1E2D"/>
              </a:solidFill>
              <a:ln w="9525" cap="flat">
                <a:noFill/>
                <a:prstDash val="solid"/>
                <a:miter/>
              </a:ln>
            </p:spPr>
            <p:txBody>
              <a:bodyPr anchor="ctr"/>
              <a:lstStyle/>
              <a:p>
                <a:pPr algn="ctr"/>
                <a:endParaRPr/>
              </a:p>
            </p:txBody>
          </p:sp>
          <p:sp>
            <p:nvSpPr>
              <p:cNvPr id="194" name="任意多边形: 形状 193">
                <a:extLst>
                  <a:ext uri="{FF2B5EF4-FFF2-40B4-BE49-F238E27FC236}">
                    <a16:creationId xmlns:a16="http://schemas.microsoft.com/office/drawing/2014/main" id="{5784A0AB-D45B-47CF-A014-D3822AF68F9C}"/>
                  </a:ext>
                </a:extLst>
              </p:cNvPr>
              <p:cNvSpPr/>
              <p:nvPr/>
            </p:nvSpPr>
            <p:spPr>
              <a:xfrm>
                <a:off x="9740171" y="4774951"/>
                <a:ext cx="356768" cy="308117"/>
              </a:xfrm>
              <a:custGeom>
                <a:avLst/>
                <a:gdLst/>
                <a:ahLst/>
                <a:cxnLst/>
                <a:rect l="0" t="0" r="0" b="0"/>
                <a:pathLst>
                  <a:path w="356767" h="308117">
                    <a:moveTo>
                      <a:pt x="291090" y="12163"/>
                    </a:moveTo>
                    <a:lnTo>
                      <a:pt x="72164" y="12163"/>
                    </a:lnTo>
                    <a:lnTo>
                      <a:pt x="12163" y="304063"/>
                    </a:lnTo>
                    <a:lnTo>
                      <a:pt x="354335" y="304063"/>
                    </a:lnTo>
                    <a:close/>
                  </a:path>
                </a:pathLst>
              </a:custGeom>
              <a:solidFill>
                <a:srgbClr val="1B1E2D"/>
              </a:solidFill>
              <a:ln w="9525" cap="flat">
                <a:noFill/>
                <a:prstDash val="solid"/>
                <a:miter/>
              </a:ln>
            </p:spPr>
            <p:txBody>
              <a:bodyPr anchor="ctr"/>
              <a:lstStyle/>
              <a:p>
                <a:pPr algn="ctr"/>
                <a:endParaRPr/>
              </a:p>
            </p:txBody>
          </p:sp>
          <p:sp>
            <p:nvSpPr>
              <p:cNvPr id="195" name="任意多边形: 形状 194">
                <a:extLst>
                  <a:ext uri="{FF2B5EF4-FFF2-40B4-BE49-F238E27FC236}">
                    <a16:creationId xmlns:a16="http://schemas.microsoft.com/office/drawing/2014/main" id="{511A9F11-5285-41F9-97F8-84C8603D838F}"/>
                  </a:ext>
                </a:extLst>
              </p:cNvPr>
              <p:cNvSpPr/>
              <p:nvPr/>
            </p:nvSpPr>
            <p:spPr>
              <a:xfrm>
                <a:off x="9813146" y="4353316"/>
                <a:ext cx="210817" cy="372984"/>
              </a:xfrm>
              <a:custGeom>
                <a:avLst/>
                <a:gdLst/>
                <a:ahLst/>
                <a:cxnLst/>
                <a:rect l="0" t="0" r="0" b="0"/>
                <a:pathLst>
                  <a:path w="210817" h="372984">
                    <a:moveTo>
                      <a:pt x="203520" y="368930"/>
                    </a:moveTo>
                    <a:lnTo>
                      <a:pt x="127301" y="12163"/>
                    </a:lnTo>
                    <a:lnTo>
                      <a:pt x="86759" y="12163"/>
                    </a:lnTo>
                    <a:lnTo>
                      <a:pt x="12163" y="368930"/>
                    </a:lnTo>
                    <a:close/>
                  </a:path>
                </a:pathLst>
              </a:custGeom>
              <a:solidFill>
                <a:srgbClr val="1B1E2D"/>
              </a:solidFill>
              <a:ln w="9525" cap="flat">
                <a:noFill/>
                <a:prstDash val="solid"/>
                <a:miter/>
              </a:ln>
            </p:spPr>
            <p:txBody>
              <a:bodyPr anchor="ctr"/>
              <a:lstStyle/>
              <a:p>
                <a:pPr algn="ctr"/>
                <a:endParaRPr/>
              </a:p>
            </p:txBody>
          </p:sp>
        </p:grpSp>
      </p:grpSp>
      <p:sp>
        <p:nvSpPr>
          <p:cNvPr id="2" name="矩形 1">
            <a:extLst>
              <a:ext uri="{FF2B5EF4-FFF2-40B4-BE49-F238E27FC236}">
                <a16:creationId xmlns:a16="http://schemas.microsoft.com/office/drawing/2014/main" id="{EA8AF54A-9FEC-4CAF-8043-A1D448C74FCB}"/>
              </a:ext>
            </a:extLst>
          </p:cNvPr>
          <p:cNvSpPr/>
          <p:nvPr userDrawn="1"/>
        </p:nvSpPr>
        <p:spPr>
          <a:xfrm>
            <a:off x="3641544" y="2169082"/>
            <a:ext cx="5016681" cy="118234"/>
          </a:xfrm>
          <a:prstGeom prst="rect">
            <a:avLst/>
          </a:prstGeom>
          <a:solidFill>
            <a:srgbClr val="8D754B"/>
          </a:solidFill>
          <a:ln w="9525" cap="flat">
            <a:noFill/>
            <a:prstDash val="solid"/>
            <a:miter/>
          </a:ln>
        </p:spPr>
        <p:txBody>
          <a:bodyPr anchor="ctr"/>
          <a:lstStyle/>
          <a:p>
            <a:pPr lvl="0" algn="ctr"/>
            <a:endParaRPr lang="zh-CN" altLang="en-US">
              <a:solidFill>
                <a:schemeClr val="tx1"/>
              </a:solidFill>
            </a:endParaRP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transition spd="med">
    <p:pull/>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5/10/31</a:t>
            </a:fld>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OfficePLUS</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69" r:id="rId2"/>
    <p:sldLayoutId id="2147483651" r:id="rId3"/>
    <p:sldLayoutId id="2147483662" r:id="rId4"/>
    <p:sldLayoutId id="2147483655" r:id="rId5"/>
    <p:sldLayoutId id="2147483661" r:id="rId6"/>
  </p:sldLayoutIdLst>
  <p:transition spd="med">
    <p:pull/>
  </p:transition>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hemeOverride" Target="../theme/themeOverride4.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5.xml"/><Relationship Id="rId5" Type="http://schemas.openxmlformats.org/officeDocument/2006/relationships/image" Target="../media/image7.jpg"/><Relationship Id="rId4" Type="http://schemas.openxmlformats.org/officeDocument/2006/relationships/image" Target="../media/image6.jp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 hidden="1">
                        <a:extLst>
                          <a:ext uri="{FF2B5EF4-FFF2-40B4-BE49-F238E27FC236}">
                            <a16:creationId xmlns:a16="http://schemas.microsoft.com/office/drawing/2014/main" id="{3C326D0B-7DAB-41B6-8030-2E4A18CC94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a:xfrm>
            <a:off x="673099" y="731644"/>
            <a:ext cx="1409701" cy="392140"/>
          </a:xfrm>
        </p:spPr>
        <p:txBody>
          <a:bodyPr>
            <a:normAutofit fontScale="92500" lnSpcReduction="20000"/>
          </a:bodyPr>
          <a:lstStyle/>
          <a:p>
            <a:r>
              <a:rPr lang="en-US" altLang="zh-CN" dirty="0"/>
              <a:t>TRAVEL</a:t>
            </a:r>
          </a:p>
        </p:txBody>
      </p:sp>
      <p:sp>
        <p:nvSpPr>
          <p:cNvPr id="4" name="标题 3"/>
          <p:cNvSpPr>
            <a:spLocks noGrp="1"/>
          </p:cNvSpPr>
          <p:nvPr>
            <p:ph type="ctrTitle"/>
          </p:nvPr>
        </p:nvSpPr>
        <p:spPr/>
        <p:txBody>
          <a:bodyPr>
            <a:normAutofit/>
          </a:bodyPr>
          <a:lstStyle/>
          <a:p>
            <a:pPr algn="r">
              <a:defRPr/>
            </a:pPr>
            <a:r>
              <a:rPr lang="en-US" altLang="zh-CN" sz="6000" dirty="0"/>
              <a:t>TRAVEL  </a:t>
            </a:r>
            <a:br>
              <a:rPr lang="en-US" altLang="zh-CN" sz="6000" dirty="0"/>
            </a:br>
            <a:r>
              <a:rPr lang="en-US" altLang="zh-CN" sz="2400" b="0" spc="600" dirty="0"/>
              <a:t>STANDARD TEMPLATE</a:t>
            </a:r>
            <a:endParaRPr lang="zh-CN" altLang="en-US" sz="6000" b="0" spc="600" dirty="0"/>
          </a:p>
        </p:txBody>
      </p:sp>
      <p:sp>
        <p:nvSpPr>
          <p:cNvPr id="6" name="文本占位符 5"/>
          <p:cNvSpPr>
            <a:spLocks noGrp="1"/>
          </p:cNvSpPr>
          <p:nvPr>
            <p:ph type="body" sz="quarter" idx="10"/>
          </p:nvPr>
        </p:nvSpPr>
        <p:spPr/>
        <p:txBody>
          <a:bodyPr/>
          <a:lstStyle/>
          <a:p>
            <a:r>
              <a:rPr lang="zh-CN" altLang="en-US" dirty="0"/>
              <a:t>辛卓航</a:t>
            </a:r>
            <a:endParaRPr lang="en-US" altLang="zh-CN" dirty="0"/>
          </a:p>
        </p:txBody>
      </p:sp>
      <p:sp>
        <p:nvSpPr>
          <p:cNvPr id="7" name="文本占位符 6"/>
          <p:cNvSpPr>
            <a:spLocks noGrp="1"/>
          </p:cNvSpPr>
          <p:nvPr>
            <p:ph type="body" sz="quarter" idx="11"/>
          </p:nvPr>
        </p:nvSpPr>
        <p:spPr/>
        <p:txBody>
          <a:bodyPr/>
          <a:lstStyle/>
          <a:p>
            <a:r>
              <a:rPr lang="en-US" altLang="zh-CN" dirty="0"/>
              <a:t>OfficePLUS</a:t>
            </a:r>
            <a:endParaRPr lang="en-US" altLang="en-US" dirty="0"/>
          </a:p>
        </p:txBody>
      </p:sp>
    </p:spTree>
    <p:extLst>
      <p:ext uri="{BB962C8B-B14F-4D97-AF65-F5344CB8AC3E}">
        <p14:creationId xmlns:p14="http://schemas.microsoft.com/office/powerpoint/2010/main" val="2271741893"/>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779FF-CBF4-3861-011A-25BCDF4B1439}"/>
              </a:ext>
            </a:extLst>
          </p:cNvPr>
          <p:cNvSpPr>
            <a:spLocks noGrp="1"/>
          </p:cNvSpPr>
          <p:nvPr>
            <p:ph type="title"/>
          </p:nvPr>
        </p:nvSpPr>
        <p:spPr>
          <a:xfrm>
            <a:off x="670718" y="3602930"/>
            <a:ext cx="10850563" cy="1055334"/>
          </a:xfrm>
        </p:spPr>
        <p:txBody>
          <a:bodyPr>
            <a:noAutofit/>
          </a:bodyPr>
          <a:lstStyle/>
          <a:p>
            <a:r>
              <a:rPr lang="en-US" altLang="zh-CN" sz="3200" dirty="0"/>
              <a:t>The meaning of travel is never just about how many views you see or how far you go. It’s more about stepping out of your daily routine, learning to welcome the unknown with curiosity, accept differences with openness, and treat life with passion. May we carry the breadth and enthusiasm from travel, live every ordinary day to the fullest, always move forward with a positive attitude, and enjoy every gift of life with optimism.</a:t>
            </a:r>
            <a:endParaRPr lang="zh-CN" altLang="en-US" sz="3200" dirty="0"/>
          </a:p>
        </p:txBody>
      </p:sp>
      <p:sp>
        <p:nvSpPr>
          <p:cNvPr id="3" name="页脚占位符 2">
            <a:extLst>
              <a:ext uri="{FF2B5EF4-FFF2-40B4-BE49-F238E27FC236}">
                <a16:creationId xmlns:a16="http://schemas.microsoft.com/office/drawing/2014/main" id="{C2775EE1-FB6E-C350-F2BA-2E937E1277C4}"/>
              </a:ext>
            </a:extLst>
          </p:cNvPr>
          <p:cNvSpPr>
            <a:spLocks noGrp="1"/>
          </p:cNvSpPr>
          <p:nvPr>
            <p:ph type="ftr" sz="quarter" idx="11"/>
          </p:nvPr>
        </p:nvSpPr>
        <p:spPr>
          <a:xfrm>
            <a:off x="670718" y="5705626"/>
            <a:ext cx="4140201" cy="206381"/>
          </a:xfrm>
        </p:spPr>
        <p:txBody>
          <a:bodyPr/>
          <a:lstStyle/>
          <a:p>
            <a:r>
              <a:rPr lang="en-US" altLang="zh-CN" sz="3200" dirty="0"/>
              <a:t>Enjoy your life</a:t>
            </a:r>
            <a:endParaRPr lang="zh-CN" altLang="en-US" sz="3200" dirty="0"/>
          </a:p>
        </p:txBody>
      </p:sp>
      <p:sp>
        <p:nvSpPr>
          <p:cNvPr id="4" name="灯片编号占位符 3">
            <a:extLst>
              <a:ext uri="{FF2B5EF4-FFF2-40B4-BE49-F238E27FC236}">
                <a16:creationId xmlns:a16="http://schemas.microsoft.com/office/drawing/2014/main" id="{8FEE2D51-C877-49EF-ABE8-5C8592A148E6}"/>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spTree>
    <p:extLst>
      <p:ext uri="{BB962C8B-B14F-4D97-AF65-F5344CB8AC3E}">
        <p14:creationId xmlns:p14="http://schemas.microsoft.com/office/powerpoint/2010/main" val="2066576224"/>
      </p:ext>
    </p:extLst>
  </p:cSld>
  <p:clrMapOvr>
    <a:masterClrMapping/>
  </p:clrMapOvr>
  <p:transition spd="med">
    <p:pull/>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dirty="0">
                <a:solidFill>
                  <a:schemeClr val="accent2"/>
                </a:solidFill>
              </a:rPr>
              <a:t>Thank you for listening</a:t>
            </a:r>
            <a:endParaRPr lang="zh-CN" altLang="en-US" dirty="0">
              <a:solidFill>
                <a:schemeClr val="accent2"/>
              </a:solidFill>
            </a:endParaRPr>
          </a:p>
        </p:txBody>
      </p:sp>
      <p:sp>
        <p:nvSpPr>
          <p:cNvPr id="7" name="文本占位符 6"/>
          <p:cNvSpPr>
            <a:spLocks noGrp="1"/>
          </p:cNvSpPr>
          <p:nvPr>
            <p:ph type="body" sz="quarter" idx="18"/>
          </p:nvPr>
        </p:nvSpPr>
        <p:spPr/>
        <p:txBody>
          <a:bodyPr/>
          <a:lstStyle/>
          <a:p>
            <a:r>
              <a:rPr lang="en-US" altLang="en-US" dirty="0">
                <a:solidFill>
                  <a:schemeClr val="accent2"/>
                </a:solidFill>
              </a:rPr>
              <a:t>2025.11</a:t>
            </a:r>
          </a:p>
        </p:txBody>
      </p:sp>
      <p:sp>
        <p:nvSpPr>
          <p:cNvPr id="6" name="文本占位符 5"/>
          <p:cNvSpPr>
            <a:spLocks noGrp="1"/>
          </p:cNvSpPr>
          <p:nvPr>
            <p:ph type="body" sz="quarter" idx="10"/>
          </p:nvPr>
        </p:nvSpPr>
        <p:spPr/>
        <p:txBody>
          <a:bodyPr/>
          <a:lstStyle/>
          <a:p>
            <a:r>
              <a:rPr lang="en-US" altLang="zh-CN" dirty="0">
                <a:solidFill>
                  <a:schemeClr val="accent2"/>
                </a:solidFill>
              </a:rPr>
              <a:t>Xin   </a:t>
            </a:r>
            <a:r>
              <a:rPr lang="en-US" altLang="zh-CN" dirty="0" err="1">
                <a:solidFill>
                  <a:schemeClr val="accent2"/>
                </a:solidFill>
              </a:rPr>
              <a:t>zhuo</a:t>
            </a:r>
            <a:r>
              <a:rPr lang="en-US" altLang="zh-CN" dirty="0">
                <a:solidFill>
                  <a:schemeClr val="accent2"/>
                </a:solidFill>
              </a:rPr>
              <a:t> hang</a:t>
            </a:r>
          </a:p>
        </p:txBody>
      </p:sp>
    </p:spTree>
    <p:extLst>
      <p:ext uri="{BB962C8B-B14F-4D97-AF65-F5344CB8AC3E}">
        <p14:creationId xmlns:p14="http://schemas.microsoft.com/office/powerpoint/2010/main" val="1259043032"/>
      </p:ext>
    </p:extLst>
  </p:cSld>
  <p:clrMapOvr>
    <a:masterClrMapping/>
  </p:clrMapOvr>
  <p:transition spd="med">
    <p:pull/>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组合 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文本框 6">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What is the travel?…</a:t>
                </a:r>
              </a:p>
              <a:p>
                <a:pPr marL="342900" indent="-342900">
                  <a:lnSpc>
                    <a:spcPct val="150000"/>
                  </a:lnSpc>
                  <a:buFont typeface="+mj-lt"/>
                  <a:buAutoNum type="arabicPeriod"/>
                </a:pPr>
                <a:r>
                  <a:rPr lang="en-US" altLang="zh-CN" b="0" dirty="0">
                    <a:latin typeface="+mn-lt"/>
                    <a:ea typeface="+mn-ea"/>
                    <a:sym typeface="+mn-lt"/>
                  </a:rPr>
                  <a:t>Why do we travel?…</a:t>
                </a:r>
              </a:p>
              <a:p>
                <a:pPr marL="342900" indent="-342900">
                  <a:lnSpc>
                    <a:spcPct val="150000"/>
                  </a:lnSpc>
                  <a:buFont typeface="+mj-lt"/>
                  <a:buAutoNum type="arabicPeriod"/>
                </a:pPr>
                <a:r>
                  <a:rPr lang="en-US" altLang="zh-CN" b="0" dirty="0">
                    <a:latin typeface="+mn-lt"/>
                    <a:ea typeface="+mn-ea"/>
                    <a:sym typeface="+mn-lt"/>
                  </a:rPr>
                  <a:t>The conclusion…</a:t>
                </a: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文本框 8">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p>
            </p:txBody>
          </p:sp>
        </p:grpSp>
        <p:sp>
          <p:nvSpPr>
            <p:cNvPr id="10" name="任意多边形: 形状 9">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extLst>
      <p:ext uri="{BB962C8B-B14F-4D97-AF65-F5344CB8AC3E}">
        <p14:creationId xmlns:p14="http://schemas.microsoft.com/office/powerpoint/2010/main" val="911933172"/>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2543871" y="3296304"/>
            <a:ext cx="5419185" cy="895350"/>
          </a:xfrm>
        </p:spPr>
        <p:txBody>
          <a:bodyPr/>
          <a:lstStyle/>
          <a:p>
            <a:pPr marL="342900" indent="-342900">
              <a:lnSpc>
                <a:spcPct val="150000"/>
              </a:lnSpc>
              <a:buFont typeface="+mj-lt"/>
              <a:buAutoNum type="arabicPeriod"/>
            </a:pPr>
            <a:r>
              <a:rPr lang="en-US" altLang="zh-CN" sz="3200" b="0" dirty="0">
                <a:sym typeface="+mn-lt"/>
              </a:rPr>
              <a:t>What is the travel?</a:t>
            </a:r>
          </a:p>
        </p:txBody>
      </p:sp>
      <p:sp>
        <p:nvSpPr>
          <p:cNvPr id="6" name="文本占位符 5"/>
          <p:cNvSpPr>
            <a:spLocks noGrp="1"/>
          </p:cNvSpPr>
          <p:nvPr>
            <p:ph type="body" idx="1"/>
          </p:nvPr>
        </p:nvSpPr>
        <p:spPr/>
        <p:txBody>
          <a:bodyPr/>
          <a:lstStyle/>
          <a:p>
            <a:pPr lvl="0"/>
            <a:r>
              <a:rPr lang="en-US" altLang="zh-CN" dirty="0"/>
              <a:t>.</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1268185" y="3275153"/>
            <a:ext cx="1054100" cy="916501"/>
          </a:xfrm>
          <a:prstGeom prst="rect">
            <a:avLst/>
          </a:prstGeom>
          <a:noFill/>
          <a:ln w="117475">
            <a:noFill/>
          </a:ln>
        </p:spPr>
        <p:txBody>
          <a:bodyPr wrap="none" rtlCol="0">
            <a:prstTxWarp prst="textPlain">
              <a:avLst/>
            </a:prstTxWarp>
            <a:spAutoFit/>
          </a:bodyPr>
          <a:lstStyle/>
          <a:p>
            <a:r>
              <a:rPr lang="en-US" altLang="zh-CN" spc="100" dirty="0">
                <a:solidFill>
                  <a:schemeClr val="accent2"/>
                </a:solidFill>
                <a:latin typeface="Impact" panose="020B0806030902050204" pitchFamily="34" charset="0"/>
                <a:cs typeface="Arial" panose="020B0604020202020204" pitchFamily="34" charset="0"/>
              </a:rPr>
              <a:t>/01</a:t>
            </a:r>
            <a:endParaRPr lang="zh-CN" altLang="en-US" spc="100" dirty="0">
              <a:solidFill>
                <a:schemeClr val="accent2"/>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131B0DC-1604-0D76-3977-C4360382557A}"/>
              </a:ext>
            </a:extLst>
          </p:cNvPr>
          <p:cNvSpPr>
            <a:spLocks noGrp="1"/>
          </p:cNvSpPr>
          <p:nvPr>
            <p:ph type="title"/>
          </p:nvPr>
        </p:nvSpPr>
        <p:spPr>
          <a:xfrm>
            <a:off x="670718" y="411156"/>
            <a:ext cx="10850563" cy="4934309"/>
          </a:xfrm>
        </p:spPr>
        <p:txBody>
          <a:bodyPr>
            <a:normAutofit fontScale="90000"/>
          </a:bodyPr>
          <a:lstStyle/>
          <a:p>
            <a:r>
              <a:rPr lang="zh-CN" altLang="en-US" dirty="0"/>
              <a:t>​</a:t>
            </a:r>
            <a:br>
              <a:rPr lang="en-US" altLang="zh-CN" dirty="0"/>
            </a:br>
            <a:r>
              <a:rPr lang="en-US" altLang="zh-CN" dirty="0"/>
              <a:t>Travel is a trip away from home for a while — to explore, experience or grow, no matter how far it is.</a:t>
            </a:r>
            <a:br>
              <a:rPr lang="en-US" altLang="zh-CN" dirty="0"/>
            </a:br>
            <a:r>
              <a:rPr lang="zh-CN" altLang="en-US" dirty="0"/>
              <a:t>旅行，是为探索、体验或成长，暂时离开常住地的出行过程，无关距离长短</a:t>
            </a:r>
            <a:br>
              <a:rPr lang="en-US" altLang="zh-CN" dirty="0"/>
            </a:br>
            <a:br>
              <a:rPr lang="en-US" altLang="zh-CN" dirty="0"/>
            </a:br>
            <a:r>
              <a:rPr lang="en-US" altLang="zh-CN" dirty="0"/>
              <a:t>Travel is leaving with curiosity, and meeting new views and your true self in a new place.</a:t>
            </a:r>
            <a:br>
              <a:rPr lang="en-US" altLang="zh-CN" dirty="0"/>
            </a:br>
            <a:r>
              <a:rPr lang="zh-CN" altLang="en-US" dirty="0"/>
              <a:t>旅行是带着好奇出发，在陌生的境遇里，遇见新的风景与真实的自己。</a:t>
            </a:r>
            <a:br>
              <a:rPr lang="en-US" altLang="zh-CN" dirty="0"/>
            </a:br>
            <a:br>
              <a:rPr lang="en-US" altLang="zh-CN" dirty="0"/>
            </a:br>
            <a:r>
              <a:rPr lang="en-US" altLang="zh-CN" dirty="0"/>
              <a:t>Travel is a small adventure outside daily life — measure the world with your feet and feel beauty with your heart.</a:t>
            </a:r>
            <a:br>
              <a:rPr lang="en-US" altLang="zh-CN" dirty="0"/>
            </a:br>
            <a:br>
              <a:rPr lang="en-US" altLang="zh-CN" dirty="0"/>
            </a:br>
            <a:r>
              <a:rPr lang="zh-CN" altLang="en-US" dirty="0"/>
              <a:t>旅行是跳出日常的小冒险，用脚步丈量世界，用心灵感受美好。</a:t>
            </a:r>
          </a:p>
        </p:txBody>
      </p:sp>
      <p:sp>
        <p:nvSpPr>
          <p:cNvPr id="3" name="页脚占位符 2">
            <a:extLst>
              <a:ext uri="{FF2B5EF4-FFF2-40B4-BE49-F238E27FC236}">
                <a16:creationId xmlns:a16="http://schemas.microsoft.com/office/drawing/2014/main" id="{B7CB6444-2A1F-8FE3-07CB-ABEB0E6328E1}"/>
              </a:ext>
            </a:extLst>
          </p:cNvPr>
          <p:cNvSpPr>
            <a:spLocks noGrp="1"/>
          </p:cNvSpPr>
          <p:nvPr>
            <p:ph type="ftr" sz="quarter" idx="11"/>
          </p:nvPr>
        </p:nvSpPr>
        <p:spPr/>
        <p:txBody>
          <a:bodyPr/>
          <a:lstStyle/>
          <a:p>
            <a:endParaRPr lang="zh-CN" altLang="en-US" dirty="0"/>
          </a:p>
        </p:txBody>
      </p:sp>
      <p:sp>
        <p:nvSpPr>
          <p:cNvPr id="4" name="灯片编号占位符 3">
            <a:extLst>
              <a:ext uri="{FF2B5EF4-FFF2-40B4-BE49-F238E27FC236}">
                <a16:creationId xmlns:a16="http://schemas.microsoft.com/office/drawing/2014/main" id="{4680379E-D5E8-CD72-7EEA-A3165B92F8FA}"/>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Tree>
    <p:extLst>
      <p:ext uri="{BB962C8B-B14F-4D97-AF65-F5344CB8AC3E}">
        <p14:creationId xmlns:p14="http://schemas.microsoft.com/office/powerpoint/2010/main" val="210931680"/>
      </p:ext>
    </p:extLst>
  </p:cSld>
  <p:clrMapOvr>
    <a:masterClrMapping/>
  </p:clrMapOvr>
  <p:transition spd="med">
    <p:pull/>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95005B5-D790-4BD8-8112-CCC9823E2020}"/>
              </a:ext>
            </a:extLst>
          </p:cNvPr>
          <p:cNvSpPr>
            <a:spLocks noGrp="1"/>
          </p:cNvSpPr>
          <p:nvPr>
            <p:ph type="title"/>
          </p:nvPr>
        </p:nvSpPr>
        <p:spPr>
          <a:xfrm>
            <a:off x="1215637" y="3540376"/>
            <a:ext cx="5419185" cy="895350"/>
          </a:xfrm>
        </p:spPr>
        <p:txBody>
          <a:bodyPr>
            <a:normAutofit fontScale="90000"/>
          </a:bodyPr>
          <a:lstStyle/>
          <a:p>
            <a:br>
              <a:rPr lang="zh-CN" altLang="en-US" sz="3200" spc="100" dirty="0">
                <a:solidFill>
                  <a:schemeClr val="accent2"/>
                </a:solidFill>
                <a:latin typeface="Impact" panose="020B0806030902050204" pitchFamily="34" charset="0"/>
                <a:cs typeface="Arial" panose="020B0604020202020204" pitchFamily="34" charset="0"/>
              </a:rPr>
            </a:br>
            <a:r>
              <a:rPr lang="zh-CN" altLang="en-US" sz="3200" spc="100" dirty="0">
                <a:solidFill>
                  <a:schemeClr val="accent2"/>
                </a:solidFill>
                <a:latin typeface="Impact" panose="020B0806030902050204" pitchFamily="34" charset="0"/>
                <a:cs typeface="Arial" panose="020B0604020202020204" pitchFamily="34" charset="0"/>
              </a:rPr>
              <a:t> </a:t>
            </a:r>
            <a:r>
              <a:rPr lang="en-US" altLang="zh-CN" sz="8900" spc="100" dirty="0">
                <a:solidFill>
                  <a:schemeClr val="accent2"/>
                </a:solidFill>
                <a:latin typeface="Impact" panose="020B0806030902050204" pitchFamily="34" charset="0"/>
                <a:cs typeface="Arial" panose="020B0604020202020204" pitchFamily="34" charset="0"/>
              </a:rPr>
              <a:t>/02</a:t>
            </a:r>
            <a:r>
              <a:rPr lang="zh-CN" altLang="en-US" sz="8900" spc="100" dirty="0">
                <a:solidFill>
                  <a:schemeClr val="accent2"/>
                </a:solidFill>
                <a:latin typeface="Impact" panose="020B0806030902050204" pitchFamily="34" charset="0"/>
                <a:cs typeface="Arial" panose="020B0604020202020204" pitchFamily="34" charset="0"/>
              </a:rPr>
              <a:t>   </a:t>
            </a:r>
            <a:r>
              <a:rPr lang="en-US" altLang="zh-CN" sz="3200" b="0" dirty="0">
                <a:sym typeface="+mn-lt"/>
              </a:rPr>
              <a:t>Why do we travel?</a:t>
            </a:r>
            <a:endParaRPr lang="zh-CN" altLang="en-US" dirty="0"/>
          </a:p>
        </p:txBody>
      </p:sp>
    </p:spTree>
    <p:extLst>
      <p:ext uri="{BB962C8B-B14F-4D97-AF65-F5344CB8AC3E}">
        <p14:creationId xmlns:p14="http://schemas.microsoft.com/office/powerpoint/2010/main" val="1524407712"/>
      </p:ext>
    </p:extLst>
  </p:cSld>
  <p:clrMapOvr>
    <a:masterClrMapping/>
  </p:clrMapOvr>
  <p:transition spd="med">
    <p:pull/>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518FE5F3-E1D9-C6F6-F4BC-CC4EE44E27C0}"/>
              </a:ext>
            </a:extLst>
          </p:cNvPr>
          <p:cNvSpPr>
            <a:spLocks noGrp="1"/>
          </p:cNvSpPr>
          <p:nvPr>
            <p:ph type="ftr" sz="quarter" idx="11"/>
          </p:nvPr>
        </p:nvSpPr>
        <p:spPr/>
        <p:txBody>
          <a:bodyPr/>
          <a:lstStyle/>
          <a:p>
            <a:r>
              <a:rPr lang="en-US" altLang="zh-CN"/>
              <a:t>OfficePLUS</a:t>
            </a:r>
            <a:endParaRPr lang="zh-CN" altLang="en-US" dirty="0"/>
          </a:p>
        </p:txBody>
      </p:sp>
      <p:sp>
        <p:nvSpPr>
          <p:cNvPr id="3" name="灯片编号占位符 2">
            <a:extLst>
              <a:ext uri="{FF2B5EF4-FFF2-40B4-BE49-F238E27FC236}">
                <a16:creationId xmlns:a16="http://schemas.microsoft.com/office/drawing/2014/main" id="{B3747D4F-405A-B789-51AD-19DC87733265}"/>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标题 3">
            <a:extLst>
              <a:ext uri="{FF2B5EF4-FFF2-40B4-BE49-F238E27FC236}">
                <a16:creationId xmlns:a16="http://schemas.microsoft.com/office/drawing/2014/main" id="{C5EF8478-CDE1-D4FA-BBA8-282EA15DDC60}"/>
              </a:ext>
            </a:extLst>
          </p:cNvPr>
          <p:cNvSpPr>
            <a:spLocks noGrp="1"/>
          </p:cNvSpPr>
          <p:nvPr>
            <p:ph type="title"/>
          </p:nvPr>
        </p:nvSpPr>
        <p:spPr>
          <a:xfrm>
            <a:off x="666988" y="411156"/>
            <a:ext cx="10850563" cy="1028699"/>
          </a:xfrm>
        </p:spPr>
        <p:txBody>
          <a:bodyPr>
            <a:normAutofit fontScale="90000"/>
          </a:bodyPr>
          <a:lstStyle/>
          <a:p>
            <a:r>
              <a:rPr lang="zh-CN" altLang="en-US" dirty="0"/>
              <a:t>歌德：</a:t>
            </a:r>
            <a:r>
              <a:rPr lang="en-US" altLang="zh-CN" dirty="0"/>
              <a:t>People love traveling not to get to the end, but to enjoy the good things along the way</a:t>
            </a:r>
            <a:br>
              <a:rPr lang="en-US" altLang="zh-CN" dirty="0"/>
            </a:br>
            <a:r>
              <a:rPr lang="zh-CN" altLang="en-US" dirty="0"/>
              <a:t>人们热爱旅行，不是为了到达终点，而是为了享受沿途的美好事物。</a:t>
            </a:r>
          </a:p>
        </p:txBody>
      </p:sp>
      <p:pic>
        <p:nvPicPr>
          <p:cNvPr id="9" name="图片 8">
            <a:extLst>
              <a:ext uri="{FF2B5EF4-FFF2-40B4-BE49-F238E27FC236}">
                <a16:creationId xmlns:a16="http://schemas.microsoft.com/office/drawing/2014/main" id="{6520E3A2-3250-9DA7-5AE3-3C8E4451B38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90174" y="1803047"/>
            <a:ext cx="5054497" cy="3661477"/>
          </a:xfrm>
          <a:prstGeom prst="rect">
            <a:avLst/>
          </a:prstGeom>
        </p:spPr>
      </p:pic>
      <p:pic>
        <p:nvPicPr>
          <p:cNvPr id="11" name="图片 10">
            <a:extLst>
              <a:ext uri="{FF2B5EF4-FFF2-40B4-BE49-F238E27FC236}">
                <a16:creationId xmlns:a16="http://schemas.microsoft.com/office/drawing/2014/main" id="{86329154-503A-9612-5FC0-65B50CF21ED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801" y="1791736"/>
            <a:ext cx="5054497" cy="3631721"/>
          </a:xfrm>
          <a:prstGeom prst="rect">
            <a:avLst/>
          </a:prstGeom>
        </p:spPr>
      </p:pic>
      <p:sp>
        <p:nvSpPr>
          <p:cNvPr id="17" name="内容占位符 16">
            <a:extLst>
              <a:ext uri="{FF2B5EF4-FFF2-40B4-BE49-F238E27FC236}">
                <a16:creationId xmlns:a16="http://schemas.microsoft.com/office/drawing/2014/main" id="{8D2E53D5-84FB-9525-0321-AB83A960C0AA}"/>
              </a:ext>
            </a:extLst>
          </p:cNvPr>
          <p:cNvSpPr>
            <a:spLocks noGrp="1"/>
          </p:cNvSpPr>
          <p:nvPr>
            <p:ph sz="quarter" idx="13"/>
          </p:nvPr>
        </p:nvSpPr>
        <p:spPr/>
        <p:txBody>
          <a:bodyPr/>
          <a:lstStyle/>
          <a:p>
            <a:r>
              <a:rPr lang="zh-CN" altLang="en-US" dirty="0"/>
              <a:t>。</a:t>
            </a:r>
          </a:p>
        </p:txBody>
      </p:sp>
    </p:spTree>
    <p:extLst>
      <p:ext uri="{BB962C8B-B14F-4D97-AF65-F5344CB8AC3E}">
        <p14:creationId xmlns:p14="http://schemas.microsoft.com/office/powerpoint/2010/main" val="2312451238"/>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7814E2F1-3DFB-6A51-1000-2D1D1A81F97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9297" y="0"/>
            <a:ext cx="5299494" cy="3347049"/>
          </a:xfrm>
          <a:prstGeom prst="rect">
            <a:avLst/>
          </a:prstGeom>
        </p:spPr>
      </p:pic>
      <p:pic>
        <p:nvPicPr>
          <p:cNvPr id="9" name="图片 8">
            <a:extLst>
              <a:ext uri="{FF2B5EF4-FFF2-40B4-BE49-F238E27FC236}">
                <a16:creationId xmlns:a16="http://schemas.microsoft.com/office/drawing/2014/main" id="{568AD496-406A-0E52-7C47-ADFDDA808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5614" y="114860"/>
            <a:ext cx="5430273" cy="3232190"/>
          </a:xfrm>
          <a:prstGeom prst="rect">
            <a:avLst/>
          </a:prstGeom>
        </p:spPr>
      </p:pic>
      <p:pic>
        <p:nvPicPr>
          <p:cNvPr id="11" name="图片 10">
            <a:extLst>
              <a:ext uri="{FF2B5EF4-FFF2-40B4-BE49-F238E27FC236}">
                <a16:creationId xmlns:a16="http://schemas.microsoft.com/office/drawing/2014/main" id="{E902F16A-71CF-2670-2FB3-4719BB1D5F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297" y="3601529"/>
            <a:ext cx="5430273" cy="3178833"/>
          </a:xfrm>
          <a:prstGeom prst="rect">
            <a:avLst/>
          </a:prstGeom>
        </p:spPr>
      </p:pic>
      <p:pic>
        <p:nvPicPr>
          <p:cNvPr id="13" name="图片 12">
            <a:extLst>
              <a:ext uri="{FF2B5EF4-FFF2-40B4-BE49-F238E27FC236}">
                <a16:creationId xmlns:a16="http://schemas.microsoft.com/office/drawing/2014/main" id="{3F7D6F2A-A0E3-2461-207B-171EB2AA94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4475" y="3396091"/>
            <a:ext cx="6018228" cy="3347049"/>
          </a:xfrm>
          <a:prstGeom prst="rect">
            <a:avLst/>
          </a:prstGeom>
        </p:spPr>
      </p:pic>
    </p:spTree>
    <p:extLst>
      <p:ext uri="{BB962C8B-B14F-4D97-AF65-F5344CB8AC3E}">
        <p14:creationId xmlns:p14="http://schemas.microsoft.com/office/powerpoint/2010/main" val="478728040"/>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06F5131-FA37-7C11-FB7F-EB277EBB3F3F}"/>
              </a:ext>
            </a:extLst>
          </p:cNvPr>
          <p:cNvSpPr>
            <a:spLocks noGrp="1"/>
          </p:cNvSpPr>
          <p:nvPr>
            <p:ph type="title"/>
          </p:nvPr>
        </p:nvSpPr>
        <p:spPr>
          <a:xfrm>
            <a:off x="669924" y="264508"/>
            <a:ext cx="10850563" cy="1028699"/>
          </a:xfrm>
        </p:spPr>
        <p:txBody>
          <a:bodyPr>
            <a:normAutofit fontScale="90000"/>
          </a:bodyPr>
          <a:lstStyle/>
          <a:p>
            <a:r>
              <a:rPr lang="zh-CN" altLang="en-US" dirty="0"/>
              <a:t>雨果：</a:t>
            </a:r>
            <a:r>
              <a:rPr lang="en-US" altLang="zh-CN" dirty="0"/>
              <a:t>Life is like a trip. Your dream is the path of the trip. If you lose the path, you have to stop.​</a:t>
            </a:r>
            <a:br>
              <a:rPr lang="en-US" altLang="zh-CN" dirty="0"/>
            </a:br>
            <a:r>
              <a:rPr lang="zh-CN" altLang="en-US" sz="2200" dirty="0"/>
              <a:t>生活就像一场旅行，梦想是旅行的道路。如果失去了道路，你就不得不停下来。</a:t>
            </a:r>
          </a:p>
        </p:txBody>
      </p:sp>
      <p:sp>
        <p:nvSpPr>
          <p:cNvPr id="3" name="页脚占位符 2">
            <a:extLst>
              <a:ext uri="{FF2B5EF4-FFF2-40B4-BE49-F238E27FC236}">
                <a16:creationId xmlns:a16="http://schemas.microsoft.com/office/drawing/2014/main" id="{6086ECC8-06E3-21DA-473F-32370880223C}"/>
              </a:ext>
            </a:extLst>
          </p:cNvPr>
          <p:cNvSpPr>
            <a:spLocks noGrp="1"/>
          </p:cNvSpPr>
          <p:nvPr>
            <p:ph type="ftr" sz="quarter" idx="11"/>
          </p:nvPr>
        </p:nvSpPr>
        <p:spPr/>
        <p:txBody>
          <a:bodyPr/>
          <a:lstStyle/>
          <a:p>
            <a:r>
              <a:rPr lang="en-US" altLang="zh-CN"/>
              <a:t>OfficePLUS</a:t>
            </a:r>
            <a:endParaRPr lang="zh-CN" altLang="en-US" dirty="0"/>
          </a:p>
        </p:txBody>
      </p:sp>
      <p:sp>
        <p:nvSpPr>
          <p:cNvPr id="4" name="灯片编号占位符 3">
            <a:extLst>
              <a:ext uri="{FF2B5EF4-FFF2-40B4-BE49-F238E27FC236}">
                <a16:creationId xmlns:a16="http://schemas.microsoft.com/office/drawing/2014/main" id="{6D094DD4-D1CF-2C5D-830A-76EA360A63D4}"/>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pic>
        <p:nvPicPr>
          <p:cNvPr id="5" name="c156afea17c1a647997dfa5a68980a6c">
            <a:hlinkClick r:id="" action="ppaction://media"/>
            <a:extLst>
              <a:ext uri="{FF2B5EF4-FFF2-40B4-BE49-F238E27FC236}">
                <a16:creationId xmlns:a16="http://schemas.microsoft.com/office/drawing/2014/main" id="{EF50387C-9430-4080-75B3-62A10C3B3AE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916689" y="1698648"/>
            <a:ext cx="9148854" cy="4980353"/>
          </a:xfrm>
          <a:prstGeom prst="rect">
            <a:avLst/>
          </a:prstGeom>
        </p:spPr>
      </p:pic>
    </p:spTree>
    <p:extLst>
      <p:ext uri="{BB962C8B-B14F-4D97-AF65-F5344CB8AC3E}">
        <p14:creationId xmlns:p14="http://schemas.microsoft.com/office/powerpoint/2010/main" val="376957482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24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52FC0F0-420F-FB3A-A583-7012E1B32A65}"/>
              </a:ext>
            </a:extLst>
          </p:cNvPr>
          <p:cNvSpPr>
            <a:spLocks noGrp="1"/>
          </p:cNvSpPr>
          <p:nvPr>
            <p:ph type="title"/>
          </p:nvPr>
        </p:nvSpPr>
        <p:spPr>
          <a:xfrm>
            <a:off x="2544105" y="3489136"/>
            <a:ext cx="5419185" cy="895350"/>
          </a:xfrm>
        </p:spPr>
        <p:txBody>
          <a:bodyPr/>
          <a:lstStyle/>
          <a:p>
            <a:r>
              <a:rPr lang="en-US" altLang="zh-CN" sz="3200" b="0" dirty="0">
                <a:sym typeface="+mn-lt"/>
              </a:rPr>
              <a:t>The conclusion</a:t>
            </a:r>
            <a:endParaRPr lang="zh-CN" altLang="en-US" dirty="0"/>
          </a:p>
        </p:txBody>
      </p:sp>
      <p:sp>
        <p:nvSpPr>
          <p:cNvPr id="3" name="文本占位符 2">
            <a:extLst>
              <a:ext uri="{FF2B5EF4-FFF2-40B4-BE49-F238E27FC236}">
                <a16:creationId xmlns:a16="http://schemas.microsoft.com/office/drawing/2014/main" id="{D1199389-FD47-AF20-A54B-AD45E1AD7305}"/>
              </a:ext>
            </a:extLst>
          </p:cNvPr>
          <p:cNvSpPr>
            <a:spLocks noGrp="1"/>
          </p:cNvSpPr>
          <p:nvPr>
            <p:ph type="body" idx="1"/>
          </p:nvPr>
        </p:nvSpPr>
        <p:spPr>
          <a:xfrm>
            <a:off x="742300" y="2921188"/>
            <a:ext cx="5419185" cy="1015623"/>
          </a:xfrm>
        </p:spPr>
        <p:txBody>
          <a:bodyPr>
            <a:noAutofit/>
          </a:bodyPr>
          <a:lstStyle/>
          <a:p>
            <a:r>
              <a:rPr lang="en-US" altLang="zh-CN" sz="8000" spc="100" dirty="0">
                <a:solidFill>
                  <a:schemeClr val="accent2"/>
                </a:solidFill>
                <a:latin typeface="Impact" panose="020B0806030902050204" pitchFamily="34" charset="0"/>
                <a:cs typeface="Arial" panose="020B0604020202020204" pitchFamily="34" charset="0"/>
              </a:rPr>
              <a:t>/03</a:t>
            </a:r>
            <a:endParaRPr lang="zh-CN" altLang="en-US" sz="8000" dirty="0"/>
          </a:p>
        </p:txBody>
      </p:sp>
    </p:spTree>
    <p:extLst>
      <p:ext uri="{BB962C8B-B14F-4D97-AF65-F5344CB8AC3E}">
        <p14:creationId xmlns:p14="http://schemas.microsoft.com/office/powerpoint/2010/main" val="2300576493"/>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ISLIDE.THEME" val="1fa37b47-f380-4b95-8e0c-e5a3ce9a281e"/>
</p:tagLst>
</file>

<file path=ppt/tags/tag2.xml><?xml version="1.0" encoding="utf-8"?>
<p:tagLst xmlns:a="http://schemas.openxmlformats.org/drawingml/2006/main" xmlns:r="http://schemas.openxmlformats.org/officeDocument/2006/relationships" xmlns:p="http://schemas.openxmlformats.org/presentationml/2006/main">
  <p:tag name="ISLIDE.VECTOR" val="dde2c2de-4721-42d5-ad7a-0e7cc1010371"/>
</p:tagLst>
</file>

<file path=ppt/tags/tag3.xml><?xml version="1.0" encoding="utf-8"?>
<p:tagLst xmlns:a="http://schemas.openxmlformats.org/drawingml/2006/main" xmlns:r="http://schemas.openxmlformats.org/officeDocument/2006/relationships" xmlns:p="http://schemas.openxmlformats.org/presentationml/2006/main">
  <p:tag name="ISLIDE.VECTOR" val="dde2c2de-4721-42d5-ad7a-0e7cc1010371"/>
</p:tagLst>
</file>

<file path=ppt/theme/theme1.xml><?xml version="1.0" encoding="utf-8"?>
<a:theme xmlns:a="http://schemas.openxmlformats.org/drawingml/2006/main" name="主题5">
  <a:themeElements>
    <a:clrScheme name="房利美">
      <a:dk1>
        <a:srgbClr val="000000"/>
      </a:dk1>
      <a:lt1>
        <a:srgbClr val="FFFFFF"/>
      </a:lt1>
      <a:dk2>
        <a:srgbClr val="778495"/>
      </a:dk2>
      <a:lt2>
        <a:srgbClr val="F0F0F0"/>
      </a:lt2>
      <a:accent1>
        <a:srgbClr val="1B1E2D"/>
      </a:accent1>
      <a:accent2>
        <a:srgbClr val="8D754B"/>
      </a:accent2>
      <a:accent3>
        <a:srgbClr val="AA8A52"/>
      </a:accent3>
      <a:accent4>
        <a:srgbClr val="888888"/>
      </a:accent4>
      <a:accent5>
        <a:srgbClr val="B0B0B0"/>
      </a:accent5>
      <a:accent6>
        <a:srgbClr val="C9C9C9"/>
      </a:accent6>
      <a:hlink>
        <a:srgbClr val="050359"/>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78495"/>
    </a:dk2>
    <a:lt2>
      <a:srgbClr val="F0F0F0"/>
    </a:lt2>
    <a:accent1>
      <a:srgbClr val="1B1E2D"/>
    </a:accent1>
    <a:accent2>
      <a:srgbClr val="8D754B"/>
    </a:accent2>
    <a:accent3>
      <a:srgbClr val="AA8A52"/>
    </a:accent3>
    <a:accent4>
      <a:srgbClr val="888888"/>
    </a:accent4>
    <a:accent5>
      <a:srgbClr val="B0B0B0"/>
    </a:accent5>
    <a:accent6>
      <a:srgbClr val="C9C9C9"/>
    </a:accent6>
    <a:hlink>
      <a:srgbClr val="050359"/>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78495"/>
    </a:dk2>
    <a:lt2>
      <a:srgbClr val="F0F0F0"/>
    </a:lt2>
    <a:accent1>
      <a:srgbClr val="1B1E2D"/>
    </a:accent1>
    <a:accent2>
      <a:srgbClr val="8D754B"/>
    </a:accent2>
    <a:accent3>
      <a:srgbClr val="AA8A52"/>
    </a:accent3>
    <a:accent4>
      <a:srgbClr val="888888"/>
    </a:accent4>
    <a:accent5>
      <a:srgbClr val="B0B0B0"/>
    </a:accent5>
    <a:accent6>
      <a:srgbClr val="C9C9C9"/>
    </a:accent6>
    <a:hlink>
      <a:srgbClr val="050359"/>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78495"/>
    </a:dk2>
    <a:lt2>
      <a:srgbClr val="F0F0F0"/>
    </a:lt2>
    <a:accent1>
      <a:srgbClr val="1B1E2D"/>
    </a:accent1>
    <a:accent2>
      <a:srgbClr val="8D754B"/>
    </a:accent2>
    <a:accent3>
      <a:srgbClr val="AA8A52"/>
    </a:accent3>
    <a:accent4>
      <a:srgbClr val="888888"/>
    </a:accent4>
    <a:accent5>
      <a:srgbClr val="B0B0B0"/>
    </a:accent5>
    <a:accent6>
      <a:srgbClr val="C9C9C9"/>
    </a:accent6>
    <a:hlink>
      <a:srgbClr val="050359"/>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78495"/>
    </a:dk2>
    <a:lt2>
      <a:srgbClr val="F0F0F0"/>
    </a:lt2>
    <a:accent1>
      <a:srgbClr val="1B1E2D"/>
    </a:accent1>
    <a:accent2>
      <a:srgbClr val="8D754B"/>
    </a:accent2>
    <a:accent3>
      <a:srgbClr val="AA8A52"/>
    </a:accent3>
    <a:accent4>
      <a:srgbClr val="888888"/>
    </a:accent4>
    <a:accent5>
      <a:srgbClr val="B0B0B0"/>
    </a:accent5>
    <a:accent6>
      <a:srgbClr val="C9C9C9"/>
    </a:accent6>
    <a:hlink>
      <a:srgbClr val="050359"/>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Yoyo</Template>
  <TotalTime>67</TotalTime>
  <Words>374</Words>
  <Application>Microsoft Office PowerPoint</Application>
  <PresentationFormat>宽屏</PresentationFormat>
  <Paragraphs>29</Paragraphs>
  <Slides>11</Slides>
  <Notes>0</Notes>
  <HiddenSlides>0</HiddenSlides>
  <MMClips>1</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11</vt:i4>
      </vt:variant>
    </vt:vector>
  </HeadingPairs>
  <TitlesOfParts>
    <vt:vector size="17" baseType="lpstr">
      <vt:lpstr>等线</vt:lpstr>
      <vt:lpstr>Arial</vt:lpstr>
      <vt:lpstr>Calibri</vt:lpstr>
      <vt:lpstr>Impact</vt:lpstr>
      <vt:lpstr>主题5</vt:lpstr>
      <vt:lpstr>think-cell Slide</vt:lpstr>
      <vt:lpstr>TRAVEL   STANDARD TEMPLATE</vt:lpstr>
      <vt:lpstr>PowerPoint 演示文稿</vt:lpstr>
      <vt:lpstr>What is the travel?</vt:lpstr>
      <vt:lpstr>​ Travel is a trip away from home for a while — to explore, experience or grow, no matter how far it is. 旅行，是为探索、体验或成长，暂时离开常住地的出行过程，无关距离长短  Travel is leaving with curiosity, and meeting new views and your true self in a new place. 旅行是带着好奇出发，在陌生的境遇里，遇见新的风景与真实的自己。  Travel is a small adventure outside daily life — measure the world with your feet and feel beauty with your heart.  旅行是跳出日常的小冒险，用脚步丈量世界，用心灵感受美好。</vt:lpstr>
      <vt:lpstr>  /02   Why do we travel?</vt:lpstr>
      <vt:lpstr>歌德：People love traveling not to get to the end, but to enjoy the good things along the way 人们热爱旅行，不是为了到达终点，而是为了享受沿途的美好事物。</vt:lpstr>
      <vt:lpstr>PowerPoint 演示文稿</vt:lpstr>
      <vt:lpstr>雨果：Life is like a trip. Your dream is the path of the trip. If you lose the path, you have to stop.​ 生活就像一场旅行，梦想是旅行的道路。如果失去了道路，你就不得不停下来。</vt:lpstr>
      <vt:lpstr>The conclusion</vt:lpstr>
      <vt:lpstr>The meaning of travel is never just about how many views you see or how far you go. It’s more about stepping out of your daily routine, learning to welcome the unknown with curiosity, accept differences with openness, and treat life with passion. May we carry the breadth and enthusiasm from travel, live every ordinary day to the fullest, always move forward with a positive attitude, and enjoy every gift of life with optimism.</vt:lpstr>
      <vt:lpstr>Thank you for listening</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oyo</dc:creator>
  <cp:lastModifiedBy>zhuohang xin</cp:lastModifiedBy>
  <cp:revision>3</cp:revision>
  <cp:lastPrinted>2020-03-15T16:00:00Z</cp:lastPrinted>
  <dcterms:created xsi:type="dcterms:W3CDTF">2020-03-15T16:00:00Z</dcterms:created>
  <dcterms:modified xsi:type="dcterms:W3CDTF">2025-10-31T14:1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